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4"/>
  </p:sldMasterIdLst>
  <p:notesMasterIdLst>
    <p:notesMasterId r:id="rId119"/>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348" r:id="rId28"/>
    <p:sldId id="280" r:id="rId29"/>
    <p:sldId id="281" r:id="rId30"/>
    <p:sldId id="282" r:id="rId31"/>
    <p:sldId id="283" r:id="rId32"/>
    <p:sldId id="284" r:id="rId33"/>
    <p:sldId id="285" r:id="rId34"/>
    <p:sldId id="286" r:id="rId35"/>
    <p:sldId id="287" r:id="rId36"/>
    <p:sldId id="288" r:id="rId37"/>
    <p:sldId id="290" r:id="rId38"/>
    <p:sldId id="289" r:id="rId39"/>
    <p:sldId id="291" r:id="rId40"/>
    <p:sldId id="292" r:id="rId41"/>
    <p:sldId id="293"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1" r:id="rId59"/>
    <p:sldId id="312" r:id="rId60"/>
    <p:sldId id="342" r:id="rId61"/>
    <p:sldId id="343" r:id="rId62"/>
    <p:sldId id="344" r:id="rId63"/>
    <p:sldId id="345" r:id="rId64"/>
    <p:sldId id="346" r:id="rId65"/>
    <p:sldId id="347" r:id="rId66"/>
    <p:sldId id="313" r:id="rId67"/>
    <p:sldId id="314" r:id="rId68"/>
    <p:sldId id="315" r:id="rId69"/>
    <p:sldId id="316" r:id="rId70"/>
    <p:sldId id="317" r:id="rId71"/>
    <p:sldId id="318" r:id="rId72"/>
    <p:sldId id="319" r:id="rId73"/>
    <p:sldId id="320" r:id="rId74"/>
    <p:sldId id="321" r:id="rId75"/>
    <p:sldId id="322" r:id="rId76"/>
    <p:sldId id="323" r:id="rId77"/>
    <p:sldId id="324" r:id="rId78"/>
    <p:sldId id="325" r:id="rId79"/>
    <p:sldId id="326" r:id="rId80"/>
    <p:sldId id="327" r:id="rId81"/>
    <p:sldId id="328" r:id="rId82"/>
    <p:sldId id="329" r:id="rId83"/>
    <p:sldId id="330" r:id="rId84"/>
    <p:sldId id="331" r:id="rId85"/>
    <p:sldId id="332" r:id="rId86"/>
    <p:sldId id="333" r:id="rId87"/>
    <p:sldId id="334" r:id="rId88"/>
    <p:sldId id="335" r:id="rId89"/>
    <p:sldId id="336" r:id="rId90"/>
    <p:sldId id="337" r:id="rId91"/>
    <p:sldId id="338" r:id="rId92"/>
    <p:sldId id="339" r:id="rId93"/>
    <p:sldId id="340" r:id="rId94"/>
    <p:sldId id="341" r:id="rId95"/>
    <p:sldId id="349" r:id="rId96"/>
    <p:sldId id="376" r:id="rId97"/>
    <p:sldId id="371" r:id="rId98"/>
    <p:sldId id="350" r:id="rId99"/>
    <p:sldId id="352" r:id="rId100"/>
    <p:sldId id="353" r:id="rId101"/>
    <p:sldId id="354" r:id="rId102"/>
    <p:sldId id="355" r:id="rId103"/>
    <p:sldId id="356" r:id="rId104"/>
    <p:sldId id="357" r:id="rId105"/>
    <p:sldId id="358" r:id="rId106"/>
    <p:sldId id="364" r:id="rId107"/>
    <p:sldId id="359" r:id="rId108"/>
    <p:sldId id="360" r:id="rId109"/>
    <p:sldId id="361" r:id="rId110"/>
    <p:sldId id="362" r:id="rId111"/>
    <p:sldId id="363" r:id="rId112"/>
    <p:sldId id="365" r:id="rId113"/>
    <p:sldId id="366" r:id="rId114"/>
    <p:sldId id="369" r:id="rId115"/>
    <p:sldId id="367" r:id="rId116"/>
    <p:sldId id="368" r:id="rId117"/>
    <p:sldId id="377" r:id="rId118"/>
  </p:sldIdLst>
  <p:sldSz cx="12192000" cy="6858000"/>
  <p:notesSz cx="6858000" cy="9144000"/>
  <p:custDataLst>
    <p:tags r:id="rId1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olienmaster" id="{F5261013-B01F-CB48-ADE8-C445B261AE2F}">
          <p14:sldIdLst>
            <p14:sldId id="256"/>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348"/>
            <p14:sldId id="280"/>
            <p14:sldId id="281"/>
            <p14:sldId id="282"/>
            <p14:sldId id="283"/>
            <p14:sldId id="284"/>
            <p14:sldId id="285"/>
            <p14:sldId id="286"/>
            <p14:sldId id="287"/>
            <p14:sldId id="288"/>
            <p14:sldId id="290"/>
            <p14:sldId id="289"/>
            <p14:sldId id="291"/>
            <p14:sldId id="292"/>
            <p14:sldId id="293"/>
            <p14:sldId id="294"/>
            <p14:sldId id="295"/>
            <p14:sldId id="296"/>
            <p14:sldId id="297"/>
            <p14:sldId id="298"/>
            <p14:sldId id="299"/>
            <p14:sldId id="300"/>
            <p14:sldId id="301"/>
            <p14:sldId id="302"/>
            <p14:sldId id="303"/>
            <p14:sldId id="304"/>
            <p14:sldId id="305"/>
            <p14:sldId id="306"/>
            <p14:sldId id="307"/>
            <p14:sldId id="308"/>
            <p14:sldId id="309"/>
          </p14:sldIdLst>
        </p14:section>
        <p14:section name="Folienbibliothek 2024" id="{FA719FA3-E77E-A840-AAB1-60A481A98222}">
          <p14:sldIdLst>
            <p14:sldId id="311"/>
            <p14:sldId id="312"/>
            <p14:sldId id="342"/>
            <p14:sldId id="343"/>
            <p14:sldId id="344"/>
            <p14:sldId id="345"/>
            <p14:sldId id="346"/>
            <p14:sldId id="347"/>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37"/>
            <p14:sldId id="338"/>
            <p14:sldId id="339"/>
            <p14:sldId id="340"/>
            <p14:sldId id="341"/>
          </p14:sldIdLst>
        </p14:section>
        <p14:section name="Folienbibliothek 2024 - protecting planet" id="{D6BBBE7A-214C-1E4C-92D9-F4CAE20199D9}">
          <p14:sldIdLst>
            <p14:sldId id="349"/>
            <p14:sldId id="376"/>
            <p14:sldId id="371"/>
            <p14:sldId id="350"/>
            <p14:sldId id="352"/>
            <p14:sldId id="353"/>
            <p14:sldId id="354"/>
            <p14:sldId id="355"/>
            <p14:sldId id="356"/>
            <p14:sldId id="357"/>
            <p14:sldId id="358"/>
            <p14:sldId id="364"/>
            <p14:sldId id="359"/>
            <p14:sldId id="360"/>
            <p14:sldId id="361"/>
            <p14:sldId id="362"/>
            <p14:sldId id="363"/>
            <p14:sldId id="365"/>
            <p14:sldId id="366"/>
            <p14:sldId id="369"/>
            <p14:sldId id="367"/>
            <p14:sldId id="368"/>
            <p14:sldId id="37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D83707-0EA6-D400-CE4E-68E8E054D14F}" name="Dagmar Hugenroth" initials="DH" userId="S::D.Hugenroth@uvex.de::9f900213-929e-4371-8239-fa7f6eb9e5da" providerId="AD"/>
  <p188:author id="{248C3E0F-3F55-D36C-B4C2-C3CE3FA22C58}" name="Dagmar Hugenroth" initials="DH" userId="S::d.hugenroth@uvex.de::9f900213-929e-4371-8239-fa7f6eb9e5da" providerId="AD"/>
  <p188:author id="{7D37525D-1AB9-DDFE-9D10-D9C7A1204E09}" name="Sandra Bogendörfer" initials="SB" userId="S::s.bogendoerfer@uvex.de::c1ea7af1-552e-4dbd-8d53-349e060e1896" providerId="AD"/>
  <p188:author id="{50370460-789A-3B73-AE8C-D1F7F3698EF9}" name="Marius Wimmer" initials="MW" userId="S::m.wimmer@uvex.de::e13a0b92-0791-4996-ad9a-049c53cc2969" providerId="AD"/>
  <p188:author id="{E83662BD-9E47-88C2-9359-2F85D0CAEFFD}" name="Anke Gaab" initials="AG" userId="S::a.gaab@uvex.de::f7a639cf-7ae8-4add-8db8-0d12f3db513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50936E"/>
    <a:srgbClr val="B6D67A"/>
    <a:srgbClr val="339DA3"/>
    <a:srgbClr val="0075BE"/>
    <a:srgbClr val="66CFE5"/>
    <a:srgbClr val="E0E0E0"/>
    <a:srgbClr val="F7F9E0"/>
    <a:srgbClr val="D9E0E8"/>
    <a:srgbClr val="99ACC1"/>
    <a:srgbClr val="6683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7090CD-160E-6841-AF78-4C8995A27462}" v="2" dt="2023-10-05T11:44:36.479"/>
    <p1510:client id="{3FBAEA05-4A73-C74C-80D8-1AEB9E7A226C}" v="46" dt="2023-10-05T09:52:02.01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01"/>
    <p:restoredTop sz="96990"/>
  </p:normalViewPr>
  <p:slideViewPr>
    <p:cSldViewPr snapToGrid="0">
      <p:cViewPr varScale="1">
        <p:scale>
          <a:sx n="123" d="100"/>
          <a:sy n="123" d="100"/>
        </p:scale>
        <p:origin x="55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notesMaster" Target="notesMasters/notesMaster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tags" Target="tags/tag1.xml"/><Relationship Id="rId125"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Arbeitsblatt9.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Arbeitsblatt11.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Arbeitsblat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86853435781409261"/>
          <c:h val="0.91380198875697571"/>
        </c:manualLayout>
      </c:layout>
      <c:lineChart>
        <c:grouping val="standard"/>
        <c:varyColors val="0"/>
        <c:ser>
          <c:idx val="0"/>
          <c:order val="0"/>
          <c:tx>
            <c:strRef>
              <c:f>Tabelle1!$B$1</c:f>
              <c:strCache>
                <c:ptCount val="1"/>
                <c:pt idx="0">
                  <c:v>Datenreihe 1</c:v>
                </c:pt>
              </c:strCache>
            </c:strRef>
          </c:tx>
          <c:spPr>
            <a:ln w="19050" cap="rnd">
              <a:solidFill>
                <a:schemeClr val="accent2"/>
              </a:solidFill>
              <a:round/>
            </a:ln>
            <a:effectLst/>
          </c:spPr>
          <c:marker>
            <c:symbol val="circle"/>
            <c:size val="5"/>
            <c:spPr>
              <a:solidFill>
                <a:schemeClr val="accent2"/>
              </a:solidFill>
              <a:ln w="28575">
                <a:noFill/>
              </a:ln>
              <a:effectLst/>
            </c:spPr>
          </c:marker>
          <c:dLbls>
            <c:dLbl>
              <c:idx val="1"/>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3.9438869457788128E-2"/>
                    </c:manualLayout>
                  </c15:layout>
                </c:ext>
                <c:ext xmlns:c16="http://schemas.microsoft.com/office/drawing/2014/chart" uri="{C3380CC4-5D6E-409C-BE32-E72D297353CC}">
                  <c16:uniqueId val="{00000000-DCEE-BD46-BF13-CF11BD442FEF}"/>
                </c:ext>
              </c:extLst>
            </c:dLbl>
            <c:spPr>
              <a:noFill/>
              <a:ln>
                <a:noFill/>
              </a:ln>
              <a:effectLst/>
            </c:spPr>
            <c:txPr>
              <a:bodyPr rot="0" spcFirstLastPara="1" vertOverflow="ellipsis" vert="horz" wrap="square" anchor="ctr" anchorCtr="1"/>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Text</c:v>
                </c:pt>
                <c:pt idx="1">
                  <c:v>Text</c:v>
                </c:pt>
                <c:pt idx="2">
                  <c:v>Text</c:v>
                </c:pt>
                <c:pt idx="3">
                  <c:v>Text</c:v>
                </c:pt>
                <c:pt idx="4">
                  <c:v>Text</c:v>
                </c:pt>
              </c:strCache>
            </c:strRef>
          </c:cat>
          <c:val>
            <c:numRef>
              <c:f>Tabelle1!$B$2:$B$6</c:f>
              <c:numCache>
                <c:formatCode>General</c:formatCode>
                <c:ptCount val="5"/>
                <c:pt idx="0">
                  <c:v>4.3</c:v>
                </c:pt>
                <c:pt idx="1">
                  <c:v>2.5</c:v>
                </c:pt>
                <c:pt idx="2">
                  <c:v>3.5</c:v>
                </c:pt>
                <c:pt idx="3">
                  <c:v>4.5</c:v>
                </c:pt>
                <c:pt idx="4">
                  <c:v>4.3</c:v>
                </c:pt>
              </c:numCache>
            </c:numRef>
          </c:val>
          <c:smooth val="0"/>
          <c:extLst>
            <c:ext xmlns:c16="http://schemas.microsoft.com/office/drawing/2014/chart" uri="{C3380CC4-5D6E-409C-BE32-E72D297353CC}">
              <c16:uniqueId val="{00000001-DCEE-BD46-BF13-CF11BD442FEF}"/>
            </c:ext>
          </c:extLst>
        </c:ser>
        <c:ser>
          <c:idx val="1"/>
          <c:order val="1"/>
          <c:tx>
            <c:strRef>
              <c:f>Tabelle1!$C$1</c:f>
              <c:strCache>
                <c:ptCount val="1"/>
                <c:pt idx="0">
                  <c:v>Datenreihe 2</c:v>
                </c:pt>
              </c:strCache>
            </c:strRef>
          </c:tx>
          <c:spPr>
            <a:ln w="19050" cap="rnd">
              <a:solidFill>
                <a:schemeClr val="accent1"/>
              </a:solidFill>
              <a:round/>
            </a:ln>
            <a:effectLst/>
          </c:spPr>
          <c:marker>
            <c:symbol val="circle"/>
            <c:size val="5"/>
            <c:spPr>
              <a:solidFill>
                <a:schemeClr val="accent1"/>
              </a:solidFill>
              <a:ln w="28575">
                <a:no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2-DCEE-BD46-BF13-CF11BD442FEF}"/>
                </c:ext>
              </c:extLst>
            </c:dLbl>
            <c:dLbl>
              <c:idx val="1"/>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3-DCEE-BD46-BF13-CF11BD442FEF}"/>
                </c:ext>
              </c:extLst>
            </c:dLbl>
            <c:dLbl>
              <c:idx val="2"/>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4-DCEE-BD46-BF13-CF11BD442FEF}"/>
                </c:ext>
              </c:extLst>
            </c:dLbl>
            <c:dLbl>
              <c:idx val="3"/>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5-DCEE-BD46-BF13-CF11BD442FEF}"/>
                </c:ext>
              </c:extLst>
            </c:dLbl>
            <c:dLbl>
              <c:idx val="4"/>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6-DCEE-BD46-BF13-CF11BD442FEF}"/>
                </c:ext>
              </c:extLst>
            </c:dLbl>
            <c:spPr>
              <a:noFill/>
              <a:ln>
                <a:noFill/>
              </a:ln>
              <a:effectLst/>
            </c:spPr>
            <c:txPr>
              <a:bodyPr rot="0" spcFirstLastPara="1" vertOverflow="clip" horzOverflow="clip" vert="horz" wrap="square" lIns="36576" tIns="18288" rIns="36576" bIns="18288" anchor="ctr" anchorCtr="1">
                <a:spAutoFit/>
              </a:bodyPr>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cat>
            <c:strRef>
              <c:f>Tabelle1!$A$2:$A$6</c:f>
              <c:strCache>
                <c:ptCount val="5"/>
                <c:pt idx="0">
                  <c:v>Text</c:v>
                </c:pt>
                <c:pt idx="1">
                  <c:v>Text</c:v>
                </c:pt>
                <c:pt idx="2">
                  <c:v>Text</c:v>
                </c:pt>
                <c:pt idx="3">
                  <c:v>Text</c:v>
                </c:pt>
                <c:pt idx="4">
                  <c:v>Text</c:v>
                </c:pt>
              </c:strCache>
            </c:strRef>
          </c:cat>
          <c:val>
            <c:numRef>
              <c:f>Tabelle1!$C$2:$C$6</c:f>
              <c:numCache>
                <c:formatCode>General</c:formatCode>
                <c:ptCount val="5"/>
                <c:pt idx="0">
                  <c:v>2.4</c:v>
                </c:pt>
                <c:pt idx="1">
                  <c:v>4.4000000000000004</c:v>
                </c:pt>
                <c:pt idx="2">
                  <c:v>1.8</c:v>
                </c:pt>
                <c:pt idx="3">
                  <c:v>2.8</c:v>
                </c:pt>
                <c:pt idx="4">
                  <c:v>1.8</c:v>
                </c:pt>
              </c:numCache>
            </c:numRef>
          </c:val>
          <c:smooth val="0"/>
          <c:extLst>
            <c:ext xmlns:c16="http://schemas.microsoft.com/office/drawing/2014/chart" uri="{C3380CC4-5D6E-409C-BE32-E72D297353CC}">
              <c16:uniqueId val="{00000007-DCEE-BD46-BF13-CF11BD442FEF}"/>
            </c:ext>
          </c:extLst>
        </c:ser>
        <c:ser>
          <c:idx val="2"/>
          <c:order val="2"/>
          <c:tx>
            <c:strRef>
              <c:f>Tabelle1!$D$1</c:f>
              <c:strCache>
                <c:ptCount val="1"/>
                <c:pt idx="0">
                  <c:v>Datenreihe 3</c:v>
                </c:pt>
              </c:strCache>
            </c:strRef>
          </c:tx>
          <c:spPr>
            <a:ln w="19050" cap="rnd">
              <a:solidFill>
                <a:schemeClr val="tx1"/>
              </a:solidFill>
              <a:round/>
            </a:ln>
            <a:effectLst/>
          </c:spPr>
          <c:marker>
            <c:symbol val="circle"/>
            <c:size val="5"/>
            <c:spPr>
              <a:solidFill>
                <a:schemeClr val="tx1"/>
              </a:solidFill>
              <a:ln w="28575">
                <a:noFill/>
              </a:ln>
              <a:effectLst/>
            </c:spPr>
          </c:marker>
          <c:dLbls>
            <c:spPr>
              <a:noFill/>
              <a:ln>
                <a:noFill/>
              </a:ln>
              <a:effectLst/>
            </c:spPr>
            <c:txPr>
              <a:bodyPr rot="0" spcFirstLastPara="1" vertOverflow="ellipsis" vert="horz" wrap="square" anchor="ctr" anchorCtr="1"/>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Text</c:v>
                </c:pt>
                <c:pt idx="1">
                  <c:v>Text</c:v>
                </c:pt>
                <c:pt idx="2">
                  <c:v>Text</c:v>
                </c:pt>
                <c:pt idx="3">
                  <c:v>Text</c:v>
                </c:pt>
                <c:pt idx="4">
                  <c:v>Text</c:v>
                </c:pt>
              </c:strCache>
            </c:strRef>
          </c:cat>
          <c:val>
            <c:numRef>
              <c:f>Tabelle1!$D$2:$D$6</c:f>
              <c:numCache>
                <c:formatCode>General</c:formatCode>
                <c:ptCount val="5"/>
                <c:pt idx="0">
                  <c:v>2</c:v>
                </c:pt>
                <c:pt idx="1">
                  <c:v>2</c:v>
                </c:pt>
                <c:pt idx="2">
                  <c:v>3</c:v>
                </c:pt>
                <c:pt idx="3">
                  <c:v>5</c:v>
                </c:pt>
                <c:pt idx="4">
                  <c:v>3</c:v>
                </c:pt>
              </c:numCache>
            </c:numRef>
          </c:val>
          <c:smooth val="0"/>
          <c:extLst>
            <c:ext xmlns:c16="http://schemas.microsoft.com/office/drawing/2014/chart" uri="{C3380CC4-5D6E-409C-BE32-E72D297353CC}">
              <c16:uniqueId val="{00000008-DCEE-BD46-BF13-CF11BD442FEF}"/>
            </c:ext>
          </c:extLst>
        </c:ser>
        <c:dLbls>
          <c:showLegendKey val="0"/>
          <c:showVal val="1"/>
          <c:showCatName val="0"/>
          <c:showSerName val="0"/>
          <c:showPercent val="0"/>
          <c:showBubbleSize val="0"/>
        </c:dLbls>
        <c:marker val="1"/>
        <c:smooth val="0"/>
        <c:axId val="1366704095"/>
        <c:axId val="1378602511"/>
      </c:lineChart>
      <c:catAx>
        <c:axId val="1366704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NeueHaasGroteskText Pro" panose="020B0504020202020204" pitchFamily="34" charset="77"/>
                <a:ea typeface="+mn-ea"/>
                <a:cs typeface="+mn-cs"/>
              </a:defRPr>
            </a:pPr>
            <a:endParaRPr lang="de-DE"/>
          </a:p>
        </c:txPr>
        <c:crossAx val="1378602511"/>
        <c:crosses val="autoZero"/>
        <c:auto val="1"/>
        <c:lblAlgn val="ctr"/>
        <c:lblOffset val="100"/>
        <c:noMultiLvlLbl val="0"/>
      </c:catAx>
      <c:valAx>
        <c:axId val="1378602511"/>
        <c:scaling>
          <c:orientation val="minMax"/>
        </c:scaling>
        <c:delete val="1"/>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crossAx val="1366704095"/>
        <c:crosses val="autoZero"/>
        <c:crossBetween val="between"/>
      </c:valAx>
      <c:spPr>
        <a:noFill/>
        <a:ln w="3175">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NeueHaasGroteskText Pro" panose="020B0504020202020204" pitchFamily="34" charset="77"/>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58877567426126"/>
          <c:y val="2.3818499284507286E-2"/>
          <c:w val="0.65282244865147743"/>
          <c:h val="0.86898533401433808"/>
        </c:manualLayout>
      </c:layout>
      <c:doughnutChart>
        <c:varyColors val="1"/>
        <c:ser>
          <c:idx val="0"/>
          <c:order val="0"/>
          <c:tx>
            <c:strRef>
              <c:f>Sheet1!$A$2</c:f>
              <c:strCache>
                <c:ptCount val="1"/>
              </c:strCache>
            </c:strRef>
          </c:tx>
          <c:spPr>
            <a:solidFill>
              <a:schemeClr val="accent1"/>
            </a:solidFill>
            <a:ln w="28575">
              <a:solidFill>
                <a:schemeClr val="bg1"/>
              </a:solidFill>
              <a:prstDash val="solid"/>
            </a:ln>
          </c:spPr>
          <c:dPt>
            <c:idx val="0"/>
            <c:bubble3D val="0"/>
            <c:spPr>
              <a:solidFill>
                <a:schemeClr val="tx1"/>
              </a:solidFill>
              <a:ln w="28575">
                <a:solidFill>
                  <a:schemeClr val="bg1"/>
                </a:solidFill>
                <a:prstDash val="solid"/>
              </a:ln>
            </c:spPr>
            <c:extLst>
              <c:ext xmlns:c16="http://schemas.microsoft.com/office/drawing/2014/chart" uri="{C3380CC4-5D6E-409C-BE32-E72D297353CC}">
                <c16:uniqueId val="{00000001-604D-C643-91BD-B6439CEC8BE8}"/>
              </c:ext>
            </c:extLst>
          </c:dPt>
          <c:dPt>
            <c:idx val="1"/>
            <c:bubble3D val="0"/>
            <c:extLst>
              <c:ext xmlns:c16="http://schemas.microsoft.com/office/drawing/2014/chart" uri="{C3380CC4-5D6E-409C-BE32-E72D297353CC}">
                <c16:uniqueId val="{00000002-604D-C643-91BD-B6439CEC8BE8}"/>
              </c:ext>
            </c:extLst>
          </c:dPt>
          <c:dLbls>
            <c:dLbl>
              <c:idx val="0"/>
              <c:tx>
                <c:rich>
                  <a:bodyPr/>
                  <a:lstStyle/>
                  <a:p>
                    <a:r>
                      <a:rPr lang="en-US"/>
                      <a:t>4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04D-C643-91BD-B6439CEC8BE8}"/>
                </c:ext>
              </c:extLst>
            </c:dLbl>
            <c:dLbl>
              <c:idx val="1"/>
              <c:layout>
                <c:manualLayout>
                  <c:x val="0"/>
                  <c:y val="2.9111499125508856E-2"/>
                </c:manualLayout>
              </c:layout>
              <c:tx>
                <c:rich>
                  <a:bodyPr/>
                  <a:lstStyle/>
                  <a:p>
                    <a:r>
                      <a:rPr lang="en-US" dirty="0">
                        <a:solidFill>
                          <a:schemeClr val="bg1"/>
                        </a:solidFill>
                      </a:rPr>
                      <a:t>5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04D-C643-91BD-B6439CEC8BE8}"/>
                </c:ext>
              </c:extLst>
            </c:dLbl>
            <c:spPr>
              <a:noFill/>
              <a:ln>
                <a:noFill/>
              </a:ln>
              <a:effectLst/>
            </c:spPr>
            <c:txPr>
              <a:bodyPr/>
              <a:lstStyle/>
              <a:p>
                <a:pPr>
                  <a:defRPr sz="1800">
                    <a:solidFill>
                      <a:schemeClr val="bg1"/>
                    </a:solidFill>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C$1</c:f>
              <c:strCache>
                <c:ptCount val="2"/>
                <c:pt idx="0">
                  <c:v>Radsport</c:v>
                </c:pt>
                <c:pt idx="1">
                  <c:v>Wintersport</c:v>
                </c:pt>
              </c:strCache>
            </c:strRef>
          </c:cat>
          <c:val>
            <c:numRef>
              <c:f>Sheet1!$B$2:$C$2</c:f>
              <c:numCache>
                <c:formatCode>0.00</c:formatCode>
                <c:ptCount val="2"/>
                <c:pt idx="0" formatCode="General">
                  <c:v>363.56</c:v>
                </c:pt>
                <c:pt idx="1">
                  <c:v>474.86</c:v>
                </c:pt>
              </c:numCache>
            </c:numRef>
          </c:val>
          <c:extLst>
            <c:ext xmlns:c16="http://schemas.microsoft.com/office/drawing/2014/chart" uri="{C3380CC4-5D6E-409C-BE32-E72D297353CC}">
              <c16:uniqueId val="{00000003-604D-C643-91BD-B6439CEC8BE8}"/>
            </c:ext>
          </c:extLst>
        </c:ser>
        <c:dLbls>
          <c:showLegendKey val="0"/>
          <c:showVal val="1"/>
          <c:showCatName val="0"/>
          <c:showSerName val="0"/>
          <c:showPercent val="0"/>
          <c:showBubbleSize val="0"/>
          <c:showLeaderLines val="1"/>
        </c:dLbls>
        <c:firstSliceAng val="184"/>
        <c:holeSize val="50"/>
      </c:doughnutChart>
    </c:plotArea>
    <c:legend>
      <c:legendPos val="b"/>
      <c:layout>
        <c:manualLayout>
          <c:xMode val="edge"/>
          <c:yMode val="edge"/>
          <c:x val="0.18733710445722537"/>
          <c:y val="0.92990526155442066"/>
          <c:w val="0.62692528907763767"/>
          <c:h val="5.0987425791204501E-2"/>
        </c:manualLayout>
      </c:layout>
      <c:overlay val="0"/>
      <c:txPr>
        <a:bodyPr/>
        <a:lstStyle/>
        <a:p>
          <a:pPr>
            <a:defRPr sz="1200" b="0">
              <a:solidFill>
                <a:schemeClr val="accent3"/>
              </a:solidFill>
            </a:defRPr>
          </a:pPr>
          <a:endParaRPr lang="de-DE"/>
        </a:p>
      </c:txPr>
    </c:legend>
    <c:plotVisOnly val="1"/>
    <c:dispBlanksAs val="zero"/>
    <c:showDLblsOverMax val="0"/>
  </c:chart>
  <c:spPr>
    <a:noFill/>
    <a:ln>
      <a:noFill/>
    </a:ln>
  </c:spPr>
  <c:txPr>
    <a:bodyPr/>
    <a:lstStyle/>
    <a:p>
      <a:pPr>
        <a:defRPr sz="2283" b="1" i="0" u="none" strike="noStrike" baseline="0">
          <a:solidFill>
            <a:schemeClr val="tx1"/>
          </a:solidFill>
          <a:latin typeface="NeueHaasGroteskText Pro" panose="020B0504020202020204" pitchFamily="34" charset="77"/>
          <a:ea typeface="Arial"/>
          <a:cs typeface="Arial"/>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solidFill>
                <a:schemeClr val="accent2"/>
              </a:solidFill>
            </a:ln>
          </c:spPr>
          <c:dPt>
            <c:idx val="0"/>
            <c:bubble3D val="0"/>
            <c:spPr>
              <a:solidFill>
                <a:schemeClr val="accent4"/>
              </a:solidFill>
              <a:ln w="19050">
                <a:solidFill>
                  <a:schemeClr val="accent2"/>
                </a:solidFill>
              </a:ln>
              <a:effectLst/>
            </c:spPr>
            <c:extLst>
              <c:ext xmlns:c16="http://schemas.microsoft.com/office/drawing/2014/chart" uri="{C3380CC4-5D6E-409C-BE32-E72D297353CC}">
                <c16:uniqueId val="{00000001-0B0B-8848-97DB-71794E95AE97}"/>
              </c:ext>
            </c:extLst>
          </c:dPt>
          <c:dPt>
            <c:idx val="1"/>
            <c:bubble3D val="0"/>
            <c:spPr>
              <a:solidFill>
                <a:schemeClr val="accent1"/>
              </a:solidFill>
              <a:ln w="19050">
                <a:solidFill>
                  <a:schemeClr val="accent2"/>
                </a:solidFill>
              </a:ln>
              <a:effectLst/>
            </c:spPr>
            <c:extLst>
              <c:ext xmlns:c16="http://schemas.microsoft.com/office/drawing/2014/chart" uri="{C3380CC4-5D6E-409C-BE32-E72D297353CC}">
                <c16:uniqueId val="{00000003-0B0B-8848-97DB-71794E95AE97}"/>
              </c:ext>
            </c:extLst>
          </c:dPt>
          <c:dPt>
            <c:idx val="2"/>
            <c:bubble3D val="0"/>
            <c:spPr>
              <a:solidFill>
                <a:schemeClr val="accent5"/>
              </a:solidFill>
              <a:ln w="19050">
                <a:solidFill>
                  <a:schemeClr val="accent2"/>
                </a:solidFill>
              </a:ln>
              <a:effectLst/>
            </c:spPr>
            <c:extLst>
              <c:ext xmlns:c16="http://schemas.microsoft.com/office/drawing/2014/chart" uri="{C3380CC4-5D6E-409C-BE32-E72D297353CC}">
                <c16:uniqueId val="{00000005-0B0B-8848-97DB-71794E95AE97}"/>
              </c:ext>
            </c:extLst>
          </c:dPt>
          <c:dPt>
            <c:idx val="3"/>
            <c:bubble3D val="0"/>
            <c:spPr>
              <a:solidFill>
                <a:schemeClr val="accent6"/>
              </a:solidFill>
              <a:ln w="19050">
                <a:solidFill>
                  <a:schemeClr val="accent2"/>
                </a:solidFill>
              </a:ln>
              <a:effectLst/>
            </c:spPr>
            <c:extLst>
              <c:ext xmlns:c16="http://schemas.microsoft.com/office/drawing/2014/chart" uri="{C3380CC4-5D6E-409C-BE32-E72D297353CC}">
                <c16:uniqueId val="{00000007-0B0B-8848-97DB-71794E95AE97}"/>
              </c:ext>
            </c:extLst>
          </c:dPt>
          <c:dPt>
            <c:idx val="4"/>
            <c:bubble3D val="0"/>
            <c:spPr>
              <a:solidFill>
                <a:schemeClr val="tx1"/>
              </a:solidFill>
              <a:ln w="19050">
                <a:solidFill>
                  <a:schemeClr val="accent2"/>
                </a:solidFill>
              </a:ln>
              <a:effectLst/>
            </c:spPr>
            <c:extLst>
              <c:ext xmlns:c16="http://schemas.microsoft.com/office/drawing/2014/chart" uri="{C3380CC4-5D6E-409C-BE32-E72D297353CC}">
                <c16:uniqueId val="{00000009-0B0B-8848-97DB-71794E95AE97}"/>
              </c:ext>
            </c:extLst>
          </c:dPt>
          <c:dLbls>
            <c:dLbl>
              <c:idx val="0"/>
              <c:layout>
                <c:manualLayout>
                  <c:x val="0.11100840056657563"/>
                  <c:y val="-0.178696373499724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0B-8848-97DB-71794E95AE97}"/>
                </c:ext>
              </c:extLst>
            </c:dLbl>
            <c:dLbl>
              <c:idx val="1"/>
              <c:layout>
                <c:manualLayout>
                  <c:x val="0.1462061861120752"/>
                  <c:y val="5.68579370226394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B0B-8848-97DB-71794E95AE97}"/>
                </c:ext>
              </c:extLst>
            </c:dLbl>
            <c:dLbl>
              <c:idx val="2"/>
              <c:layout>
                <c:manualLayout>
                  <c:x val="-9.2055746811306613E-2"/>
                  <c:y val="0.134022280124793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B0B-8848-97DB-71794E95AE97}"/>
                </c:ext>
              </c:extLst>
            </c:dLbl>
            <c:dLbl>
              <c:idx val="3"/>
              <c:layout>
                <c:manualLayout>
                  <c:x val="-0.15432875200719048"/>
                  <c:y val="-4.06128121590290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B0B-8848-97DB-71794E95AE97}"/>
                </c:ext>
              </c:extLst>
            </c:dLbl>
            <c:dLbl>
              <c:idx val="4"/>
              <c:layout>
                <c:manualLayout>
                  <c:x val="-0.13808362021695991"/>
                  <c:y val="-0.14214484255659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B0B-8848-97DB-71794E95AE9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extLst>
          </c:dLbls>
          <c:cat>
            <c:numRef>
              <c:f>Tabelle1!$A$2:$A$6</c:f>
              <c:numCache>
                <c:formatCode>General</c:formatCode>
                <c:ptCount val="5"/>
              </c:numCache>
            </c:numRef>
          </c:cat>
          <c:val>
            <c:numRef>
              <c:f>Tabelle1!$B$2:$B$6</c:f>
              <c:numCache>
                <c:formatCode>0.00%</c:formatCode>
                <c:ptCount val="5"/>
                <c:pt idx="0">
                  <c:v>0.61499999999999999</c:v>
                </c:pt>
                <c:pt idx="1">
                  <c:v>0.52500000000000002</c:v>
                </c:pt>
                <c:pt idx="2">
                  <c:v>0.433</c:v>
                </c:pt>
                <c:pt idx="3">
                  <c:v>0.42799999999999999</c:v>
                </c:pt>
                <c:pt idx="4">
                  <c:v>0.33900000000000002</c:v>
                </c:pt>
              </c:numCache>
            </c:numRef>
          </c:val>
          <c:extLst>
            <c:ext xmlns:c16="http://schemas.microsoft.com/office/drawing/2014/chart" uri="{C3380CC4-5D6E-409C-BE32-E72D297353CC}">
              <c16:uniqueId val="{0000000A-0B0B-8848-97DB-71794E95AE97}"/>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w="19050">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8C5E-6B4F-AD2C-C07891547051}"/>
              </c:ext>
            </c:extLst>
          </c:dPt>
          <c:dPt>
            <c:idx val="1"/>
            <c:bubble3D val="0"/>
            <c:spPr>
              <a:solidFill>
                <a:srgbClr val="50936E"/>
              </a:solidFill>
              <a:ln w="19050">
                <a:solidFill>
                  <a:schemeClr val="bg1"/>
                </a:solidFill>
              </a:ln>
              <a:effectLst/>
            </c:spPr>
            <c:extLst>
              <c:ext xmlns:c16="http://schemas.microsoft.com/office/drawing/2014/chart" uri="{C3380CC4-5D6E-409C-BE32-E72D297353CC}">
                <c16:uniqueId val="{00000003-8C5E-6B4F-AD2C-C07891547051}"/>
              </c:ext>
            </c:extLst>
          </c:dPt>
          <c:dPt>
            <c:idx val="2"/>
            <c:bubble3D val="0"/>
            <c:spPr>
              <a:solidFill>
                <a:srgbClr val="B6D67A"/>
              </a:solidFill>
              <a:ln w="19050">
                <a:solidFill>
                  <a:schemeClr val="bg1"/>
                </a:solidFill>
              </a:ln>
              <a:effectLst/>
            </c:spPr>
            <c:extLst>
              <c:ext xmlns:c16="http://schemas.microsoft.com/office/drawing/2014/chart" uri="{C3380CC4-5D6E-409C-BE32-E72D297353CC}">
                <c16:uniqueId val="{00000005-8C5E-6B4F-AD2C-C07891547051}"/>
              </c:ext>
            </c:extLst>
          </c:dPt>
          <c:dPt>
            <c:idx val="3"/>
            <c:bubble3D val="0"/>
            <c:spPr>
              <a:solidFill>
                <a:srgbClr val="0075BE"/>
              </a:solidFill>
              <a:ln w="19050">
                <a:solidFill>
                  <a:schemeClr val="bg1"/>
                </a:solidFill>
              </a:ln>
              <a:effectLst/>
            </c:spPr>
            <c:extLst>
              <c:ext xmlns:c16="http://schemas.microsoft.com/office/drawing/2014/chart" uri="{C3380CC4-5D6E-409C-BE32-E72D297353CC}">
                <c16:uniqueId val="{00000007-8C5E-6B4F-AD2C-C07891547051}"/>
              </c:ext>
            </c:extLst>
          </c:dPt>
          <c:dPt>
            <c:idx val="4"/>
            <c:bubble3D val="0"/>
            <c:spPr>
              <a:solidFill>
                <a:srgbClr val="66CFE5"/>
              </a:solidFill>
              <a:ln w="19050">
                <a:solidFill>
                  <a:schemeClr val="bg1"/>
                </a:solidFill>
              </a:ln>
            </c:spPr>
            <c:extLst>
              <c:ext xmlns:c16="http://schemas.microsoft.com/office/drawing/2014/chart" uri="{C3380CC4-5D6E-409C-BE32-E72D297353CC}">
                <c16:uniqueId val="{00000009-8C5E-6B4F-AD2C-C07891547051}"/>
              </c:ext>
            </c:extLst>
          </c:dPt>
          <c:dPt>
            <c:idx val="5"/>
            <c:bubble3D val="0"/>
            <c:spPr>
              <a:solidFill>
                <a:srgbClr val="339DA3"/>
              </a:solidFill>
              <a:ln w="19050">
                <a:solidFill>
                  <a:schemeClr val="bg1"/>
                </a:solidFill>
              </a:ln>
            </c:spPr>
            <c:extLst>
              <c:ext xmlns:c16="http://schemas.microsoft.com/office/drawing/2014/chart" uri="{C3380CC4-5D6E-409C-BE32-E72D297353CC}">
                <c16:uniqueId val="{0000000B-8C5E-6B4F-AD2C-C07891547051}"/>
              </c:ext>
            </c:extLst>
          </c:dPt>
          <c:dLbls>
            <c:dLbl>
              <c:idx val="0"/>
              <c:layout>
                <c:manualLayout>
                  <c:x val="0.24956804838575458"/>
                  <c:y val="-9.9384171467367555E-2"/>
                </c:manualLayout>
              </c:layout>
              <c:tx>
                <c:rich>
                  <a:bodyPr rot="0" vertOverflow="overflow" horzOverflow="overflow" vert="horz" lIns="108000" tIns="0" rIns="0" bIns="0" anchorCtr="0">
                    <a:spAutoFit/>
                  </a:bodyPr>
                  <a:lstStyle/>
                  <a:p>
                    <a:pPr algn="l">
                      <a:defRPr sz="1800">
                        <a:solidFill>
                          <a:schemeClr val="tx1"/>
                        </a:solidFill>
                      </a:defRPr>
                    </a:pPr>
                    <a:fld id="{7BC8427B-9765-1C48-9342-9217B7C724FC}" type="CATEGORYNAME">
                      <a:rPr lang="en-US"/>
                      <a:pPr algn="l">
                        <a:defRPr sz="1800">
                          <a:solidFill>
                            <a:schemeClr val="tx1"/>
                          </a:solidFill>
                        </a:defRPr>
                      </a:pPr>
                      <a:t>[RUBRIKENNAME]</a:t>
                    </a:fld>
                    <a:r>
                      <a:rPr lang="en-US" dirty="0"/>
                      <a:t>
</a:t>
                    </a:r>
                    <a:fld id="{4D8C69E9-0445-A943-9597-B4EF5008046B}"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21423266669727481"/>
                      <c:h val="0.14076921008584123"/>
                    </c:manualLayout>
                  </c15:layout>
                  <c15:dlblFieldTable/>
                  <c15:showDataLabelsRange val="0"/>
                </c:ext>
                <c:ext xmlns:c16="http://schemas.microsoft.com/office/drawing/2014/chart" uri="{C3380CC4-5D6E-409C-BE32-E72D297353CC}">
                  <c16:uniqueId val="{00000001-8C5E-6B4F-AD2C-C07891547051}"/>
                </c:ext>
              </c:extLst>
            </c:dLbl>
            <c:dLbl>
              <c:idx val="1"/>
              <c:layout>
                <c:manualLayout>
                  <c:x val="0.19242498371550484"/>
                  <c:y val="-9.7098656924100753E-3"/>
                </c:manualLayout>
              </c:layout>
              <c:tx>
                <c:rich>
                  <a:bodyPr rot="0" vertOverflow="overflow" horzOverflow="overflow" vert="horz" lIns="108000" tIns="0" rIns="0" bIns="0" anchorCtr="0">
                    <a:spAutoFit/>
                  </a:bodyPr>
                  <a:lstStyle/>
                  <a:p>
                    <a:pPr algn="l">
                      <a:defRPr sz="1800">
                        <a:solidFill>
                          <a:schemeClr val="tx1"/>
                        </a:solidFill>
                      </a:defRPr>
                    </a:pPr>
                    <a:fld id="{97F81A99-553A-0441-81FF-0F98CC684930}" type="CATEGORYNAME">
                      <a:rPr lang="en-US"/>
                      <a:pPr algn="l">
                        <a:defRPr sz="1800">
                          <a:solidFill>
                            <a:schemeClr val="tx1"/>
                          </a:solidFill>
                        </a:defRPr>
                      </a:pPr>
                      <a:t>[RUBRIKENNAME]</a:t>
                    </a:fld>
                    <a:r>
                      <a:rPr lang="en-US" dirty="0"/>
                      <a:t>
</a:t>
                    </a:r>
                    <a:fld id="{CDAA63F1-0BF3-5B40-9949-40DA69EFD8D2}"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8C5E-6B4F-AD2C-C07891547051}"/>
                </c:ext>
              </c:extLst>
            </c:dLbl>
            <c:dLbl>
              <c:idx val="2"/>
              <c:layout>
                <c:manualLayout>
                  <c:x val="0.19363860903151014"/>
                  <c:y val="0.14195713147758504"/>
                </c:manualLayout>
              </c:layout>
              <c:tx>
                <c:rich>
                  <a:bodyPr rot="0" vertOverflow="overflow" horzOverflow="overflow" vert="horz" lIns="108000" tIns="0" rIns="0" bIns="0" anchorCtr="0">
                    <a:spAutoFit/>
                  </a:bodyPr>
                  <a:lstStyle/>
                  <a:p>
                    <a:pPr algn="l">
                      <a:defRPr sz="1800">
                        <a:solidFill>
                          <a:schemeClr val="tx1"/>
                        </a:solidFill>
                      </a:defRPr>
                    </a:pPr>
                    <a:fld id="{C7B77B24-D85D-7E49-B258-0203410661B6}" type="CATEGORYNAME">
                      <a:rPr lang="en-US" sz="1800">
                        <a:solidFill>
                          <a:schemeClr val="tx1"/>
                        </a:solidFill>
                      </a:rPr>
                      <a:pPr algn="l">
                        <a:defRPr sz="1800">
                          <a:solidFill>
                            <a:schemeClr val="tx1"/>
                          </a:solidFill>
                        </a:defRPr>
                      </a:pPr>
                      <a:t>[RUBRIKENNAME]</a:t>
                    </a:fld>
                    <a:r>
                      <a:rPr lang="en-US" sz="1800" dirty="0">
                        <a:solidFill>
                          <a:schemeClr val="tx1"/>
                        </a:solidFill>
                      </a:rPr>
                      <a:t>
</a:t>
                    </a:r>
                    <a:fld id="{73096B3E-6A07-574B-A7B3-84C1DFEF9436}" type="PERCENTAGE">
                      <a:rPr lang="en-US" sz="2400" b="1">
                        <a:solidFill>
                          <a:schemeClr val="tx1"/>
                        </a:solidFill>
                      </a:rPr>
                      <a:pPr algn="l">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8C5E-6B4F-AD2C-C07891547051}"/>
                </c:ext>
              </c:extLst>
            </c:dLbl>
            <c:dLbl>
              <c:idx val="3"/>
              <c:layout>
                <c:manualLayout>
                  <c:x val="-0.16819282994395837"/>
                  <c:y val="0.21327253752613218"/>
                </c:manualLayout>
              </c:layout>
              <c:tx>
                <c:rich>
                  <a:bodyPr rot="0" vertOverflow="overflow" horzOverflow="overflow" vert="horz" lIns="0" tIns="0" rIns="108000" bIns="0" anchorCtr="0">
                    <a:spAutoFit/>
                  </a:bodyPr>
                  <a:lstStyle/>
                  <a:p>
                    <a:pPr algn="r">
                      <a:defRPr sz="1800">
                        <a:solidFill>
                          <a:schemeClr val="tx1"/>
                        </a:solidFill>
                      </a:defRPr>
                    </a:pPr>
                    <a:fld id="{DE30E87E-FF1F-C345-86E9-2695E0144A3E}" type="CATEGORYNAME">
                      <a:rPr lang="en-US" sz="1800">
                        <a:solidFill>
                          <a:schemeClr val="tx1"/>
                        </a:solidFill>
                      </a:rPr>
                      <a:pPr algn="r">
                        <a:defRPr sz="1800">
                          <a:solidFill>
                            <a:schemeClr val="tx1"/>
                          </a:solidFill>
                        </a:defRPr>
                      </a:pPr>
                      <a:t>[RUBRIKENNAME]</a:t>
                    </a:fld>
                    <a:r>
                      <a:rPr lang="en-US" sz="1800" dirty="0">
                        <a:solidFill>
                          <a:schemeClr val="tx1"/>
                        </a:solidFill>
                      </a:rPr>
                      <a:t>
</a:t>
                    </a:r>
                    <a:fld id="{07BEBA52-9C55-C447-A283-22BEFB708DD5}" type="PERCENTAGE">
                      <a:rPr lang="en-US" sz="2400" b="1">
                        <a:solidFill>
                          <a:schemeClr val="tx1"/>
                        </a:solidFill>
                      </a:rPr>
                      <a:pPr algn="r">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8C5E-6B4F-AD2C-C07891547051}"/>
                </c:ext>
              </c:extLst>
            </c:dLbl>
            <c:dLbl>
              <c:idx val="4"/>
              <c:layout>
                <c:manualLayout>
                  <c:x val="-0.19588023794014767"/>
                  <c:y val="1.0671336286576636E-2"/>
                </c:manualLayout>
              </c:layout>
              <c:tx>
                <c:rich>
                  <a:bodyPr rot="0" vertOverflow="overflow" horzOverflow="overflow" vert="horz" lIns="0" tIns="0" rIns="108000" bIns="0" anchorCtr="0">
                    <a:spAutoFit/>
                  </a:bodyPr>
                  <a:lstStyle/>
                  <a:p>
                    <a:pPr algn="r">
                      <a:defRPr sz="1800">
                        <a:solidFill>
                          <a:schemeClr val="tx1"/>
                        </a:solidFill>
                      </a:defRPr>
                    </a:pPr>
                    <a:fld id="{C51BB8F2-58E5-0E46-B05B-63BB35EF80B6}" type="CATEGORYNAME">
                      <a:rPr lang="en-US"/>
                      <a:pPr algn="r">
                        <a:defRPr sz="1800">
                          <a:solidFill>
                            <a:schemeClr val="tx1"/>
                          </a:solidFill>
                        </a:defRPr>
                      </a:pPr>
                      <a:t>[RUBRIKENNAME]</a:t>
                    </a:fld>
                    <a:r>
                      <a:rPr lang="en-US" baseline="0" dirty="0"/>
                      <a:t>
</a:t>
                    </a:r>
                    <a:fld id="{94D1687D-97DE-F141-B6E2-36980F767EF9}" type="PERCENTAGE">
                      <a:rPr lang="en-US" sz="2400" b="1" baseline="0"/>
                      <a:pPr algn="r">
                        <a:defRPr sz="1800">
                          <a:solidFill>
                            <a:schemeClr val="tx1"/>
                          </a:solidFill>
                        </a:defRPr>
                      </a:pPr>
                      <a:t>[PROZENTSATZ]</a:t>
                    </a:fld>
                    <a:endParaRPr lang="en-US" baseline="0"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9-8C5E-6B4F-AD2C-C07891547051}"/>
                </c:ext>
              </c:extLst>
            </c:dLbl>
            <c:dLbl>
              <c:idx val="5"/>
              <c:layout>
                <c:manualLayout>
                  <c:x val="-0.1694063207514685"/>
                  <c:y val="-0.14576961341193712"/>
                </c:manualLayout>
              </c:layout>
              <c:tx>
                <c:rich>
                  <a:bodyPr rot="0" vertOverflow="overflow" horzOverflow="overflow" vert="horz" lIns="0" tIns="0" rIns="108000" bIns="0" anchorCtr="0">
                    <a:spAutoFit/>
                  </a:bodyPr>
                  <a:lstStyle/>
                  <a:p>
                    <a:pPr algn="r">
                      <a:defRPr sz="1800">
                        <a:solidFill>
                          <a:schemeClr val="tx1"/>
                        </a:solidFill>
                      </a:defRPr>
                    </a:pPr>
                    <a:fld id="{E5D08AB2-91D4-8340-96A1-85E5ECE3D518}" type="CATEGORYNAME">
                      <a:rPr lang="en-US" dirty="0"/>
                      <a:pPr algn="r">
                        <a:defRPr sz="1800">
                          <a:solidFill>
                            <a:schemeClr val="tx1"/>
                          </a:solidFill>
                        </a:defRPr>
                      </a:pPr>
                      <a:t>[RUBRIKENNAME]</a:t>
                    </a:fld>
                    <a:r>
                      <a:rPr lang="en-US" baseline="0" dirty="0"/>
                      <a:t>
</a:t>
                    </a:r>
                    <a:fld id="{6FA841C7-786E-B34D-88CE-BCEBC762DFFE}" type="PERCENTAGE">
                      <a:rPr lang="en-US" sz="2400" b="1" baseline="0" dirty="0"/>
                      <a:pPr algn="r">
                        <a:defRPr sz="1800">
                          <a:solidFill>
                            <a:schemeClr val="tx1"/>
                          </a:solidFill>
                        </a:defRPr>
                      </a:pPr>
                      <a:t>[PROZENTSATZ]</a:t>
                    </a:fld>
                    <a:endParaRPr lang="en-US" baseline="0"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17821837579736635"/>
                      <c:h val="0.14076921008584123"/>
                    </c:manualLayout>
                  </c15:layout>
                  <c15:dlblFieldTable/>
                  <c15:showDataLabelsRange val="0"/>
                </c:ext>
                <c:ext xmlns:c16="http://schemas.microsoft.com/office/drawing/2014/chart" uri="{C3380CC4-5D6E-409C-BE32-E72D297353CC}">
                  <c16:uniqueId val="{0000000B-8C5E-6B4F-AD2C-C07891547051}"/>
                </c:ext>
              </c:extLst>
            </c:dLbl>
            <c:spPr>
              <a:noFill/>
              <a:ln>
                <a:noFill/>
              </a:ln>
              <a:effectLst/>
            </c:spPr>
            <c:txPr>
              <a:bodyPr rot="0" vertOverflow="overflow" horzOverflow="overflow" vert="horz" lIns="0" tIns="0" rIns="0" bIns="0" anchorCtr="0">
                <a:spAutoFit/>
              </a:bodyPr>
              <a:lstStyle/>
              <a:p>
                <a:pPr algn="l">
                  <a:defRPr sz="1800">
                    <a:solidFill>
                      <a:schemeClr val="tx1"/>
                    </a:solidFill>
                  </a:defRPr>
                </a:pPr>
                <a:endParaRPr lang="de-DE"/>
              </a:p>
            </c:txPr>
            <c:showLegendKey val="0"/>
            <c:showVal val="0"/>
            <c:showCatName val="1"/>
            <c:showSerName val="0"/>
            <c:showPercent val="1"/>
            <c:showBubbleSize val="0"/>
            <c:showLeaderLines val="1"/>
            <c:leaderLines>
              <c:spPr>
                <a:ln w="9525" cap="flat" cmpd="sng" algn="ctr">
                  <a:solidFill>
                    <a:schemeClr val="bg1">
                      <a:lumMod val="8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2:$A$7</c:f>
              <c:strCache>
                <c:ptCount val="6"/>
                <c:pt idx="0">
                  <c:v>1. Quartal 2022</c:v>
                </c:pt>
                <c:pt idx="1">
                  <c:v>2. Quartal 2022</c:v>
                </c:pt>
                <c:pt idx="2">
                  <c:v>3. Quartal 2022</c:v>
                </c:pt>
                <c:pt idx="3">
                  <c:v>4. Quartal 2022</c:v>
                </c:pt>
                <c:pt idx="4">
                  <c:v>1. Quartal 2023</c:v>
                </c:pt>
                <c:pt idx="5">
                  <c:v>2. Quartal 2023</c:v>
                </c:pt>
              </c:strCache>
            </c:strRef>
          </c:cat>
          <c:val>
            <c:numRef>
              <c:f>Tabelle1!$B$2:$B$7</c:f>
              <c:numCache>
                <c:formatCode>0%</c:formatCode>
                <c:ptCount val="6"/>
                <c:pt idx="0">
                  <c:v>0.2</c:v>
                </c:pt>
                <c:pt idx="1">
                  <c:v>0.2</c:v>
                </c:pt>
                <c:pt idx="2">
                  <c:v>0.25</c:v>
                </c:pt>
                <c:pt idx="3">
                  <c:v>0.25</c:v>
                </c:pt>
                <c:pt idx="4">
                  <c:v>0.12</c:v>
                </c:pt>
                <c:pt idx="5">
                  <c:v>0.25</c:v>
                </c:pt>
              </c:numCache>
            </c:numRef>
          </c:val>
          <c:extLst>
            <c:ext xmlns:c16="http://schemas.microsoft.com/office/drawing/2014/chart" uri="{C3380CC4-5D6E-409C-BE32-E72D297353CC}">
              <c16:uniqueId val="{0000000C-8C5E-6B4F-AD2C-C07891547051}"/>
            </c:ext>
          </c:extLst>
        </c:ser>
        <c:dLbls>
          <c:showLegendKey val="0"/>
          <c:showVal val="0"/>
          <c:showCatName val="1"/>
          <c:showSerName val="0"/>
          <c:showPercent val="1"/>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NeueHaasGroteskText Pro" panose="020B0504020202020204" pitchFamily="34" charset="77"/>
        </a:defRPr>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795690012432655E-2"/>
          <c:y val="1.9409762108648886E-2"/>
          <c:w val="0.95920430998756734"/>
          <c:h val="0.80257232494029529"/>
        </c:manualLayout>
      </c:layout>
      <c:barChart>
        <c:barDir val="col"/>
        <c:grouping val="stacked"/>
        <c:varyColors val="0"/>
        <c:ser>
          <c:idx val="0"/>
          <c:order val="0"/>
          <c:tx>
            <c:strRef>
              <c:f>Tabelle1!$B$1</c:f>
              <c:strCache>
                <c:ptCount val="1"/>
                <c:pt idx="0">
                  <c:v>Legende 1</c:v>
                </c:pt>
              </c:strCache>
            </c:strRef>
          </c:tx>
          <c:spPr>
            <a:solidFill>
              <a:schemeClr val="tx2"/>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B$2:$B$6</c:f>
              <c:numCache>
                <c:formatCode>General</c:formatCode>
                <c:ptCount val="5"/>
                <c:pt idx="0">
                  <c:v>120</c:v>
                </c:pt>
                <c:pt idx="1">
                  <c:v>50</c:v>
                </c:pt>
                <c:pt idx="2">
                  <c:v>90</c:v>
                </c:pt>
                <c:pt idx="3">
                  <c:v>200</c:v>
                </c:pt>
                <c:pt idx="4">
                  <c:v>150</c:v>
                </c:pt>
              </c:numCache>
            </c:numRef>
          </c:val>
          <c:extLst>
            <c:ext xmlns:c16="http://schemas.microsoft.com/office/drawing/2014/chart" uri="{C3380CC4-5D6E-409C-BE32-E72D297353CC}">
              <c16:uniqueId val="{00000000-3A46-664A-B6B1-2F9D7C05C402}"/>
            </c:ext>
          </c:extLst>
        </c:ser>
        <c:ser>
          <c:idx val="1"/>
          <c:order val="1"/>
          <c:tx>
            <c:strRef>
              <c:f>Tabelle1!$C$1</c:f>
              <c:strCache>
                <c:ptCount val="1"/>
                <c:pt idx="0">
                  <c:v>Legende 2</c:v>
                </c:pt>
              </c:strCache>
            </c:strRef>
          </c:tx>
          <c:spPr>
            <a:solidFill>
              <a:srgbClr val="50936E"/>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C$2:$C$6</c:f>
              <c:numCache>
                <c:formatCode>General</c:formatCode>
                <c:ptCount val="5"/>
                <c:pt idx="0">
                  <c:v>60</c:v>
                </c:pt>
                <c:pt idx="1">
                  <c:v>70</c:v>
                </c:pt>
                <c:pt idx="2">
                  <c:v>20</c:v>
                </c:pt>
                <c:pt idx="3">
                  <c:v>30</c:v>
                </c:pt>
                <c:pt idx="4">
                  <c:v>50</c:v>
                </c:pt>
              </c:numCache>
            </c:numRef>
          </c:val>
          <c:extLst>
            <c:ext xmlns:c16="http://schemas.microsoft.com/office/drawing/2014/chart" uri="{C3380CC4-5D6E-409C-BE32-E72D297353CC}">
              <c16:uniqueId val="{00000001-3A46-664A-B6B1-2F9D7C05C402}"/>
            </c:ext>
          </c:extLst>
        </c:ser>
        <c:ser>
          <c:idx val="2"/>
          <c:order val="2"/>
          <c:tx>
            <c:strRef>
              <c:f>Tabelle1!$D$1</c:f>
              <c:strCache>
                <c:ptCount val="1"/>
                <c:pt idx="0">
                  <c:v>Legende 3</c:v>
                </c:pt>
              </c:strCache>
            </c:strRef>
          </c:tx>
          <c:spPr>
            <a:solidFill>
              <a:srgbClr val="66CFE5"/>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D$2:$D$6</c:f>
              <c:numCache>
                <c:formatCode>General</c:formatCode>
                <c:ptCount val="5"/>
                <c:pt idx="0">
                  <c:v>30</c:v>
                </c:pt>
                <c:pt idx="1">
                  <c:v>10</c:v>
                </c:pt>
                <c:pt idx="2">
                  <c:v>20</c:v>
                </c:pt>
                <c:pt idx="3">
                  <c:v>5</c:v>
                </c:pt>
                <c:pt idx="4">
                  <c:v>20</c:v>
                </c:pt>
              </c:numCache>
            </c:numRef>
          </c:val>
          <c:extLst>
            <c:ext xmlns:c16="http://schemas.microsoft.com/office/drawing/2014/chart" uri="{C3380CC4-5D6E-409C-BE32-E72D297353CC}">
              <c16:uniqueId val="{00000002-3A46-664A-B6B1-2F9D7C05C402}"/>
            </c:ext>
          </c:extLst>
        </c:ser>
        <c:ser>
          <c:idx val="3"/>
          <c:order val="3"/>
          <c:tx>
            <c:strRef>
              <c:f>Tabelle1!$E$1</c:f>
              <c:strCache>
                <c:ptCount val="1"/>
                <c:pt idx="0">
                  <c:v>Legende 4</c:v>
                </c:pt>
              </c:strCache>
            </c:strRef>
          </c:tx>
          <c:spPr>
            <a:solidFill>
              <a:srgbClr val="0075BE"/>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E$2:$E$6</c:f>
              <c:numCache>
                <c:formatCode>General</c:formatCode>
                <c:ptCount val="5"/>
                <c:pt idx="0">
                  <c:v>20</c:v>
                </c:pt>
                <c:pt idx="1">
                  <c:v>70</c:v>
                </c:pt>
                <c:pt idx="2">
                  <c:v>100</c:v>
                </c:pt>
                <c:pt idx="3">
                  <c:v>30</c:v>
                </c:pt>
                <c:pt idx="4">
                  <c:v>120</c:v>
                </c:pt>
              </c:numCache>
            </c:numRef>
          </c:val>
          <c:extLst>
            <c:ext xmlns:c16="http://schemas.microsoft.com/office/drawing/2014/chart" uri="{C3380CC4-5D6E-409C-BE32-E72D297353CC}">
              <c16:uniqueId val="{00000003-3A46-664A-B6B1-2F9D7C05C402}"/>
            </c:ext>
          </c:extLst>
        </c:ser>
        <c:ser>
          <c:idx val="4"/>
          <c:order val="4"/>
          <c:tx>
            <c:strRef>
              <c:f>Tabelle1!$F$1</c:f>
              <c:strCache>
                <c:ptCount val="1"/>
                <c:pt idx="0">
                  <c:v>Legende 5</c:v>
                </c:pt>
              </c:strCache>
            </c:strRef>
          </c:tx>
          <c:spPr>
            <a:solidFill>
              <a:srgbClr val="B6D67A"/>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F$2:$F$6</c:f>
              <c:numCache>
                <c:formatCode>General</c:formatCode>
                <c:ptCount val="5"/>
                <c:pt idx="0">
                  <c:v>10</c:v>
                </c:pt>
                <c:pt idx="1">
                  <c:v>50</c:v>
                </c:pt>
                <c:pt idx="2">
                  <c:v>110</c:v>
                </c:pt>
                <c:pt idx="3">
                  <c:v>10</c:v>
                </c:pt>
                <c:pt idx="4">
                  <c:v>140</c:v>
                </c:pt>
              </c:numCache>
            </c:numRef>
          </c:val>
          <c:extLst>
            <c:ext xmlns:c16="http://schemas.microsoft.com/office/drawing/2014/chart" uri="{C3380CC4-5D6E-409C-BE32-E72D297353CC}">
              <c16:uniqueId val="{00000004-3A46-664A-B6B1-2F9D7C05C402}"/>
            </c:ext>
          </c:extLst>
        </c:ser>
        <c:ser>
          <c:idx val="5"/>
          <c:order val="5"/>
          <c:tx>
            <c:strRef>
              <c:f>Tabelle1!$G$1</c:f>
              <c:strCache>
                <c:ptCount val="1"/>
                <c:pt idx="0">
                  <c:v>Legende 6</c:v>
                </c:pt>
              </c:strCache>
            </c:strRef>
          </c:tx>
          <c:spPr>
            <a:solidFill>
              <a:srgbClr val="339DA3"/>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G$2:$G$6</c:f>
              <c:numCache>
                <c:formatCode>General</c:formatCode>
                <c:ptCount val="5"/>
                <c:pt idx="0">
                  <c:v>50</c:v>
                </c:pt>
                <c:pt idx="1">
                  <c:v>20</c:v>
                </c:pt>
                <c:pt idx="2">
                  <c:v>140</c:v>
                </c:pt>
                <c:pt idx="3">
                  <c:v>60</c:v>
                </c:pt>
                <c:pt idx="4">
                  <c:v>20</c:v>
                </c:pt>
              </c:numCache>
            </c:numRef>
          </c:val>
          <c:extLst>
            <c:ext xmlns:c16="http://schemas.microsoft.com/office/drawing/2014/chart" uri="{C3380CC4-5D6E-409C-BE32-E72D297353CC}">
              <c16:uniqueId val="{00000005-3A46-664A-B6B1-2F9D7C05C402}"/>
            </c:ext>
          </c:extLst>
        </c:ser>
        <c:dLbls>
          <c:showLegendKey val="0"/>
          <c:showVal val="0"/>
          <c:showCatName val="0"/>
          <c:showSerName val="0"/>
          <c:showPercent val="0"/>
          <c:showBubbleSize val="0"/>
        </c:dLbls>
        <c:gapWidth val="150"/>
        <c:overlap val="100"/>
        <c:axId val="798034015"/>
        <c:axId val="798643951"/>
      </c:barChart>
      <c:catAx>
        <c:axId val="798034015"/>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643951"/>
        <c:crosses val="autoZero"/>
        <c:auto val="1"/>
        <c:lblAlgn val="ctr"/>
        <c:lblOffset val="100"/>
        <c:noMultiLvlLbl val="0"/>
      </c:catAx>
      <c:valAx>
        <c:axId val="798643951"/>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034015"/>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ayout>
        <c:manualLayout>
          <c:xMode val="edge"/>
          <c:yMode val="edge"/>
          <c:x val="0.20319835127294722"/>
          <c:y val="0.94931681270153123"/>
          <c:w val="0.59271558338280261"/>
          <c:h val="5.068318729846861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solidFill>
          <a:latin typeface="NeueHaasGroteskText Pro" panose="020B0504020202020204" pitchFamily="34" charset="77"/>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601437486402375E-2"/>
          <c:y val="3.8517385294630758E-2"/>
          <c:w val="0.97333243369465838"/>
          <c:h val="0.76291875232049944"/>
        </c:manualLayout>
      </c:layout>
      <c:lineChart>
        <c:grouping val="standard"/>
        <c:varyColors val="0"/>
        <c:ser>
          <c:idx val="0"/>
          <c:order val="0"/>
          <c:tx>
            <c:strRef>
              <c:f>Tabelle1!$B$1</c:f>
              <c:strCache>
                <c:ptCount val="1"/>
                <c:pt idx="0">
                  <c:v>Legende 1</c:v>
                </c:pt>
              </c:strCache>
            </c:strRef>
          </c:tx>
          <c:spPr>
            <a:ln w="19050" cap="sq">
              <a:solidFill>
                <a:schemeClr val="accent1"/>
              </a:solidFill>
              <a:prstDash val="sysDash"/>
              <a:round/>
            </a:ln>
            <a:effectLst/>
          </c:spPr>
          <c:marker>
            <c:symbol val="circle"/>
            <c:size val="5"/>
            <c:spPr>
              <a:solidFill>
                <a:schemeClr val="accent1"/>
              </a:solidFill>
              <a:ln w="9525">
                <a:solidFill>
                  <a:schemeClr val="accent1"/>
                </a:solidFill>
              </a:ln>
              <a:effectLst/>
            </c:spPr>
          </c:marker>
          <c:cat>
            <c:numRef>
              <c:f>Tabelle1!$A$2:$A$7</c:f>
              <c:numCache>
                <c:formatCode>General</c:formatCode>
                <c:ptCount val="6"/>
                <c:pt idx="0">
                  <c:v>2021</c:v>
                </c:pt>
                <c:pt idx="1">
                  <c:v>2022</c:v>
                </c:pt>
                <c:pt idx="2">
                  <c:v>2023</c:v>
                </c:pt>
                <c:pt idx="3">
                  <c:v>2024</c:v>
                </c:pt>
                <c:pt idx="4">
                  <c:v>2025</c:v>
                </c:pt>
                <c:pt idx="5">
                  <c:v>2026</c:v>
                </c:pt>
              </c:numCache>
            </c:numRef>
          </c:cat>
          <c:val>
            <c:numRef>
              <c:f>Tabelle1!$B$2:$B$7</c:f>
              <c:numCache>
                <c:formatCode>General</c:formatCode>
                <c:ptCount val="6"/>
                <c:pt idx="0">
                  <c:v>4.3</c:v>
                </c:pt>
                <c:pt idx="1">
                  <c:v>2.5</c:v>
                </c:pt>
                <c:pt idx="2">
                  <c:v>3.5</c:v>
                </c:pt>
                <c:pt idx="3">
                  <c:v>4.5</c:v>
                </c:pt>
                <c:pt idx="4">
                  <c:v>2.8</c:v>
                </c:pt>
                <c:pt idx="5">
                  <c:v>3.9</c:v>
                </c:pt>
              </c:numCache>
            </c:numRef>
          </c:val>
          <c:smooth val="0"/>
          <c:extLst>
            <c:ext xmlns:c16="http://schemas.microsoft.com/office/drawing/2014/chart" uri="{C3380CC4-5D6E-409C-BE32-E72D297353CC}">
              <c16:uniqueId val="{00000000-E33D-B046-BBA9-A03ABCC23C35}"/>
            </c:ext>
          </c:extLst>
        </c:ser>
        <c:ser>
          <c:idx val="1"/>
          <c:order val="1"/>
          <c:tx>
            <c:strRef>
              <c:f>Tabelle1!$C$1</c:f>
              <c:strCache>
                <c:ptCount val="1"/>
                <c:pt idx="0">
                  <c:v>Legende 2</c:v>
                </c:pt>
              </c:strCache>
            </c:strRef>
          </c:tx>
          <c:spPr>
            <a:ln w="19050" cap="sq">
              <a:solidFill>
                <a:schemeClr val="accent2"/>
              </a:solidFill>
              <a:prstDash val="sysDot"/>
              <a:round/>
            </a:ln>
            <a:effectLst/>
          </c:spPr>
          <c:marker>
            <c:symbol val="circle"/>
            <c:size val="5"/>
            <c:spPr>
              <a:solidFill>
                <a:schemeClr val="accent2"/>
              </a:solidFill>
              <a:ln w="9525">
                <a:solidFill>
                  <a:schemeClr val="accent2"/>
                </a:solidFill>
              </a:ln>
              <a:effectLst/>
            </c:spPr>
          </c:marker>
          <c:cat>
            <c:numRef>
              <c:f>Tabelle1!$A$2:$A$7</c:f>
              <c:numCache>
                <c:formatCode>General</c:formatCode>
                <c:ptCount val="6"/>
                <c:pt idx="0">
                  <c:v>2021</c:v>
                </c:pt>
                <c:pt idx="1">
                  <c:v>2022</c:v>
                </c:pt>
                <c:pt idx="2">
                  <c:v>2023</c:v>
                </c:pt>
                <c:pt idx="3">
                  <c:v>2024</c:v>
                </c:pt>
                <c:pt idx="4">
                  <c:v>2025</c:v>
                </c:pt>
                <c:pt idx="5">
                  <c:v>2026</c:v>
                </c:pt>
              </c:numCache>
            </c:numRef>
          </c:cat>
          <c:val>
            <c:numRef>
              <c:f>Tabelle1!$C$2:$C$7</c:f>
              <c:numCache>
                <c:formatCode>General</c:formatCode>
                <c:ptCount val="6"/>
                <c:pt idx="0">
                  <c:v>2.4</c:v>
                </c:pt>
                <c:pt idx="1">
                  <c:v>4.4000000000000004</c:v>
                </c:pt>
                <c:pt idx="2">
                  <c:v>1.8</c:v>
                </c:pt>
                <c:pt idx="3">
                  <c:v>2.8</c:v>
                </c:pt>
                <c:pt idx="4">
                  <c:v>5.0999999999999996</c:v>
                </c:pt>
                <c:pt idx="5">
                  <c:v>1.5</c:v>
                </c:pt>
              </c:numCache>
            </c:numRef>
          </c:val>
          <c:smooth val="0"/>
          <c:extLst>
            <c:ext xmlns:c16="http://schemas.microsoft.com/office/drawing/2014/chart" uri="{C3380CC4-5D6E-409C-BE32-E72D297353CC}">
              <c16:uniqueId val="{00000001-E33D-B046-BBA9-A03ABCC23C35}"/>
            </c:ext>
          </c:extLst>
        </c:ser>
        <c:dLbls>
          <c:showLegendKey val="0"/>
          <c:showVal val="0"/>
          <c:showCatName val="0"/>
          <c:showSerName val="0"/>
          <c:showPercent val="0"/>
          <c:showBubbleSize val="0"/>
        </c:dLbls>
        <c:dropLines>
          <c:spPr>
            <a:ln w="6350" cap="flat" cmpd="sng" algn="ctr">
              <a:solidFill>
                <a:schemeClr val="bg1">
                  <a:lumMod val="85000"/>
                </a:schemeClr>
              </a:solidFill>
              <a:round/>
            </a:ln>
            <a:effectLst/>
          </c:spPr>
        </c:dropLines>
        <c:marker val="1"/>
        <c:smooth val="0"/>
        <c:axId val="750057471"/>
        <c:axId val="750666575"/>
      </c:lineChart>
      <c:catAx>
        <c:axId val="750057471"/>
        <c:scaling>
          <c:orientation val="minMax"/>
        </c:scaling>
        <c:delete val="0"/>
        <c:axPos val="b"/>
        <c:numFmt formatCode="General" sourceLinked="1"/>
        <c:majorTickMark val="none"/>
        <c:minorTickMark val="none"/>
        <c:tickLblPos val="nextTo"/>
        <c:spPr>
          <a:noFill/>
          <a:ln w="6350" cap="flat" cmpd="sng" algn="ctr">
            <a:solidFill>
              <a:schemeClr val="bg1">
                <a:lumMod val="85000"/>
              </a:schemeClr>
            </a:solidFill>
            <a:round/>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50666575"/>
        <c:crosses val="autoZero"/>
        <c:auto val="1"/>
        <c:lblAlgn val="ctr"/>
        <c:lblOffset val="100"/>
        <c:noMultiLvlLbl val="0"/>
      </c:catAx>
      <c:valAx>
        <c:axId val="750666575"/>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50057471"/>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ayout>
        <c:manualLayout>
          <c:xMode val="edge"/>
          <c:yMode val="edge"/>
          <c:x val="0.30305421953835993"/>
          <c:y val="0.92212326907412434"/>
          <c:w val="0.37763784991374588"/>
          <c:h val="7.787673092587564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solidFill>
          <a:latin typeface="NeueHaasGroteskText Pro" panose="020B0504020202020204" pitchFamily="34" charset="77"/>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1380198875697571"/>
        </c:manualLayout>
      </c:layout>
      <c:lineChart>
        <c:grouping val="standard"/>
        <c:varyColors val="0"/>
        <c:ser>
          <c:idx val="0"/>
          <c:order val="0"/>
          <c:tx>
            <c:strRef>
              <c:f>Tabelle1!$B$1</c:f>
              <c:strCache>
                <c:ptCount val="1"/>
                <c:pt idx="0">
                  <c:v>Datenreihe 1</c:v>
                </c:pt>
              </c:strCache>
            </c:strRef>
          </c:tx>
          <c:spPr>
            <a:ln w="19050" cap="rnd">
              <a:solidFill>
                <a:schemeClr val="accent2"/>
              </a:solidFill>
              <a:round/>
            </a:ln>
            <a:effectLst/>
          </c:spPr>
          <c:marker>
            <c:symbol val="circle"/>
            <c:size val="5"/>
            <c:spPr>
              <a:solidFill>
                <a:schemeClr val="accent2"/>
              </a:solidFill>
              <a:ln w="28575">
                <a:noFill/>
              </a:ln>
              <a:effectLst/>
            </c:spPr>
          </c:marker>
          <c:dLbls>
            <c:dLbl>
              <c:idx val="1"/>
              <c:dLblPos val="b"/>
              <c:showLegendKey val="0"/>
              <c:showVal val="1"/>
              <c:showCatName val="0"/>
              <c:showSerName val="0"/>
              <c:showPercent val="0"/>
              <c:showBubbleSize val="0"/>
              <c:extLst>
                <c:ext xmlns:c15="http://schemas.microsoft.com/office/drawing/2012/chart" uri="{CE6537A1-D6FC-4f65-9D91-7224C49458BB}">
                  <c15:layout>
                    <c:manualLayout>
                      <c:w val="2.5425398067869993E-2"/>
                      <c:h val="3.9438869457788128E-2"/>
                    </c:manualLayout>
                  </c15:layout>
                </c:ext>
                <c:ext xmlns:c16="http://schemas.microsoft.com/office/drawing/2014/chart" uri="{C3380CC4-5D6E-409C-BE32-E72D297353CC}">
                  <c16:uniqueId val="{00000000-629B-CC4B-B897-8EAE02A5AB7A}"/>
                </c:ext>
              </c:extLst>
            </c:dLbl>
            <c:spPr>
              <a:noFill/>
              <a:ln>
                <a:noFill/>
              </a:ln>
              <a:effectLst/>
            </c:spPr>
            <c:txPr>
              <a:bodyPr rot="0" spcFirstLastPara="1" vertOverflow="ellipsis" vert="horz" wrap="square" anchor="ctr" anchorCtr="1"/>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Text</c:v>
                </c:pt>
                <c:pt idx="1">
                  <c:v>Text</c:v>
                </c:pt>
                <c:pt idx="2">
                  <c:v>Text</c:v>
                </c:pt>
                <c:pt idx="3">
                  <c:v>Text</c:v>
                </c:pt>
                <c:pt idx="4">
                  <c:v>Text</c:v>
                </c:pt>
              </c:strCache>
            </c:strRef>
          </c:cat>
          <c:val>
            <c:numRef>
              <c:f>Tabelle1!$B$2:$B$6</c:f>
              <c:numCache>
                <c:formatCode>General</c:formatCode>
                <c:ptCount val="5"/>
                <c:pt idx="0">
                  <c:v>1</c:v>
                </c:pt>
                <c:pt idx="1">
                  <c:v>7</c:v>
                </c:pt>
                <c:pt idx="2">
                  <c:v>2</c:v>
                </c:pt>
                <c:pt idx="3">
                  <c:v>6</c:v>
                </c:pt>
                <c:pt idx="4">
                  <c:v>3</c:v>
                </c:pt>
              </c:numCache>
            </c:numRef>
          </c:val>
          <c:smooth val="0"/>
          <c:extLst>
            <c:ext xmlns:c16="http://schemas.microsoft.com/office/drawing/2014/chart" uri="{C3380CC4-5D6E-409C-BE32-E72D297353CC}">
              <c16:uniqueId val="{00000001-629B-CC4B-B897-8EAE02A5AB7A}"/>
            </c:ext>
          </c:extLst>
        </c:ser>
        <c:ser>
          <c:idx val="1"/>
          <c:order val="1"/>
          <c:tx>
            <c:strRef>
              <c:f>Tabelle1!$C$1</c:f>
              <c:strCache>
                <c:ptCount val="1"/>
                <c:pt idx="0">
                  <c:v>Datenreihe 2</c:v>
                </c:pt>
              </c:strCache>
            </c:strRef>
          </c:tx>
          <c:spPr>
            <a:ln w="19050" cap="rnd">
              <a:solidFill>
                <a:schemeClr val="accent1"/>
              </a:solidFill>
              <a:round/>
            </a:ln>
            <a:effectLst/>
          </c:spPr>
          <c:marker>
            <c:symbol val="circle"/>
            <c:size val="5"/>
            <c:spPr>
              <a:solidFill>
                <a:schemeClr val="accent1"/>
              </a:solidFill>
              <a:ln w="28575">
                <a:no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2-629B-CC4B-B897-8EAE02A5AB7A}"/>
                </c:ext>
              </c:extLst>
            </c:dLbl>
            <c:dLbl>
              <c:idx val="1"/>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3-629B-CC4B-B897-8EAE02A5AB7A}"/>
                </c:ext>
              </c:extLst>
            </c:dLbl>
            <c:dLbl>
              <c:idx val="2"/>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4-629B-CC4B-B897-8EAE02A5AB7A}"/>
                </c:ext>
              </c:extLst>
            </c:dLbl>
            <c:dLbl>
              <c:idx val="3"/>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5-629B-CC4B-B897-8EAE02A5AB7A}"/>
                </c:ext>
              </c:extLst>
            </c:dLbl>
            <c:dLbl>
              <c:idx val="4"/>
              <c:dLblPos val="t"/>
              <c:showLegendKey val="0"/>
              <c:showVal val="1"/>
              <c:showCatName val="0"/>
              <c:showSerName val="0"/>
              <c:showPercent val="0"/>
              <c:showBubbleSize val="0"/>
              <c:extLst>
                <c:ext xmlns:c15="http://schemas.microsoft.com/office/drawing/2012/chart" uri="{CE6537A1-D6FC-4f65-9D91-7224C49458BB}">
                  <c15:layout>
                    <c:manualLayout>
                      <c:w val="2.5425398067869993E-2"/>
                      <c:h val="4.4782889709520941E-2"/>
                    </c:manualLayout>
                  </c15:layout>
                </c:ext>
                <c:ext xmlns:c16="http://schemas.microsoft.com/office/drawing/2014/chart" uri="{C3380CC4-5D6E-409C-BE32-E72D297353CC}">
                  <c16:uniqueId val="{00000006-629B-CC4B-B897-8EAE02A5AB7A}"/>
                </c:ext>
              </c:extLst>
            </c:dLbl>
            <c:spPr>
              <a:noFill/>
              <a:ln>
                <a:noFill/>
              </a:ln>
              <a:effectLst/>
            </c:spPr>
            <c:txPr>
              <a:bodyPr rot="0" spcFirstLastPara="1" vertOverflow="clip" horzOverflow="clip" vert="horz" wrap="square" lIns="36576" tIns="18288" rIns="36576" bIns="18288" anchor="ctr" anchorCtr="1">
                <a:spAutoFit/>
              </a:bodyPr>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cat>
            <c:strRef>
              <c:f>Tabelle1!$A$2:$A$6</c:f>
              <c:strCache>
                <c:ptCount val="5"/>
                <c:pt idx="0">
                  <c:v>Text</c:v>
                </c:pt>
                <c:pt idx="1">
                  <c:v>Text</c:v>
                </c:pt>
                <c:pt idx="2">
                  <c:v>Text</c:v>
                </c:pt>
                <c:pt idx="3">
                  <c:v>Text</c:v>
                </c:pt>
                <c:pt idx="4">
                  <c:v>Text</c:v>
                </c:pt>
              </c:strCache>
            </c:strRef>
          </c:cat>
          <c:val>
            <c:numRef>
              <c:f>Tabelle1!$C$2:$C$6</c:f>
              <c:numCache>
                <c:formatCode>General</c:formatCode>
                <c:ptCount val="5"/>
                <c:pt idx="0">
                  <c:v>2</c:v>
                </c:pt>
                <c:pt idx="1">
                  <c:v>6</c:v>
                </c:pt>
                <c:pt idx="2">
                  <c:v>4</c:v>
                </c:pt>
                <c:pt idx="3">
                  <c:v>1</c:v>
                </c:pt>
                <c:pt idx="4">
                  <c:v>3</c:v>
                </c:pt>
              </c:numCache>
            </c:numRef>
          </c:val>
          <c:smooth val="0"/>
          <c:extLst>
            <c:ext xmlns:c16="http://schemas.microsoft.com/office/drawing/2014/chart" uri="{C3380CC4-5D6E-409C-BE32-E72D297353CC}">
              <c16:uniqueId val="{00000007-629B-CC4B-B897-8EAE02A5AB7A}"/>
            </c:ext>
          </c:extLst>
        </c:ser>
        <c:ser>
          <c:idx val="2"/>
          <c:order val="2"/>
          <c:tx>
            <c:strRef>
              <c:f>Tabelle1!$D$1</c:f>
              <c:strCache>
                <c:ptCount val="1"/>
                <c:pt idx="0">
                  <c:v>Datenreihe 3</c:v>
                </c:pt>
              </c:strCache>
            </c:strRef>
          </c:tx>
          <c:spPr>
            <a:ln w="19050" cap="rnd">
              <a:solidFill>
                <a:schemeClr val="tx1"/>
              </a:solidFill>
              <a:round/>
            </a:ln>
            <a:effectLst/>
          </c:spPr>
          <c:marker>
            <c:symbol val="circle"/>
            <c:size val="5"/>
            <c:spPr>
              <a:solidFill>
                <a:schemeClr val="tx1"/>
              </a:solidFill>
              <a:ln w="28575">
                <a:noFill/>
              </a:ln>
              <a:effectLst/>
            </c:spPr>
          </c:marker>
          <c:dLbls>
            <c:spPr>
              <a:noFill/>
              <a:ln>
                <a:noFill/>
              </a:ln>
              <a:effectLst/>
            </c:spPr>
            <c:txPr>
              <a:bodyPr rot="0" spcFirstLastPara="1" vertOverflow="ellipsis" vert="horz" wrap="square" anchor="ctr" anchorCtr="1"/>
              <a:lstStyle/>
              <a:p>
                <a:pPr>
                  <a:defRPr sz="1100" b="0" i="0" u="none" strike="noStrike" kern="1200" baseline="0">
                    <a:solidFill>
                      <a:schemeClr val="accent3"/>
                    </a:solidFill>
                    <a:latin typeface="NeueHaasGroteskText Pro" panose="020B0504020202020204" pitchFamily="34" charset="77"/>
                    <a:ea typeface="+mn-ea"/>
                    <a:cs typeface="+mn-cs"/>
                  </a:defRPr>
                </a:pPr>
                <a:endParaRPr lang="de-DE"/>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Text</c:v>
                </c:pt>
                <c:pt idx="1">
                  <c:v>Text</c:v>
                </c:pt>
                <c:pt idx="2">
                  <c:v>Text</c:v>
                </c:pt>
                <c:pt idx="3">
                  <c:v>Text</c:v>
                </c:pt>
                <c:pt idx="4">
                  <c:v>Text</c:v>
                </c:pt>
              </c:strCache>
            </c:strRef>
          </c:cat>
          <c:val>
            <c:numRef>
              <c:f>Tabelle1!$D$2:$D$6</c:f>
              <c:numCache>
                <c:formatCode>General</c:formatCode>
                <c:ptCount val="5"/>
                <c:pt idx="0">
                  <c:v>3</c:v>
                </c:pt>
                <c:pt idx="1">
                  <c:v>9</c:v>
                </c:pt>
                <c:pt idx="2">
                  <c:v>5</c:v>
                </c:pt>
                <c:pt idx="3">
                  <c:v>8</c:v>
                </c:pt>
                <c:pt idx="4">
                  <c:v>4</c:v>
                </c:pt>
              </c:numCache>
            </c:numRef>
          </c:val>
          <c:smooth val="0"/>
          <c:extLst>
            <c:ext xmlns:c16="http://schemas.microsoft.com/office/drawing/2014/chart" uri="{C3380CC4-5D6E-409C-BE32-E72D297353CC}">
              <c16:uniqueId val="{00000008-629B-CC4B-B897-8EAE02A5AB7A}"/>
            </c:ext>
          </c:extLst>
        </c:ser>
        <c:dLbls>
          <c:showLegendKey val="0"/>
          <c:showVal val="1"/>
          <c:showCatName val="0"/>
          <c:showSerName val="0"/>
          <c:showPercent val="0"/>
          <c:showBubbleSize val="0"/>
        </c:dLbls>
        <c:marker val="1"/>
        <c:smooth val="0"/>
        <c:axId val="1366704095"/>
        <c:axId val="1378602511"/>
      </c:lineChart>
      <c:catAx>
        <c:axId val="1366704095"/>
        <c:scaling>
          <c:orientation val="minMax"/>
        </c:scaling>
        <c:delete val="1"/>
        <c:axPos val="b"/>
        <c:numFmt formatCode="General" sourceLinked="1"/>
        <c:majorTickMark val="none"/>
        <c:minorTickMark val="none"/>
        <c:tickLblPos val="nextTo"/>
        <c:crossAx val="1378602511"/>
        <c:crosses val="autoZero"/>
        <c:auto val="1"/>
        <c:lblAlgn val="ctr"/>
        <c:lblOffset val="100"/>
        <c:noMultiLvlLbl val="0"/>
      </c:catAx>
      <c:valAx>
        <c:axId val="1378602511"/>
        <c:scaling>
          <c:orientation val="minMax"/>
        </c:scaling>
        <c:delete val="1"/>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crossAx val="1366704095"/>
        <c:crosses val="autoZero"/>
        <c:crossBetween val="between"/>
      </c:valAx>
      <c:spPr>
        <a:noFill/>
        <a:ln w="3175">
          <a:noFill/>
        </a:ln>
        <a:effectLst/>
      </c:spPr>
    </c:plotArea>
    <c:legend>
      <c:legendPos val="b"/>
      <c:layout>
        <c:manualLayout>
          <c:xMode val="edge"/>
          <c:yMode val="edge"/>
          <c:x val="0.14908195422149995"/>
          <c:y val="0.93285008727209995"/>
          <c:w val="0.701836091557"/>
          <c:h val="5.1234790040474959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NeueHaasGroteskText Pro" panose="020B0504020202020204" pitchFamily="34" charset="77"/>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1.4683462273690776E-2"/>
          <c:y val="9.31314167730855E-3"/>
          <c:w val="0.96329134431577323"/>
          <c:h val="0.80726490238475967"/>
        </c:manualLayout>
      </c:layout>
      <c:barChart>
        <c:barDir val="col"/>
        <c:grouping val="clustered"/>
        <c:varyColors val="0"/>
        <c:ser>
          <c:idx val="0"/>
          <c:order val="0"/>
          <c:tx>
            <c:strRef>
              <c:f>Tabelle1!$B$1</c:f>
              <c:strCache>
                <c:ptCount val="1"/>
                <c:pt idx="0">
                  <c:v>Jan - Apr</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accent3"/>
                    </a:solidFill>
                    <a:latin typeface="NeueHaasGroteskText Pro" panose="020B0504020202020204" pitchFamily="34" charset="77"/>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0</c:v>
                </c:pt>
                <c:pt idx="1">
                  <c:v>2021</c:v>
                </c:pt>
              </c:numCache>
            </c:numRef>
          </c:cat>
          <c:val>
            <c:numRef>
              <c:f>Tabelle1!$B$2:$B$3</c:f>
              <c:numCache>
                <c:formatCode>General</c:formatCode>
                <c:ptCount val="2"/>
                <c:pt idx="0">
                  <c:v>15</c:v>
                </c:pt>
                <c:pt idx="1">
                  <c:v>20</c:v>
                </c:pt>
              </c:numCache>
            </c:numRef>
          </c:val>
          <c:extLst>
            <c:ext xmlns:c16="http://schemas.microsoft.com/office/drawing/2014/chart" uri="{C3380CC4-5D6E-409C-BE32-E72D297353CC}">
              <c16:uniqueId val="{00000000-50B3-FE43-AC77-2B637B5C5E27}"/>
            </c:ext>
          </c:extLst>
        </c:ser>
        <c:ser>
          <c:idx val="1"/>
          <c:order val="1"/>
          <c:tx>
            <c:strRef>
              <c:f>Tabelle1!$C$1</c:f>
              <c:strCache>
                <c:ptCount val="1"/>
                <c:pt idx="0">
                  <c:v>Mai - Aug</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accent3"/>
                    </a:solidFill>
                    <a:latin typeface="NeueHaasGroteskText Pro" panose="020B0504020202020204" pitchFamily="34" charset="77"/>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0</c:v>
                </c:pt>
                <c:pt idx="1">
                  <c:v>2021</c:v>
                </c:pt>
              </c:numCache>
            </c:numRef>
          </c:cat>
          <c:val>
            <c:numRef>
              <c:f>Tabelle1!$C$2:$C$3</c:f>
              <c:numCache>
                <c:formatCode>General</c:formatCode>
                <c:ptCount val="2"/>
                <c:pt idx="0">
                  <c:v>25</c:v>
                </c:pt>
                <c:pt idx="1">
                  <c:v>35</c:v>
                </c:pt>
              </c:numCache>
            </c:numRef>
          </c:val>
          <c:extLst>
            <c:ext xmlns:c16="http://schemas.microsoft.com/office/drawing/2014/chart" uri="{C3380CC4-5D6E-409C-BE32-E72D297353CC}">
              <c16:uniqueId val="{00000001-50B3-FE43-AC77-2B637B5C5E27}"/>
            </c:ext>
          </c:extLst>
        </c:ser>
        <c:ser>
          <c:idx val="2"/>
          <c:order val="2"/>
          <c:tx>
            <c:strRef>
              <c:f>Tabelle1!$D$1</c:f>
              <c:strCache>
                <c:ptCount val="1"/>
                <c:pt idx="0">
                  <c:v>Sep - Dez</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accent3"/>
                    </a:solidFill>
                    <a:latin typeface="NeueHaasGroteskText Pro" panose="020B0504020202020204" pitchFamily="34" charset="77"/>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3</c:f>
              <c:numCache>
                <c:formatCode>General</c:formatCode>
                <c:ptCount val="2"/>
                <c:pt idx="0">
                  <c:v>2020</c:v>
                </c:pt>
                <c:pt idx="1">
                  <c:v>2021</c:v>
                </c:pt>
              </c:numCache>
            </c:numRef>
          </c:cat>
          <c:val>
            <c:numRef>
              <c:f>Tabelle1!$D$2:$D$3</c:f>
              <c:numCache>
                <c:formatCode>General</c:formatCode>
                <c:ptCount val="2"/>
                <c:pt idx="0">
                  <c:v>30</c:v>
                </c:pt>
                <c:pt idx="1">
                  <c:v>40</c:v>
                </c:pt>
              </c:numCache>
            </c:numRef>
          </c:val>
          <c:extLst>
            <c:ext xmlns:c16="http://schemas.microsoft.com/office/drawing/2014/chart" uri="{C3380CC4-5D6E-409C-BE32-E72D297353CC}">
              <c16:uniqueId val="{00000002-50B3-FE43-AC77-2B637B5C5E27}"/>
            </c:ext>
          </c:extLst>
        </c:ser>
        <c:dLbls>
          <c:showLegendKey val="0"/>
          <c:showVal val="1"/>
          <c:showCatName val="0"/>
          <c:showSerName val="0"/>
          <c:showPercent val="0"/>
          <c:showBubbleSize val="0"/>
        </c:dLbls>
        <c:gapWidth val="300"/>
        <c:overlap val="-50"/>
        <c:axId val="233575256"/>
        <c:axId val="233572120"/>
      </c:barChart>
      <c:catAx>
        <c:axId val="233575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NeueHaasGroteskText Pro" panose="020B0504020202020204" pitchFamily="34" charset="77"/>
                <a:ea typeface="+mn-ea"/>
                <a:cs typeface="+mn-cs"/>
              </a:defRPr>
            </a:pPr>
            <a:endParaRPr lang="de-DE"/>
          </a:p>
        </c:txPr>
        <c:crossAx val="233572120"/>
        <c:crosses val="autoZero"/>
        <c:auto val="1"/>
        <c:lblAlgn val="ctr"/>
        <c:lblOffset val="100"/>
        <c:noMultiLvlLbl val="0"/>
      </c:catAx>
      <c:valAx>
        <c:axId val="233572120"/>
        <c:scaling>
          <c:orientation val="minMax"/>
        </c:scaling>
        <c:delete val="1"/>
        <c:axPos val="l"/>
        <c:numFmt formatCode="General" sourceLinked="1"/>
        <c:majorTickMark val="none"/>
        <c:minorTickMark val="none"/>
        <c:tickLblPos val="nextTo"/>
        <c:crossAx val="233575256"/>
        <c:crosses val="autoZero"/>
        <c:crossBetween val="between"/>
      </c:valAx>
      <c:spPr>
        <a:noFill/>
        <a:ln w="25400">
          <a:noFill/>
        </a:ln>
        <a:effectLst/>
      </c:spPr>
    </c:plotArea>
    <c:legend>
      <c:legendPos val="t"/>
      <c:layout>
        <c:manualLayout>
          <c:xMode val="edge"/>
          <c:yMode val="edge"/>
          <c:x val="0.22451837593392096"/>
          <c:y val="0.94102712696967183"/>
          <c:w val="0.5215961790625101"/>
          <c:h val="5.622651750864116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3"/>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NeueHaasGroteskText Pro" panose="020B0504020202020204" pitchFamily="34" charset="77"/>
        </a:defRPr>
      </a:pPr>
      <a:endParaRPr lang="de-DE"/>
    </a:p>
  </c:txPr>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795690012432655E-2"/>
          <c:y val="1.9409762108648886E-2"/>
          <c:w val="0.95920430998756734"/>
          <c:h val="0.80257232494029529"/>
        </c:manualLayout>
      </c:layout>
      <c:barChart>
        <c:barDir val="col"/>
        <c:grouping val="stacked"/>
        <c:varyColors val="0"/>
        <c:ser>
          <c:idx val="0"/>
          <c:order val="0"/>
          <c:tx>
            <c:strRef>
              <c:f>Tabelle1!$B$1</c:f>
              <c:strCache>
                <c:ptCount val="1"/>
                <c:pt idx="0">
                  <c:v>Legende 1</c:v>
                </c:pt>
              </c:strCache>
            </c:strRef>
          </c:tx>
          <c:spPr>
            <a:solidFill>
              <a:schemeClr val="tx1"/>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B$2:$B$6</c:f>
              <c:numCache>
                <c:formatCode>General</c:formatCode>
                <c:ptCount val="5"/>
                <c:pt idx="0">
                  <c:v>120</c:v>
                </c:pt>
                <c:pt idx="1">
                  <c:v>50</c:v>
                </c:pt>
                <c:pt idx="2">
                  <c:v>90</c:v>
                </c:pt>
                <c:pt idx="3">
                  <c:v>200</c:v>
                </c:pt>
                <c:pt idx="4">
                  <c:v>150</c:v>
                </c:pt>
              </c:numCache>
            </c:numRef>
          </c:val>
          <c:extLst>
            <c:ext xmlns:c16="http://schemas.microsoft.com/office/drawing/2014/chart" uri="{C3380CC4-5D6E-409C-BE32-E72D297353CC}">
              <c16:uniqueId val="{00000000-0DDC-6647-9EA9-E00621C1AF7F}"/>
            </c:ext>
          </c:extLst>
        </c:ser>
        <c:ser>
          <c:idx val="1"/>
          <c:order val="1"/>
          <c:tx>
            <c:strRef>
              <c:f>Tabelle1!$C$1</c:f>
              <c:strCache>
                <c:ptCount val="1"/>
                <c:pt idx="0">
                  <c:v>Legende 2</c:v>
                </c:pt>
              </c:strCache>
            </c:strRef>
          </c:tx>
          <c:spPr>
            <a:solidFill>
              <a:schemeClr val="accent1"/>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C$2:$C$6</c:f>
              <c:numCache>
                <c:formatCode>General</c:formatCode>
                <c:ptCount val="5"/>
                <c:pt idx="0">
                  <c:v>60</c:v>
                </c:pt>
                <c:pt idx="1">
                  <c:v>70</c:v>
                </c:pt>
                <c:pt idx="2">
                  <c:v>20</c:v>
                </c:pt>
                <c:pt idx="3">
                  <c:v>30</c:v>
                </c:pt>
                <c:pt idx="4">
                  <c:v>50</c:v>
                </c:pt>
              </c:numCache>
            </c:numRef>
          </c:val>
          <c:extLst>
            <c:ext xmlns:c16="http://schemas.microsoft.com/office/drawing/2014/chart" uri="{C3380CC4-5D6E-409C-BE32-E72D297353CC}">
              <c16:uniqueId val="{00000001-0DDC-6647-9EA9-E00621C1AF7F}"/>
            </c:ext>
          </c:extLst>
        </c:ser>
        <c:ser>
          <c:idx val="2"/>
          <c:order val="2"/>
          <c:tx>
            <c:strRef>
              <c:f>Tabelle1!$D$1</c:f>
              <c:strCache>
                <c:ptCount val="1"/>
                <c:pt idx="0">
                  <c:v>Legende 3</c:v>
                </c:pt>
              </c:strCache>
            </c:strRef>
          </c:tx>
          <c:spPr>
            <a:solidFill>
              <a:schemeClr val="accent2"/>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D$2:$D$6</c:f>
              <c:numCache>
                <c:formatCode>General</c:formatCode>
                <c:ptCount val="5"/>
                <c:pt idx="0">
                  <c:v>30</c:v>
                </c:pt>
                <c:pt idx="1">
                  <c:v>10</c:v>
                </c:pt>
                <c:pt idx="2">
                  <c:v>20</c:v>
                </c:pt>
                <c:pt idx="3">
                  <c:v>5</c:v>
                </c:pt>
                <c:pt idx="4">
                  <c:v>20</c:v>
                </c:pt>
              </c:numCache>
            </c:numRef>
          </c:val>
          <c:extLst>
            <c:ext xmlns:c16="http://schemas.microsoft.com/office/drawing/2014/chart" uri="{C3380CC4-5D6E-409C-BE32-E72D297353CC}">
              <c16:uniqueId val="{00000002-0DDC-6647-9EA9-E00621C1AF7F}"/>
            </c:ext>
          </c:extLst>
        </c:ser>
        <c:dLbls>
          <c:showLegendKey val="0"/>
          <c:showVal val="0"/>
          <c:showCatName val="0"/>
          <c:showSerName val="0"/>
          <c:showPercent val="0"/>
          <c:showBubbleSize val="0"/>
        </c:dLbls>
        <c:gapWidth val="150"/>
        <c:overlap val="100"/>
        <c:axId val="798034015"/>
        <c:axId val="798643951"/>
      </c:barChart>
      <c:catAx>
        <c:axId val="798034015"/>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643951"/>
        <c:crosses val="autoZero"/>
        <c:auto val="1"/>
        <c:lblAlgn val="ctr"/>
        <c:lblOffset val="100"/>
        <c:noMultiLvlLbl val="0"/>
      </c:catAx>
      <c:valAx>
        <c:axId val="798643951"/>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034015"/>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ayout>
        <c:manualLayout>
          <c:xMode val="edge"/>
          <c:yMode val="edge"/>
          <c:x val="0.33748000134407097"/>
          <c:y val="0.94931681948244528"/>
          <c:w val="0.32503999731185806"/>
          <c:h val="4.803066062365546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solidFill>
          <a:latin typeface="NeueHaasGroteskText Pro" panose="020B0504020202020204" pitchFamily="34" charset="77"/>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795690012432655E-2"/>
          <c:y val="1.9409762108648886E-2"/>
          <c:w val="0.95920430998756734"/>
          <c:h val="0.80257232494029529"/>
        </c:manualLayout>
      </c:layout>
      <c:barChart>
        <c:barDir val="col"/>
        <c:grouping val="stacked"/>
        <c:varyColors val="0"/>
        <c:ser>
          <c:idx val="0"/>
          <c:order val="0"/>
          <c:tx>
            <c:strRef>
              <c:f>Tabelle1!$B$1</c:f>
              <c:strCache>
                <c:ptCount val="1"/>
                <c:pt idx="0">
                  <c:v>Legende 1</c:v>
                </c:pt>
              </c:strCache>
            </c:strRef>
          </c:tx>
          <c:spPr>
            <a:solidFill>
              <a:schemeClr val="tx1"/>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B$2:$B$6</c:f>
              <c:numCache>
                <c:formatCode>General</c:formatCode>
                <c:ptCount val="5"/>
                <c:pt idx="0">
                  <c:v>120</c:v>
                </c:pt>
                <c:pt idx="1">
                  <c:v>50</c:v>
                </c:pt>
                <c:pt idx="2">
                  <c:v>90</c:v>
                </c:pt>
                <c:pt idx="3">
                  <c:v>200</c:v>
                </c:pt>
                <c:pt idx="4">
                  <c:v>150</c:v>
                </c:pt>
              </c:numCache>
            </c:numRef>
          </c:val>
          <c:extLst>
            <c:ext xmlns:c16="http://schemas.microsoft.com/office/drawing/2014/chart" uri="{C3380CC4-5D6E-409C-BE32-E72D297353CC}">
              <c16:uniqueId val="{00000000-4C7D-7140-87F0-C26F821EF77A}"/>
            </c:ext>
          </c:extLst>
        </c:ser>
        <c:ser>
          <c:idx val="1"/>
          <c:order val="1"/>
          <c:tx>
            <c:strRef>
              <c:f>Tabelle1!$C$1</c:f>
              <c:strCache>
                <c:ptCount val="1"/>
                <c:pt idx="0">
                  <c:v>Legende 2</c:v>
                </c:pt>
              </c:strCache>
            </c:strRef>
          </c:tx>
          <c:spPr>
            <a:solidFill>
              <a:schemeClr val="accent1"/>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C$2:$C$6</c:f>
              <c:numCache>
                <c:formatCode>General</c:formatCode>
                <c:ptCount val="5"/>
                <c:pt idx="0">
                  <c:v>60</c:v>
                </c:pt>
                <c:pt idx="1">
                  <c:v>70</c:v>
                </c:pt>
                <c:pt idx="2">
                  <c:v>20</c:v>
                </c:pt>
                <c:pt idx="3">
                  <c:v>30</c:v>
                </c:pt>
                <c:pt idx="4">
                  <c:v>50</c:v>
                </c:pt>
              </c:numCache>
            </c:numRef>
          </c:val>
          <c:extLst>
            <c:ext xmlns:c16="http://schemas.microsoft.com/office/drawing/2014/chart" uri="{C3380CC4-5D6E-409C-BE32-E72D297353CC}">
              <c16:uniqueId val="{00000001-4C7D-7140-87F0-C26F821EF77A}"/>
            </c:ext>
          </c:extLst>
        </c:ser>
        <c:ser>
          <c:idx val="2"/>
          <c:order val="2"/>
          <c:tx>
            <c:strRef>
              <c:f>Tabelle1!$D$1</c:f>
              <c:strCache>
                <c:ptCount val="1"/>
                <c:pt idx="0">
                  <c:v>Legende 3</c:v>
                </c:pt>
              </c:strCache>
            </c:strRef>
          </c:tx>
          <c:spPr>
            <a:solidFill>
              <a:schemeClr val="accent2"/>
            </a:solidFill>
            <a:ln w="6350">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D$2:$D$6</c:f>
              <c:numCache>
                <c:formatCode>General</c:formatCode>
                <c:ptCount val="5"/>
                <c:pt idx="0">
                  <c:v>30</c:v>
                </c:pt>
                <c:pt idx="1">
                  <c:v>10</c:v>
                </c:pt>
                <c:pt idx="2">
                  <c:v>20</c:v>
                </c:pt>
                <c:pt idx="3">
                  <c:v>5</c:v>
                </c:pt>
                <c:pt idx="4">
                  <c:v>20</c:v>
                </c:pt>
              </c:numCache>
            </c:numRef>
          </c:val>
          <c:extLst>
            <c:ext xmlns:c16="http://schemas.microsoft.com/office/drawing/2014/chart" uri="{C3380CC4-5D6E-409C-BE32-E72D297353CC}">
              <c16:uniqueId val="{00000002-4C7D-7140-87F0-C26F821EF77A}"/>
            </c:ext>
          </c:extLst>
        </c:ser>
        <c:ser>
          <c:idx val="3"/>
          <c:order val="3"/>
          <c:tx>
            <c:strRef>
              <c:f>Tabelle1!$E$1</c:f>
              <c:strCache>
                <c:ptCount val="1"/>
                <c:pt idx="0">
                  <c:v>Legende 4</c:v>
                </c:pt>
              </c:strCache>
            </c:strRef>
          </c:tx>
          <c:spPr>
            <a:solidFill>
              <a:schemeClr val="accent4"/>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E$2:$E$6</c:f>
              <c:numCache>
                <c:formatCode>General</c:formatCode>
                <c:ptCount val="5"/>
                <c:pt idx="0">
                  <c:v>20</c:v>
                </c:pt>
                <c:pt idx="1">
                  <c:v>70</c:v>
                </c:pt>
                <c:pt idx="2">
                  <c:v>100</c:v>
                </c:pt>
                <c:pt idx="3">
                  <c:v>30</c:v>
                </c:pt>
                <c:pt idx="4">
                  <c:v>120</c:v>
                </c:pt>
              </c:numCache>
            </c:numRef>
          </c:val>
          <c:extLst>
            <c:ext xmlns:c16="http://schemas.microsoft.com/office/drawing/2014/chart" uri="{C3380CC4-5D6E-409C-BE32-E72D297353CC}">
              <c16:uniqueId val="{00000003-4C7D-7140-87F0-C26F821EF77A}"/>
            </c:ext>
          </c:extLst>
        </c:ser>
        <c:ser>
          <c:idx val="4"/>
          <c:order val="4"/>
          <c:tx>
            <c:strRef>
              <c:f>Tabelle1!$F$1</c:f>
              <c:strCache>
                <c:ptCount val="1"/>
                <c:pt idx="0">
                  <c:v>Legende 5</c:v>
                </c:pt>
              </c:strCache>
            </c:strRef>
          </c:tx>
          <c:spPr>
            <a:solidFill>
              <a:schemeClr val="accent5"/>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F$2:$F$6</c:f>
              <c:numCache>
                <c:formatCode>General</c:formatCode>
                <c:ptCount val="5"/>
                <c:pt idx="0">
                  <c:v>10</c:v>
                </c:pt>
                <c:pt idx="1">
                  <c:v>50</c:v>
                </c:pt>
                <c:pt idx="2">
                  <c:v>110</c:v>
                </c:pt>
                <c:pt idx="3">
                  <c:v>10</c:v>
                </c:pt>
                <c:pt idx="4">
                  <c:v>140</c:v>
                </c:pt>
              </c:numCache>
            </c:numRef>
          </c:val>
          <c:extLst>
            <c:ext xmlns:c16="http://schemas.microsoft.com/office/drawing/2014/chart" uri="{C3380CC4-5D6E-409C-BE32-E72D297353CC}">
              <c16:uniqueId val="{00000004-4C7D-7140-87F0-C26F821EF77A}"/>
            </c:ext>
          </c:extLst>
        </c:ser>
        <c:ser>
          <c:idx val="5"/>
          <c:order val="5"/>
          <c:tx>
            <c:strRef>
              <c:f>Tabelle1!$G$1</c:f>
              <c:strCache>
                <c:ptCount val="1"/>
                <c:pt idx="0">
                  <c:v>Legende 6</c:v>
                </c:pt>
              </c:strCache>
            </c:strRef>
          </c:tx>
          <c:spPr>
            <a:solidFill>
              <a:schemeClr val="accent6"/>
            </a:solidFill>
            <a:ln>
              <a:noFill/>
            </a:ln>
            <a:effectLst/>
          </c:spPr>
          <c:invertIfNegative val="0"/>
          <c:cat>
            <c:numRef>
              <c:f>Tabelle1!$A$2:$A$6</c:f>
              <c:numCache>
                <c:formatCode>General</c:formatCode>
                <c:ptCount val="5"/>
                <c:pt idx="0">
                  <c:v>2020</c:v>
                </c:pt>
                <c:pt idx="1">
                  <c:v>2021</c:v>
                </c:pt>
                <c:pt idx="2">
                  <c:v>2022</c:v>
                </c:pt>
                <c:pt idx="3">
                  <c:v>2023</c:v>
                </c:pt>
                <c:pt idx="4">
                  <c:v>2024</c:v>
                </c:pt>
              </c:numCache>
            </c:numRef>
          </c:cat>
          <c:val>
            <c:numRef>
              <c:f>Tabelle1!$G$2:$G$6</c:f>
              <c:numCache>
                <c:formatCode>General</c:formatCode>
                <c:ptCount val="5"/>
                <c:pt idx="0">
                  <c:v>50</c:v>
                </c:pt>
                <c:pt idx="1">
                  <c:v>20</c:v>
                </c:pt>
                <c:pt idx="2">
                  <c:v>140</c:v>
                </c:pt>
                <c:pt idx="3">
                  <c:v>60</c:v>
                </c:pt>
                <c:pt idx="4">
                  <c:v>20</c:v>
                </c:pt>
              </c:numCache>
            </c:numRef>
          </c:val>
          <c:extLst>
            <c:ext xmlns:c16="http://schemas.microsoft.com/office/drawing/2014/chart" uri="{C3380CC4-5D6E-409C-BE32-E72D297353CC}">
              <c16:uniqueId val="{00000005-4C7D-7140-87F0-C26F821EF77A}"/>
            </c:ext>
          </c:extLst>
        </c:ser>
        <c:dLbls>
          <c:showLegendKey val="0"/>
          <c:showVal val="0"/>
          <c:showCatName val="0"/>
          <c:showSerName val="0"/>
          <c:showPercent val="0"/>
          <c:showBubbleSize val="0"/>
        </c:dLbls>
        <c:gapWidth val="150"/>
        <c:overlap val="100"/>
        <c:axId val="798034015"/>
        <c:axId val="798643951"/>
      </c:barChart>
      <c:catAx>
        <c:axId val="798034015"/>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643951"/>
        <c:crosses val="autoZero"/>
        <c:auto val="1"/>
        <c:lblAlgn val="ctr"/>
        <c:lblOffset val="100"/>
        <c:noMultiLvlLbl val="0"/>
      </c:catAx>
      <c:valAx>
        <c:axId val="798643951"/>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mn-cs"/>
              </a:defRPr>
            </a:pPr>
            <a:endParaRPr lang="de-DE"/>
          </a:p>
        </c:txPr>
        <c:crossAx val="798034015"/>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1"/>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egendEntry>
        <c:idx val="2"/>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Entry>
      <c:layout>
        <c:manualLayout>
          <c:xMode val="edge"/>
          <c:yMode val="edge"/>
          <c:x val="0.20319835127294722"/>
          <c:y val="0.94931681270153123"/>
          <c:w val="0.59271558338280261"/>
          <c:h val="5.068318729846861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solidFill>
          <a:latin typeface="NeueHaasGroteskText Pro" panose="020B0504020202020204" pitchFamily="34" charset="77"/>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214939980760381E-2"/>
          <c:w val="1"/>
          <c:h val="0.7953677152639782"/>
        </c:manualLayout>
      </c:layout>
      <c:barChart>
        <c:barDir val="col"/>
        <c:grouping val="stacked"/>
        <c:varyColors val="0"/>
        <c:ser>
          <c:idx val="0"/>
          <c:order val="0"/>
          <c:tx>
            <c:strRef>
              <c:f>Tabelle1!$B$1</c:f>
              <c:strCache>
                <c:ptCount val="1"/>
                <c:pt idx="0">
                  <c:v>Datenreihe 1</c:v>
                </c:pt>
              </c:strCache>
            </c:strRef>
          </c:tx>
          <c:spPr>
            <a:solidFill>
              <a:schemeClr val="tx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NeueHaasGroteskText Pro" panose="020B0504020202020204" pitchFamily="34" charset="77"/>
                    <a:ea typeface="+mn-ea"/>
                    <a:cs typeface="Arial" panose="020B0604020202020204" pitchFamily="34" charset="0"/>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Text</c:v>
                </c:pt>
                <c:pt idx="1">
                  <c:v>Text</c:v>
                </c:pt>
                <c:pt idx="2">
                  <c:v>Text</c:v>
                </c:pt>
                <c:pt idx="3">
                  <c:v>Text</c:v>
                </c:pt>
                <c:pt idx="4">
                  <c:v>Text</c:v>
                </c:pt>
                <c:pt idx="5">
                  <c:v>Text</c:v>
                </c:pt>
                <c:pt idx="6">
                  <c:v>Text</c:v>
                </c:pt>
                <c:pt idx="7">
                  <c:v>Text</c:v>
                </c:pt>
                <c:pt idx="8">
                  <c:v>Text</c:v>
                </c:pt>
                <c:pt idx="9">
                  <c:v>Text</c:v>
                </c:pt>
                <c:pt idx="10">
                  <c:v>Text</c:v>
                </c:pt>
              </c:strCache>
            </c:strRef>
          </c:cat>
          <c:val>
            <c:numRef>
              <c:f>Tabelle1!$B$2:$B$12</c:f>
              <c:numCache>
                <c:formatCode>General</c:formatCode>
                <c:ptCount val="11"/>
                <c:pt idx="0">
                  <c:v>7.7</c:v>
                </c:pt>
                <c:pt idx="1">
                  <c:v>8.3000000000000007</c:v>
                </c:pt>
                <c:pt idx="2">
                  <c:v>8.5</c:v>
                </c:pt>
                <c:pt idx="3">
                  <c:v>9.1999999999999993</c:v>
                </c:pt>
                <c:pt idx="4">
                  <c:v>9.4</c:v>
                </c:pt>
                <c:pt idx="5">
                  <c:v>9.8000000000000007</c:v>
                </c:pt>
                <c:pt idx="6">
                  <c:v>10.199999999999999</c:v>
                </c:pt>
                <c:pt idx="7">
                  <c:v>10.6</c:v>
                </c:pt>
                <c:pt idx="8">
                  <c:v>10.8</c:v>
                </c:pt>
                <c:pt idx="9">
                  <c:v>11.3</c:v>
                </c:pt>
                <c:pt idx="10">
                  <c:v>11.9</c:v>
                </c:pt>
              </c:numCache>
            </c:numRef>
          </c:val>
          <c:extLst>
            <c:ext xmlns:c16="http://schemas.microsoft.com/office/drawing/2014/chart" uri="{C3380CC4-5D6E-409C-BE32-E72D297353CC}">
              <c16:uniqueId val="{00000000-574F-1F41-A809-6AAFC4281121}"/>
            </c:ext>
          </c:extLst>
        </c:ser>
        <c:ser>
          <c:idx val="1"/>
          <c:order val="1"/>
          <c:tx>
            <c:strRef>
              <c:f>Tabelle1!$C$1</c:f>
              <c:strCache>
                <c:ptCount val="1"/>
                <c:pt idx="0">
                  <c:v>Datenreihe 2</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NeueHaasGroteskText Pro" panose="020B0504020202020204" pitchFamily="34" charset="77"/>
                    <a:ea typeface="+mn-ea"/>
                    <a:cs typeface="Arial" panose="020B0604020202020204" pitchFamily="34" charset="0"/>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Text</c:v>
                </c:pt>
                <c:pt idx="1">
                  <c:v>Text</c:v>
                </c:pt>
                <c:pt idx="2">
                  <c:v>Text</c:v>
                </c:pt>
                <c:pt idx="3">
                  <c:v>Text</c:v>
                </c:pt>
                <c:pt idx="4">
                  <c:v>Text</c:v>
                </c:pt>
                <c:pt idx="5">
                  <c:v>Text</c:v>
                </c:pt>
                <c:pt idx="6">
                  <c:v>Text</c:v>
                </c:pt>
                <c:pt idx="7">
                  <c:v>Text</c:v>
                </c:pt>
                <c:pt idx="8">
                  <c:v>Text</c:v>
                </c:pt>
                <c:pt idx="9">
                  <c:v>Text</c:v>
                </c:pt>
                <c:pt idx="10">
                  <c:v>Text</c:v>
                </c:pt>
              </c:strCache>
            </c:strRef>
          </c:cat>
          <c:val>
            <c:numRef>
              <c:f>Tabelle1!$C$2:$C$12</c:f>
              <c:numCache>
                <c:formatCode>General</c:formatCode>
                <c:ptCount val="11"/>
                <c:pt idx="0">
                  <c:v>1.8</c:v>
                </c:pt>
                <c:pt idx="1">
                  <c:v>1.8</c:v>
                </c:pt>
                <c:pt idx="2">
                  <c:v>2.1</c:v>
                </c:pt>
                <c:pt idx="3">
                  <c:v>2</c:v>
                </c:pt>
                <c:pt idx="4">
                  <c:v>1.9</c:v>
                </c:pt>
                <c:pt idx="5">
                  <c:v>2.2000000000000002</c:v>
                </c:pt>
                <c:pt idx="6">
                  <c:v>2.2999999999999998</c:v>
                </c:pt>
                <c:pt idx="7">
                  <c:v>2.4</c:v>
                </c:pt>
                <c:pt idx="8">
                  <c:v>2.5</c:v>
                </c:pt>
                <c:pt idx="9">
                  <c:v>2.5</c:v>
                </c:pt>
                <c:pt idx="10">
                  <c:v>2.8</c:v>
                </c:pt>
              </c:numCache>
            </c:numRef>
          </c:val>
          <c:extLst>
            <c:ext xmlns:c16="http://schemas.microsoft.com/office/drawing/2014/chart" uri="{C3380CC4-5D6E-409C-BE32-E72D297353CC}">
              <c16:uniqueId val="{00000001-574F-1F41-A809-6AAFC4281121}"/>
            </c:ext>
          </c:extLst>
        </c:ser>
        <c:dLbls>
          <c:dLblPos val="ctr"/>
          <c:showLegendKey val="0"/>
          <c:showVal val="1"/>
          <c:showCatName val="0"/>
          <c:showSerName val="0"/>
          <c:showPercent val="0"/>
          <c:showBubbleSize val="0"/>
        </c:dLbls>
        <c:gapWidth val="160"/>
        <c:overlap val="100"/>
        <c:axId val="1065943184"/>
        <c:axId val="1065971440"/>
      </c:barChart>
      <c:catAx>
        <c:axId val="1065943184"/>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400" b="1" i="0" u="none" strike="noStrike" kern="1200" baseline="0">
                <a:solidFill>
                  <a:schemeClr val="accent3"/>
                </a:solidFill>
                <a:latin typeface="NeueHaasGroteskText Pro" panose="020B0504020202020204" pitchFamily="34" charset="77"/>
                <a:ea typeface="+mn-ea"/>
                <a:cs typeface="Arial" panose="020B0604020202020204" pitchFamily="34" charset="0"/>
              </a:defRPr>
            </a:pPr>
            <a:endParaRPr lang="de-DE"/>
          </a:p>
        </c:txPr>
        <c:crossAx val="1065971440"/>
        <c:crosses val="autoZero"/>
        <c:auto val="1"/>
        <c:lblAlgn val="ctr"/>
        <c:lblOffset val="100"/>
        <c:noMultiLvlLbl val="0"/>
      </c:catAx>
      <c:valAx>
        <c:axId val="1065971440"/>
        <c:scaling>
          <c:orientation val="minMax"/>
        </c:scaling>
        <c:delete val="1"/>
        <c:axPos val="l"/>
        <c:numFmt formatCode="General" sourceLinked="1"/>
        <c:majorTickMark val="none"/>
        <c:minorTickMark val="none"/>
        <c:tickLblPos val="nextTo"/>
        <c:crossAx val="1065943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accent3"/>
              </a:solidFill>
              <a:latin typeface="NeueHaasGroteskText Pro" panose="020B0504020202020204" pitchFamily="34" charset="77"/>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3"/>
          </a:solidFill>
          <a:latin typeface="NeueHaasGroteskText Pro" panose="020B0504020202020204" pitchFamily="34" charset="77"/>
          <a:cs typeface="Arial" panose="020B0604020202020204" pitchFamily="34" charset="0"/>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C41-2A47-B99F-24A0B4DCC5E2}"/>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3-6C41-2A47-B99F-24A0B4DCC5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41-2A47-B99F-24A0B4DCC5E2}"/>
              </c:ext>
            </c:extLst>
          </c:dPt>
          <c:dPt>
            <c:idx val="3"/>
            <c:bubble3D val="0"/>
            <c:spPr>
              <a:solidFill>
                <a:schemeClr val="accent2"/>
              </a:solidFill>
              <a:ln w="19050">
                <a:solidFill>
                  <a:schemeClr val="lt1"/>
                </a:solidFill>
              </a:ln>
              <a:effectLst/>
            </c:spPr>
            <c:extLst>
              <c:ext xmlns:c16="http://schemas.microsoft.com/office/drawing/2014/chart" uri="{C3380CC4-5D6E-409C-BE32-E72D297353CC}">
                <c16:uniqueId val="{00000007-6C41-2A47-B99F-24A0B4DCC5E2}"/>
              </c:ext>
            </c:extLst>
          </c:dPt>
          <c:dLbls>
            <c:dLbl>
              <c:idx val="0"/>
              <c:layout>
                <c:manualLayout>
                  <c:x val="0.12372638389513654"/>
                  <c:y val="-0.11539117589723251"/>
                </c:manualLayout>
              </c:layout>
              <c:tx>
                <c:rich>
                  <a:bodyPr rot="0" vertOverflow="overflow" horzOverflow="overflow" vert="horz" lIns="108000" tIns="0" rIns="0" bIns="0" anchorCtr="0">
                    <a:spAutoFit/>
                  </a:bodyPr>
                  <a:lstStyle/>
                  <a:p>
                    <a:pPr algn="l">
                      <a:defRPr sz="1800">
                        <a:solidFill>
                          <a:schemeClr val="tx1"/>
                        </a:solidFill>
                      </a:defRPr>
                    </a:pPr>
                    <a:fld id="{7BC8427B-9765-1C48-9342-9217B7C724FC}" type="CATEGORYNAME">
                      <a:rPr lang="en-US"/>
                      <a:pPr algn="l">
                        <a:defRPr sz="1800">
                          <a:solidFill>
                            <a:schemeClr val="tx1"/>
                          </a:solidFill>
                        </a:defRPr>
                      </a:pPr>
                      <a:t>[RUBRIKENNAME]</a:t>
                    </a:fld>
                    <a:r>
                      <a:rPr lang="en-US" dirty="0"/>
                      <a:t>
</a:t>
                    </a:r>
                    <a:fld id="{4D8C69E9-0445-A943-9597-B4EF5008046B}"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6C41-2A47-B99F-24A0B4DCC5E2}"/>
                </c:ext>
              </c:extLst>
            </c:dLbl>
            <c:dLbl>
              <c:idx val="1"/>
              <c:layout>
                <c:manualLayout>
                  <c:x val="0.12978889093255816"/>
                  <c:y val="9.7003497173356185E-2"/>
                </c:manualLayout>
              </c:layout>
              <c:tx>
                <c:rich>
                  <a:bodyPr rot="0" vertOverflow="overflow" horzOverflow="overflow" vert="horz" lIns="108000" tIns="0" rIns="0" bIns="0" anchorCtr="0">
                    <a:spAutoFit/>
                  </a:bodyPr>
                  <a:lstStyle/>
                  <a:p>
                    <a:pPr algn="l">
                      <a:defRPr sz="1800">
                        <a:solidFill>
                          <a:schemeClr val="tx1"/>
                        </a:solidFill>
                      </a:defRPr>
                    </a:pPr>
                    <a:fld id="{97F81A99-553A-0441-81FF-0F98CC684930}" type="CATEGORYNAME">
                      <a:rPr lang="en-US"/>
                      <a:pPr algn="l">
                        <a:defRPr sz="1800">
                          <a:solidFill>
                            <a:schemeClr val="tx1"/>
                          </a:solidFill>
                        </a:defRPr>
                      </a:pPr>
                      <a:t>[RUBRIKENNAME]</a:t>
                    </a:fld>
                    <a:r>
                      <a:rPr lang="en-US" dirty="0"/>
                      <a:t>
</a:t>
                    </a:r>
                    <a:fld id="{CDAA63F1-0BF3-5B40-9949-40DA69EFD8D2}"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6C41-2A47-B99F-24A0B4DCC5E2}"/>
                </c:ext>
              </c:extLst>
            </c:dLbl>
            <c:dLbl>
              <c:idx val="2"/>
              <c:layout>
                <c:manualLayout>
                  <c:x val="-0.13265069666009957"/>
                  <c:y val="9.9939585111889287E-2"/>
                </c:manualLayout>
              </c:layout>
              <c:tx>
                <c:rich>
                  <a:bodyPr rot="0" vertOverflow="overflow" horzOverflow="overflow" vert="horz" lIns="0" tIns="0" rIns="108000" bIns="0" anchorCtr="0">
                    <a:spAutoFit/>
                  </a:bodyPr>
                  <a:lstStyle/>
                  <a:p>
                    <a:pPr algn="r">
                      <a:defRPr sz="1800">
                        <a:solidFill>
                          <a:schemeClr val="tx1"/>
                        </a:solidFill>
                      </a:defRPr>
                    </a:pPr>
                    <a:fld id="{C7B77B24-D85D-7E49-B258-0203410661B6}" type="CATEGORYNAME">
                      <a:rPr lang="en-US" sz="1800">
                        <a:solidFill>
                          <a:schemeClr val="tx1"/>
                        </a:solidFill>
                      </a:rPr>
                      <a:pPr algn="r">
                        <a:defRPr sz="1800">
                          <a:solidFill>
                            <a:schemeClr val="tx1"/>
                          </a:solidFill>
                        </a:defRPr>
                      </a:pPr>
                      <a:t>[RUBRIKENNAME]</a:t>
                    </a:fld>
                    <a:r>
                      <a:rPr lang="en-US" sz="1800" dirty="0">
                        <a:solidFill>
                          <a:schemeClr val="tx1"/>
                        </a:solidFill>
                      </a:rPr>
                      <a:t>
</a:t>
                    </a:r>
                    <a:fld id="{73096B3E-6A07-574B-A7B3-84C1DFEF9436}" type="PERCENTAGE">
                      <a:rPr lang="en-US" sz="2400" b="1">
                        <a:solidFill>
                          <a:schemeClr val="tx1"/>
                        </a:solidFill>
                      </a:rPr>
                      <a:pPr algn="r">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6C41-2A47-B99F-24A0B4DCC5E2}"/>
                </c:ext>
              </c:extLst>
            </c:dLbl>
            <c:dLbl>
              <c:idx val="3"/>
              <c:layout>
                <c:manualLayout>
                  <c:x val="-0.11922272747469809"/>
                  <c:y val="-0.12020672142938768"/>
                </c:manualLayout>
              </c:layout>
              <c:tx>
                <c:rich>
                  <a:bodyPr rot="0" vertOverflow="overflow" horzOverflow="overflow" vert="horz" lIns="0" tIns="0" rIns="108000" bIns="0" anchorCtr="0">
                    <a:spAutoFit/>
                  </a:bodyPr>
                  <a:lstStyle/>
                  <a:p>
                    <a:pPr algn="r">
                      <a:defRPr sz="1800">
                        <a:solidFill>
                          <a:schemeClr val="tx1"/>
                        </a:solidFill>
                      </a:defRPr>
                    </a:pPr>
                    <a:fld id="{DE30E87E-FF1F-C345-86E9-2695E0144A3E}" type="CATEGORYNAME">
                      <a:rPr lang="en-US" sz="1800">
                        <a:solidFill>
                          <a:schemeClr val="tx1"/>
                        </a:solidFill>
                      </a:rPr>
                      <a:pPr algn="r">
                        <a:defRPr sz="1800">
                          <a:solidFill>
                            <a:schemeClr val="tx1"/>
                          </a:solidFill>
                        </a:defRPr>
                      </a:pPr>
                      <a:t>[RUBRIKENNAME]</a:t>
                    </a:fld>
                    <a:r>
                      <a:rPr lang="en-US" sz="1800" dirty="0">
                        <a:solidFill>
                          <a:schemeClr val="tx1"/>
                        </a:solidFill>
                      </a:rPr>
                      <a:t>
</a:t>
                    </a:r>
                    <a:fld id="{07BEBA52-9C55-C447-A283-22BEFB708DD5}" type="PERCENTAGE">
                      <a:rPr lang="en-US" sz="2400" b="1">
                        <a:solidFill>
                          <a:schemeClr val="tx1"/>
                        </a:solidFill>
                      </a:rPr>
                      <a:pPr algn="r">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6C41-2A47-B99F-24A0B4DCC5E2}"/>
                </c:ext>
              </c:extLst>
            </c:dLbl>
            <c:spPr>
              <a:noFill/>
              <a:ln>
                <a:noFill/>
              </a:ln>
              <a:effectLst/>
            </c:spPr>
            <c:txPr>
              <a:bodyPr rot="0" vertOverflow="overflow" horzOverflow="overflow" vert="horz" lIns="0" tIns="0" rIns="0" bIns="0" anchorCtr="0">
                <a:spAutoFit/>
              </a:bodyPr>
              <a:lstStyle/>
              <a:p>
                <a:pPr algn="l">
                  <a:defRPr sz="1800">
                    <a:solidFill>
                      <a:schemeClr val="tx1"/>
                    </a:solidFill>
                  </a:defRPr>
                </a:pPr>
                <a:endParaRPr lang="de-DE"/>
              </a:p>
            </c:txPr>
            <c:showLegendKey val="0"/>
            <c:showVal val="0"/>
            <c:showCatName val="1"/>
            <c:showSerName val="0"/>
            <c:showPercent val="1"/>
            <c:showBubbleSize val="0"/>
            <c:showLeaderLines val="1"/>
            <c:leaderLines>
              <c:spPr>
                <a:ln w="9525" cap="flat" cmpd="sng" algn="ctr">
                  <a:solidFill>
                    <a:schemeClr val="bg1">
                      <a:lumMod val="8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2:$A$5</c:f>
              <c:strCache>
                <c:ptCount val="4"/>
                <c:pt idx="0">
                  <c:v>1. Quartal</c:v>
                </c:pt>
                <c:pt idx="1">
                  <c:v>2. Quartal</c:v>
                </c:pt>
                <c:pt idx="2">
                  <c:v>3. Quartal</c:v>
                </c:pt>
                <c:pt idx="3">
                  <c:v>4. Quartal</c:v>
                </c:pt>
              </c:strCache>
            </c:strRef>
          </c:cat>
          <c:val>
            <c:numRef>
              <c:f>Tabelle1!$B$2:$B$5</c:f>
              <c:numCache>
                <c:formatCode>0%</c:formatCode>
                <c:ptCount val="4"/>
                <c:pt idx="0">
                  <c:v>0.2</c:v>
                </c:pt>
                <c:pt idx="1">
                  <c:v>0.4</c:v>
                </c:pt>
                <c:pt idx="2">
                  <c:v>0.15</c:v>
                </c:pt>
                <c:pt idx="3">
                  <c:v>0.25</c:v>
                </c:pt>
              </c:numCache>
            </c:numRef>
          </c:val>
          <c:extLst>
            <c:ext xmlns:c16="http://schemas.microsoft.com/office/drawing/2014/chart" uri="{C3380CC4-5D6E-409C-BE32-E72D297353CC}">
              <c16:uniqueId val="{00000008-6C41-2A47-B99F-24A0B4DCC5E2}"/>
            </c:ext>
          </c:extLst>
        </c:ser>
        <c:dLbls>
          <c:showLegendKey val="0"/>
          <c:showVal val="0"/>
          <c:showCatName val="1"/>
          <c:showSerName val="0"/>
          <c:showPercent val="1"/>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NeueHaasGroteskText Pro" panose="020B0504020202020204" pitchFamily="34" charset="77"/>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w="19050">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42A4-C74D-B93E-C05BE819C939}"/>
              </c:ext>
            </c:extLst>
          </c:dPt>
          <c:dPt>
            <c:idx val="1"/>
            <c:bubble3D val="0"/>
            <c:spPr>
              <a:solidFill>
                <a:schemeClr val="tx1"/>
              </a:solidFill>
              <a:ln w="19050">
                <a:solidFill>
                  <a:schemeClr val="bg1"/>
                </a:solidFill>
              </a:ln>
              <a:effectLst/>
            </c:spPr>
            <c:extLst>
              <c:ext xmlns:c16="http://schemas.microsoft.com/office/drawing/2014/chart" uri="{C3380CC4-5D6E-409C-BE32-E72D297353CC}">
                <c16:uniqueId val="{00000003-42A4-C74D-B93E-C05BE819C939}"/>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42A4-C74D-B93E-C05BE819C939}"/>
              </c:ext>
            </c:extLst>
          </c:dPt>
          <c:dPt>
            <c:idx val="3"/>
            <c:bubble3D val="0"/>
            <c:spPr>
              <a:solidFill>
                <a:schemeClr val="accent2"/>
              </a:solidFill>
              <a:ln w="19050">
                <a:solidFill>
                  <a:schemeClr val="bg1"/>
                </a:solidFill>
              </a:ln>
              <a:effectLst/>
            </c:spPr>
            <c:extLst>
              <c:ext xmlns:c16="http://schemas.microsoft.com/office/drawing/2014/chart" uri="{C3380CC4-5D6E-409C-BE32-E72D297353CC}">
                <c16:uniqueId val="{00000007-42A4-C74D-B93E-C05BE819C939}"/>
              </c:ext>
            </c:extLst>
          </c:dPt>
          <c:dPt>
            <c:idx val="4"/>
            <c:bubble3D val="0"/>
            <c:spPr>
              <a:solidFill>
                <a:schemeClr val="accent5"/>
              </a:solidFill>
              <a:ln w="19050">
                <a:solidFill>
                  <a:schemeClr val="bg1"/>
                </a:solidFill>
              </a:ln>
            </c:spPr>
            <c:extLst>
              <c:ext xmlns:c16="http://schemas.microsoft.com/office/drawing/2014/chart" uri="{C3380CC4-5D6E-409C-BE32-E72D297353CC}">
                <c16:uniqueId val="{00000009-42A4-C74D-B93E-C05BE819C939}"/>
              </c:ext>
            </c:extLst>
          </c:dPt>
          <c:dPt>
            <c:idx val="5"/>
            <c:bubble3D val="0"/>
            <c:spPr>
              <a:solidFill>
                <a:schemeClr val="accent4"/>
              </a:solidFill>
              <a:ln w="19050">
                <a:solidFill>
                  <a:schemeClr val="bg1"/>
                </a:solidFill>
              </a:ln>
            </c:spPr>
            <c:extLst>
              <c:ext xmlns:c16="http://schemas.microsoft.com/office/drawing/2014/chart" uri="{C3380CC4-5D6E-409C-BE32-E72D297353CC}">
                <c16:uniqueId val="{0000000B-42A4-C74D-B93E-C05BE819C939}"/>
              </c:ext>
            </c:extLst>
          </c:dPt>
          <c:dLbls>
            <c:dLbl>
              <c:idx val="0"/>
              <c:layout>
                <c:manualLayout>
                  <c:x val="0.24956804838575458"/>
                  <c:y val="-9.9384171467367555E-2"/>
                </c:manualLayout>
              </c:layout>
              <c:tx>
                <c:rich>
                  <a:bodyPr rot="0" vertOverflow="overflow" horzOverflow="overflow" vert="horz" lIns="108000" tIns="0" rIns="0" bIns="0" anchorCtr="0">
                    <a:spAutoFit/>
                  </a:bodyPr>
                  <a:lstStyle/>
                  <a:p>
                    <a:pPr algn="l">
                      <a:defRPr sz="1800">
                        <a:solidFill>
                          <a:schemeClr val="tx1"/>
                        </a:solidFill>
                      </a:defRPr>
                    </a:pPr>
                    <a:fld id="{7BC8427B-9765-1C48-9342-9217B7C724FC}" type="CATEGORYNAME">
                      <a:rPr lang="en-US"/>
                      <a:pPr algn="l">
                        <a:defRPr sz="1800">
                          <a:solidFill>
                            <a:schemeClr val="tx1"/>
                          </a:solidFill>
                        </a:defRPr>
                      </a:pPr>
                      <a:t>[RUBRIKENNAME]</a:t>
                    </a:fld>
                    <a:r>
                      <a:rPr lang="en-US" dirty="0"/>
                      <a:t>
</a:t>
                    </a:r>
                    <a:fld id="{4D8C69E9-0445-A943-9597-B4EF5008046B}"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21423266669727481"/>
                      <c:h val="0.14076921008584123"/>
                    </c:manualLayout>
                  </c15:layout>
                  <c15:dlblFieldTable/>
                  <c15:showDataLabelsRange val="0"/>
                </c:ext>
                <c:ext xmlns:c16="http://schemas.microsoft.com/office/drawing/2014/chart" uri="{C3380CC4-5D6E-409C-BE32-E72D297353CC}">
                  <c16:uniqueId val="{00000001-42A4-C74D-B93E-C05BE819C939}"/>
                </c:ext>
              </c:extLst>
            </c:dLbl>
            <c:dLbl>
              <c:idx val="1"/>
              <c:layout>
                <c:manualLayout>
                  <c:x val="0.19242498371550484"/>
                  <c:y val="-9.7098656924100753E-3"/>
                </c:manualLayout>
              </c:layout>
              <c:tx>
                <c:rich>
                  <a:bodyPr rot="0" vertOverflow="overflow" horzOverflow="overflow" vert="horz" lIns="108000" tIns="0" rIns="0" bIns="0" anchorCtr="0">
                    <a:spAutoFit/>
                  </a:bodyPr>
                  <a:lstStyle/>
                  <a:p>
                    <a:pPr algn="l">
                      <a:defRPr sz="1800">
                        <a:solidFill>
                          <a:schemeClr val="tx1"/>
                        </a:solidFill>
                      </a:defRPr>
                    </a:pPr>
                    <a:fld id="{97F81A99-553A-0441-81FF-0F98CC684930}" type="CATEGORYNAME">
                      <a:rPr lang="en-US"/>
                      <a:pPr algn="l">
                        <a:defRPr sz="1800">
                          <a:solidFill>
                            <a:schemeClr val="tx1"/>
                          </a:solidFill>
                        </a:defRPr>
                      </a:pPr>
                      <a:t>[RUBRIKENNAME]</a:t>
                    </a:fld>
                    <a:r>
                      <a:rPr lang="en-US" dirty="0"/>
                      <a:t>
</a:t>
                    </a:r>
                    <a:fld id="{CDAA63F1-0BF3-5B40-9949-40DA69EFD8D2}" type="PERCENTAGE">
                      <a:rPr lang="en-US" sz="2400" b="1"/>
                      <a:pPr algn="l">
                        <a:defRPr sz="1800">
                          <a:solidFill>
                            <a:schemeClr val="tx1"/>
                          </a:solidFill>
                        </a:defRPr>
                      </a:pPr>
                      <a:t>[PROZENTSATZ]</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42A4-C74D-B93E-C05BE819C939}"/>
                </c:ext>
              </c:extLst>
            </c:dLbl>
            <c:dLbl>
              <c:idx val="2"/>
              <c:layout>
                <c:manualLayout>
                  <c:x val="0.19363860903151014"/>
                  <c:y val="0.14195713147758504"/>
                </c:manualLayout>
              </c:layout>
              <c:tx>
                <c:rich>
                  <a:bodyPr rot="0" vertOverflow="overflow" horzOverflow="overflow" vert="horz" lIns="108000" tIns="0" rIns="0" bIns="0" anchorCtr="0">
                    <a:spAutoFit/>
                  </a:bodyPr>
                  <a:lstStyle/>
                  <a:p>
                    <a:pPr algn="l">
                      <a:defRPr sz="1800">
                        <a:solidFill>
                          <a:schemeClr val="tx1"/>
                        </a:solidFill>
                      </a:defRPr>
                    </a:pPr>
                    <a:fld id="{C7B77B24-D85D-7E49-B258-0203410661B6}" type="CATEGORYNAME">
                      <a:rPr lang="en-US" sz="1800">
                        <a:solidFill>
                          <a:schemeClr val="tx1"/>
                        </a:solidFill>
                      </a:rPr>
                      <a:pPr algn="l">
                        <a:defRPr sz="1800">
                          <a:solidFill>
                            <a:schemeClr val="tx1"/>
                          </a:solidFill>
                        </a:defRPr>
                      </a:pPr>
                      <a:t>[RUBRIKENNAME]</a:t>
                    </a:fld>
                    <a:r>
                      <a:rPr lang="en-US" sz="1800" dirty="0">
                        <a:solidFill>
                          <a:schemeClr val="tx1"/>
                        </a:solidFill>
                      </a:rPr>
                      <a:t>
</a:t>
                    </a:r>
                    <a:fld id="{73096B3E-6A07-574B-A7B3-84C1DFEF9436}" type="PERCENTAGE">
                      <a:rPr lang="en-US" sz="2400" b="1">
                        <a:solidFill>
                          <a:schemeClr val="tx1"/>
                        </a:solidFill>
                      </a:rPr>
                      <a:pPr algn="l">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42A4-C74D-B93E-C05BE819C939}"/>
                </c:ext>
              </c:extLst>
            </c:dLbl>
            <c:dLbl>
              <c:idx val="3"/>
              <c:layout>
                <c:manualLayout>
                  <c:x val="-0.16819282994395837"/>
                  <c:y val="0.21327253752613218"/>
                </c:manualLayout>
              </c:layout>
              <c:tx>
                <c:rich>
                  <a:bodyPr rot="0" vertOverflow="overflow" horzOverflow="overflow" vert="horz" lIns="0" tIns="0" rIns="108000" bIns="0" anchorCtr="0">
                    <a:spAutoFit/>
                  </a:bodyPr>
                  <a:lstStyle/>
                  <a:p>
                    <a:pPr algn="r">
                      <a:defRPr sz="1800">
                        <a:solidFill>
                          <a:schemeClr val="tx1"/>
                        </a:solidFill>
                      </a:defRPr>
                    </a:pPr>
                    <a:fld id="{DE30E87E-FF1F-C345-86E9-2695E0144A3E}" type="CATEGORYNAME">
                      <a:rPr lang="en-US" sz="1800">
                        <a:solidFill>
                          <a:schemeClr val="tx1"/>
                        </a:solidFill>
                      </a:rPr>
                      <a:pPr algn="r">
                        <a:defRPr sz="1800">
                          <a:solidFill>
                            <a:schemeClr val="tx1"/>
                          </a:solidFill>
                        </a:defRPr>
                      </a:pPr>
                      <a:t>[RUBRIKENNAME]</a:t>
                    </a:fld>
                    <a:r>
                      <a:rPr lang="en-US" sz="1800" dirty="0">
                        <a:solidFill>
                          <a:schemeClr val="tx1"/>
                        </a:solidFill>
                      </a:rPr>
                      <a:t>
</a:t>
                    </a:r>
                    <a:fld id="{07BEBA52-9C55-C447-A283-22BEFB708DD5}" type="PERCENTAGE">
                      <a:rPr lang="en-US" sz="2400" b="1">
                        <a:solidFill>
                          <a:schemeClr val="tx1"/>
                        </a:solidFill>
                      </a:rPr>
                      <a:pPr algn="r">
                        <a:defRPr sz="1800">
                          <a:solidFill>
                            <a:schemeClr val="tx1"/>
                          </a:solidFill>
                        </a:defRPr>
                      </a:pPr>
                      <a:t>[PROZENTSATZ]</a:t>
                    </a:fld>
                    <a:endParaRPr lang="en-US" sz="1800" dirty="0">
                      <a:solidFill>
                        <a:schemeClr val="tx1"/>
                      </a:solidFill>
                    </a:endParaRPr>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42A4-C74D-B93E-C05BE819C939}"/>
                </c:ext>
              </c:extLst>
            </c:dLbl>
            <c:dLbl>
              <c:idx val="4"/>
              <c:layout>
                <c:manualLayout>
                  <c:x val="-0.19588023794014767"/>
                  <c:y val="1.0671336286576636E-2"/>
                </c:manualLayout>
              </c:layout>
              <c:tx>
                <c:rich>
                  <a:bodyPr rot="0" vertOverflow="overflow" horzOverflow="overflow" vert="horz" lIns="0" tIns="0" rIns="108000" bIns="0" anchorCtr="0">
                    <a:spAutoFit/>
                  </a:bodyPr>
                  <a:lstStyle/>
                  <a:p>
                    <a:pPr algn="r">
                      <a:defRPr sz="1800">
                        <a:solidFill>
                          <a:schemeClr val="tx1"/>
                        </a:solidFill>
                      </a:defRPr>
                    </a:pPr>
                    <a:fld id="{C51BB8F2-58E5-0E46-B05B-63BB35EF80B6}" type="CATEGORYNAME">
                      <a:rPr lang="en-US"/>
                      <a:pPr algn="r">
                        <a:defRPr sz="1800">
                          <a:solidFill>
                            <a:schemeClr val="tx1"/>
                          </a:solidFill>
                        </a:defRPr>
                      </a:pPr>
                      <a:t>[RUBRIKENNAME]</a:t>
                    </a:fld>
                    <a:r>
                      <a:rPr lang="en-US" baseline="0" dirty="0"/>
                      <a:t>
</a:t>
                    </a:r>
                    <a:fld id="{94D1687D-97DE-F141-B6E2-36980F767EF9}" type="PERCENTAGE">
                      <a:rPr lang="en-US" sz="2400" b="1" baseline="0"/>
                      <a:pPr algn="r">
                        <a:defRPr sz="1800">
                          <a:solidFill>
                            <a:schemeClr val="tx1"/>
                          </a:solidFill>
                        </a:defRPr>
                      </a:pPr>
                      <a:t>[PROZENTSATZ]</a:t>
                    </a:fld>
                    <a:endParaRPr lang="en-US" baseline="0"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9-42A4-C74D-B93E-C05BE819C939}"/>
                </c:ext>
              </c:extLst>
            </c:dLbl>
            <c:dLbl>
              <c:idx val="5"/>
              <c:layout>
                <c:manualLayout>
                  <c:x val="-0.1694063207514685"/>
                  <c:y val="-0.14576961341193712"/>
                </c:manualLayout>
              </c:layout>
              <c:tx>
                <c:rich>
                  <a:bodyPr rot="0" vertOverflow="overflow" horzOverflow="overflow" vert="horz" lIns="0" tIns="0" rIns="108000" bIns="0" anchorCtr="0">
                    <a:spAutoFit/>
                  </a:bodyPr>
                  <a:lstStyle/>
                  <a:p>
                    <a:pPr algn="r">
                      <a:defRPr sz="1800">
                        <a:solidFill>
                          <a:schemeClr val="tx1"/>
                        </a:solidFill>
                      </a:defRPr>
                    </a:pPr>
                    <a:fld id="{E5D08AB2-91D4-8340-96A1-85E5ECE3D518}" type="CATEGORYNAME">
                      <a:rPr lang="en-US" dirty="0"/>
                      <a:pPr algn="r">
                        <a:defRPr sz="1800">
                          <a:solidFill>
                            <a:schemeClr val="tx1"/>
                          </a:solidFill>
                        </a:defRPr>
                      </a:pPr>
                      <a:t>[RUBRIKENNAME]</a:t>
                    </a:fld>
                    <a:r>
                      <a:rPr lang="en-US" baseline="0" dirty="0"/>
                      <a:t>
</a:t>
                    </a:r>
                    <a:fld id="{6FA841C7-786E-B34D-88CE-BCEBC762DFFE}" type="PERCENTAGE">
                      <a:rPr lang="en-US" sz="2400" b="1" baseline="0" dirty="0"/>
                      <a:pPr algn="r">
                        <a:defRPr sz="1800">
                          <a:solidFill>
                            <a:schemeClr val="tx1"/>
                          </a:solidFill>
                        </a:defRPr>
                      </a:pPr>
                      <a:t>[PROZENTSATZ]</a:t>
                    </a:fld>
                    <a:endParaRPr lang="en-US" baseline="0"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17821837579736635"/>
                      <c:h val="0.14076921008584123"/>
                    </c:manualLayout>
                  </c15:layout>
                  <c15:dlblFieldTable/>
                  <c15:showDataLabelsRange val="0"/>
                </c:ext>
                <c:ext xmlns:c16="http://schemas.microsoft.com/office/drawing/2014/chart" uri="{C3380CC4-5D6E-409C-BE32-E72D297353CC}">
                  <c16:uniqueId val="{0000000B-42A4-C74D-B93E-C05BE819C939}"/>
                </c:ext>
              </c:extLst>
            </c:dLbl>
            <c:spPr>
              <a:noFill/>
              <a:ln>
                <a:noFill/>
              </a:ln>
              <a:effectLst/>
            </c:spPr>
            <c:txPr>
              <a:bodyPr rot="0" vertOverflow="overflow" horzOverflow="overflow" vert="horz" lIns="0" tIns="0" rIns="0" bIns="0" anchorCtr="0">
                <a:spAutoFit/>
              </a:bodyPr>
              <a:lstStyle/>
              <a:p>
                <a:pPr algn="l">
                  <a:defRPr sz="1800">
                    <a:solidFill>
                      <a:schemeClr val="tx1"/>
                    </a:solidFill>
                  </a:defRPr>
                </a:pPr>
                <a:endParaRPr lang="de-DE"/>
              </a:p>
            </c:txPr>
            <c:showLegendKey val="0"/>
            <c:showVal val="0"/>
            <c:showCatName val="1"/>
            <c:showSerName val="0"/>
            <c:showPercent val="1"/>
            <c:showBubbleSize val="0"/>
            <c:showLeaderLines val="1"/>
            <c:leaderLines>
              <c:spPr>
                <a:ln w="9525" cap="flat" cmpd="sng" algn="ctr">
                  <a:solidFill>
                    <a:schemeClr val="bg1">
                      <a:lumMod val="8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2:$A$7</c:f>
              <c:strCache>
                <c:ptCount val="6"/>
                <c:pt idx="0">
                  <c:v>1. Quartal 2022</c:v>
                </c:pt>
                <c:pt idx="1">
                  <c:v>2. Quartal 2022</c:v>
                </c:pt>
                <c:pt idx="2">
                  <c:v>3. Quartal 2022</c:v>
                </c:pt>
                <c:pt idx="3">
                  <c:v>4. Quartal 2022</c:v>
                </c:pt>
                <c:pt idx="4">
                  <c:v>1. Quartal 2023</c:v>
                </c:pt>
                <c:pt idx="5">
                  <c:v>2. Quartal 2023</c:v>
                </c:pt>
              </c:strCache>
            </c:strRef>
          </c:cat>
          <c:val>
            <c:numRef>
              <c:f>Tabelle1!$B$2:$B$7</c:f>
              <c:numCache>
                <c:formatCode>0%</c:formatCode>
                <c:ptCount val="6"/>
                <c:pt idx="0">
                  <c:v>0.2</c:v>
                </c:pt>
                <c:pt idx="1">
                  <c:v>0.2</c:v>
                </c:pt>
                <c:pt idx="2">
                  <c:v>0.25</c:v>
                </c:pt>
                <c:pt idx="3">
                  <c:v>0.25</c:v>
                </c:pt>
                <c:pt idx="4">
                  <c:v>0.12</c:v>
                </c:pt>
                <c:pt idx="5">
                  <c:v>0.25</c:v>
                </c:pt>
              </c:numCache>
            </c:numRef>
          </c:val>
          <c:extLst>
            <c:ext xmlns:c16="http://schemas.microsoft.com/office/drawing/2014/chart" uri="{C3380CC4-5D6E-409C-BE32-E72D297353CC}">
              <c16:uniqueId val="{0000000C-42A4-C74D-B93E-C05BE819C939}"/>
            </c:ext>
          </c:extLst>
        </c:ser>
        <c:dLbls>
          <c:showLegendKey val="0"/>
          <c:showVal val="0"/>
          <c:showCatName val="1"/>
          <c:showSerName val="0"/>
          <c:showPercent val="1"/>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NeueHaasGroteskText Pro" panose="020B0504020202020204" pitchFamily="34" charset="77"/>
        </a:defRPr>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3">
  <a:schemeClr val="accent3"/>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D39AFF-AB06-4C7D-8841-B0531504A426}" type="datetimeFigureOut">
              <a:rPr lang="de-DE" smtClean="0"/>
              <a:t>14.08.24</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508383-7481-48A5-A45A-1735FFC0C5FD}" type="slidenum">
              <a:rPr lang="de-DE" smtClean="0"/>
              <a:t>‹Nr.›</a:t>
            </a:fld>
            <a:endParaRPr lang="de-DE"/>
          </a:p>
        </p:txBody>
      </p:sp>
    </p:spTree>
    <p:extLst>
      <p:ext uri="{BB962C8B-B14F-4D97-AF65-F5344CB8AC3E}">
        <p14:creationId xmlns:p14="http://schemas.microsoft.com/office/powerpoint/2010/main" val="1525552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200C26-639C-113D-C9C2-46BB59524FB6}"/>
              </a:ext>
            </a:extLst>
          </p:cNvPr>
          <p:cNvSpPr>
            <a:spLocks noGrp="1"/>
          </p:cNvSpPr>
          <p:nvPr>
            <p:ph type="title"/>
          </p:nvPr>
        </p:nvSpPr>
        <p:spPr>
          <a:xfrm>
            <a:off x="515937" y="2302932"/>
            <a:ext cx="11148248" cy="2238935"/>
          </a:xfrm>
        </p:spPr>
        <p:txBody>
          <a:bodyPr wrap="square" anchor="b" anchorCtr="0">
            <a:noAutofit/>
          </a:bodyPr>
          <a:lstStyle>
            <a:lvl1pPr>
              <a:spcBef>
                <a:spcPts val="0"/>
              </a:spcBef>
              <a:spcAft>
                <a:spcPts val="500"/>
              </a:spcAft>
              <a:defRPr sz="4400">
                <a:solidFill>
                  <a:schemeClr val="tx1"/>
                </a:solidFill>
              </a:defRPr>
            </a:lvl1pPr>
          </a:lstStyle>
          <a:p>
            <a:endParaRPr lang="de-DE" dirty="0"/>
          </a:p>
        </p:txBody>
      </p:sp>
      <p:sp>
        <p:nvSpPr>
          <p:cNvPr id="18" name="Textplatzhalter 17">
            <a:extLst>
              <a:ext uri="{FF2B5EF4-FFF2-40B4-BE49-F238E27FC236}">
                <a16:creationId xmlns:a16="http://schemas.microsoft.com/office/drawing/2014/main" id="{82BC88B8-FCC4-6052-CF51-3C2F6399D0D9}"/>
              </a:ext>
            </a:extLst>
          </p:cNvPr>
          <p:cNvSpPr>
            <a:spLocks noGrp="1"/>
          </p:cNvSpPr>
          <p:nvPr>
            <p:ph type="body" sz="quarter" idx="12" hasCustomPrompt="1"/>
          </p:nvPr>
        </p:nvSpPr>
        <p:spPr>
          <a:xfrm>
            <a:off x="515937" y="4629933"/>
            <a:ext cx="11148248" cy="1499400"/>
          </a:xfrm>
        </p:spPr>
        <p:txBody>
          <a:bodyPr wrap="square">
            <a:noAutofit/>
          </a:bodyPr>
          <a:lstStyle>
            <a:lvl1pPr marL="0" indent="0">
              <a:spcBef>
                <a:spcPts val="0"/>
              </a:spcBef>
              <a:spcAft>
                <a:spcPts val="500"/>
              </a:spcAft>
              <a:buNone/>
              <a:defRPr sz="2000">
                <a:solidFill>
                  <a:schemeClr val="tx1"/>
                </a:solidFill>
              </a:defRPr>
            </a:lvl1pPr>
            <a:lvl2pPr marL="342000" indent="0">
              <a:buNone/>
              <a:defRPr/>
            </a:lvl2pPr>
            <a:lvl3pPr marL="702000" indent="0">
              <a:buNone/>
              <a:defRPr/>
            </a:lvl3pPr>
            <a:lvl4pPr marL="1062000" indent="0">
              <a:buNone/>
              <a:defRPr/>
            </a:lvl4pPr>
            <a:lvl5pPr marL="1422000" indent="0">
              <a:buNone/>
              <a:defRPr/>
            </a:lvl5pPr>
          </a:lstStyle>
          <a:p>
            <a:pPr lvl="0"/>
            <a:r>
              <a:rPr lang="de-DE" dirty="0"/>
              <a:t>Untertitel einfügen</a:t>
            </a:r>
          </a:p>
        </p:txBody>
      </p:sp>
      <p:pic>
        <p:nvPicPr>
          <p:cNvPr id="3" name="Grafik 2">
            <a:extLst>
              <a:ext uri="{FF2B5EF4-FFF2-40B4-BE49-F238E27FC236}">
                <a16:creationId xmlns:a16="http://schemas.microsoft.com/office/drawing/2014/main" id="{D377540B-EECC-8879-A023-5AAD7D8443E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4" name="Grafik 3">
            <a:extLst>
              <a:ext uri="{FF2B5EF4-FFF2-40B4-BE49-F238E27FC236}">
                <a16:creationId xmlns:a16="http://schemas.microsoft.com/office/drawing/2014/main" id="{52B4E646-755F-C5BC-D358-B3D71FB95872}"/>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Tree>
    <p:extLst>
      <p:ext uri="{BB962C8B-B14F-4D97-AF65-F5344CB8AC3E}">
        <p14:creationId xmlns:p14="http://schemas.microsoft.com/office/powerpoint/2010/main" val="1088565728"/>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enner hell">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4CF67-E5CE-4D9B-9059-D5EEB5FA7B1B}"/>
              </a:ext>
            </a:extLst>
          </p:cNvPr>
          <p:cNvSpPr>
            <a:spLocks noGrp="1"/>
          </p:cNvSpPr>
          <p:nvPr>
            <p:ph type="title"/>
          </p:nvPr>
        </p:nvSpPr>
        <p:spPr>
          <a:xfrm>
            <a:off x="515939" y="2751892"/>
            <a:ext cx="5040312" cy="1354217"/>
          </a:xfrm>
        </p:spPr>
        <p:txBody>
          <a:bodyPr anchor="ctr" anchorCtr="0">
            <a:noAutofit/>
          </a:bodyPr>
          <a:lstStyle>
            <a:lvl1pPr>
              <a:defRPr sz="4400">
                <a:solidFill>
                  <a:schemeClr val="tx1"/>
                </a:solidFill>
              </a:defRPr>
            </a:lvl1pPr>
          </a:lstStyle>
          <a:p>
            <a:endParaRPr lang="de-DE" dirty="0"/>
          </a:p>
        </p:txBody>
      </p:sp>
      <p:sp>
        <p:nvSpPr>
          <p:cNvPr id="14" name="Bildplatzhalter 12">
            <a:extLst>
              <a:ext uri="{FF2B5EF4-FFF2-40B4-BE49-F238E27FC236}">
                <a16:creationId xmlns:a16="http://schemas.microsoft.com/office/drawing/2014/main" id="{7EC7DFEE-D850-7CE3-FA1C-98E6D59AA285}"/>
              </a:ext>
            </a:extLst>
          </p:cNvPr>
          <p:cNvSpPr>
            <a:spLocks noGrp="1"/>
          </p:cNvSpPr>
          <p:nvPr>
            <p:ph type="pic" sz="quarter" idx="10"/>
          </p:nvPr>
        </p:nvSpPr>
        <p:spPr>
          <a:xfrm>
            <a:off x="6096000" y="0"/>
            <a:ext cx="6096000" cy="6858000"/>
          </a:xfrm>
        </p:spPr>
        <p:txBody>
          <a:bodyPr anchor="ctr" anchorCtr="0">
            <a:normAutofit/>
          </a:bodyPr>
          <a:lstStyle>
            <a:lvl1pPr marL="0" indent="0" algn="ctr">
              <a:buNone/>
              <a:defRPr sz="1200">
                <a:solidFill>
                  <a:schemeClr val="tx1"/>
                </a:solidFill>
              </a:defRPr>
            </a:lvl1pPr>
          </a:lstStyle>
          <a:p>
            <a:endParaRPr lang="de-DE"/>
          </a:p>
        </p:txBody>
      </p:sp>
      <p:sp>
        <p:nvSpPr>
          <p:cNvPr id="17" name="Textplatzhalter 16">
            <a:extLst>
              <a:ext uri="{FF2B5EF4-FFF2-40B4-BE49-F238E27FC236}">
                <a16:creationId xmlns:a16="http://schemas.microsoft.com/office/drawing/2014/main" id="{042DE79E-DC44-1D12-2357-DA3257B30D7B}"/>
              </a:ext>
            </a:extLst>
          </p:cNvPr>
          <p:cNvSpPr>
            <a:spLocks noGrp="1"/>
          </p:cNvSpPr>
          <p:nvPr>
            <p:ph type="body" sz="quarter" idx="11" hasCustomPrompt="1"/>
          </p:nvPr>
        </p:nvSpPr>
        <p:spPr>
          <a:xfrm>
            <a:off x="6606283" y="2026921"/>
            <a:ext cx="5075434" cy="2804160"/>
          </a:xfrm>
        </p:spPr>
        <p:txBody>
          <a:bodyPr wrap="square" rIns="0" anchor="ctr" anchorCtr="0">
            <a:noAutofit/>
          </a:bodyPr>
          <a:lstStyle>
            <a:lvl1pPr marL="0" indent="0" algn="ctr">
              <a:spcAft>
                <a:spcPts val="0"/>
              </a:spcAft>
              <a:buNone/>
              <a:defRPr sz="20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a:t>
            </a:r>
          </a:p>
        </p:txBody>
      </p:sp>
      <p:sp>
        <p:nvSpPr>
          <p:cNvPr id="3" name="Textplatzhalter 10">
            <a:extLst>
              <a:ext uri="{FF2B5EF4-FFF2-40B4-BE49-F238E27FC236}">
                <a16:creationId xmlns:a16="http://schemas.microsoft.com/office/drawing/2014/main" id="{036C815C-0C42-D38B-353F-A87A1F558D1E}"/>
              </a:ext>
            </a:extLst>
          </p:cNvPr>
          <p:cNvSpPr>
            <a:spLocks noGrp="1"/>
          </p:cNvSpPr>
          <p:nvPr>
            <p:ph type="body" sz="quarter" idx="23"/>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
        <p:nvSpPr>
          <p:cNvPr id="7" name="Datumsplatzhalter 8">
            <a:extLst>
              <a:ext uri="{FF2B5EF4-FFF2-40B4-BE49-F238E27FC236}">
                <a16:creationId xmlns:a16="http://schemas.microsoft.com/office/drawing/2014/main" id="{D0A55AAA-3DD6-B345-29F1-FE7071A8A0D0}"/>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8" name="Fußzeilenplatzhalter 9">
            <a:extLst>
              <a:ext uri="{FF2B5EF4-FFF2-40B4-BE49-F238E27FC236}">
                <a16:creationId xmlns:a16="http://schemas.microsoft.com/office/drawing/2014/main" id="{44BFA5C4-2842-4D0E-B769-5E1CA29D1917}"/>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9" name="Foliennummernplatzhalter 10">
            <a:extLst>
              <a:ext uri="{FF2B5EF4-FFF2-40B4-BE49-F238E27FC236}">
                <a16:creationId xmlns:a16="http://schemas.microsoft.com/office/drawing/2014/main" id="{5F4957CD-B570-F24B-3DE3-D972F4349236}"/>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2656621116"/>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enner - dunkel">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4CF67-E5CE-4D9B-9059-D5EEB5FA7B1B}"/>
              </a:ext>
            </a:extLst>
          </p:cNvPr>
          <p:cNvSpPr>
            <a:spLocks noGrp="1"/>
          </p:cNvSpPr>
          <p:nvPr>
            <p:ph type="title"/>
          </p:nvPr>
        </p:nvSpPr>
        <p:spPr>
          <a:xfrm>
            <a:off x="515939" y="2751892"/>
            <a:ext cx="5040312" cy="1354217"/>
          </a:xfrm>
        </p:spPr>
        <p:txBody>
          <a:bodyPr anchor="ctr" anchorCtr="0">
            <a:noAutofit/>
          </a:bodyPr>
          <a:lstStyle>
            <a:lvl1pPr>
              <a:defRPr sz="4400">
                <a:solidFill>
                  <a:schemeClr val="tx1"/>
                </a:solidFill>
              </a:defRPr>
            </a:lvl1pPr>
          </a:lstStyle>
          <a:p>
            <a:endParaRPr lang="de-DE" dirty="0"/>
          </a:p>
        </p:txBody>
      </p:sp>
      <p:sp>
        <p:nvSpPr>
          <p:cNvPr id="14" name="Bildplatzhalter 12">
            <a:extLst>
              <a:ext uri="{FF2B5EF4-FFF2-40B4-BE49-F238E27FC236}">
                <a16:creationId xmlns:a16="http://schemas.microsoft.com/office/drawing/2014/main" id="{7EC7DFEE-D850-7CE3-FA1C-98E6D59AA285}"/>
              </a:ext>
            </a:extLst>
          </p:cNvPr>
          <p:cNvSpPr>
            <a:spLocks noGrp="1"/>
          </p:cNvSpPr>
          <p:nvPr>
            <p:ph type="pic" sz="quarter" idx="10"/>
          </p:nvPr>
        </p:nvSpPr>
        <p:spPr>
          <a:xfrm>
            <a:off x="6096000" y="0"/>
            <a:ext cx="6096000" cy="6858000"/>
          </a:xfrm>
        </p:spPr>
        <p:txBody>
          <a:bodyPr anchor="ctr" anchorCtr="0">
            <a:normAutofit/>
          </a:bodyPr>
          <a:lstStyle>
            <a:lvl1pPr marL="0" indent="0" algn="ctr">
              <a:buNone/>
              <a:defRPr sz="1200">
                <a:solidFill>
                  <a:schemeClr val="tx1"/>
                </a:solidFill>
              </a:defRPr>
            </a:lvl1pPr>
          </a:lstStyle>
          <a:p>
            <a:endParaRPr lang="de-DE"/>
          </a:p>
        </p:txBody>
      </p:sp>
      <p:sp>
        <p:nvSpPr>
          <p:cNvPr id="17" name="Textplatzhalter 16">
            <a:extLst>
              <a:ext uri="{FF2B5EF4-FFF2-40B4-BE49-F238E27FC236}">
                <a16:creationId xmlns:a16="http://schemas.microsoft.com/office/drawing/2014/main" id="{042DE79E-DC44-1D12-2357-DA3257B30D7B}"/>
              </a:ext>
            </a:extLst>
          </p:cNvPr>
          <p:cNvSpPr>
            <a:spLocks noGrp="1"/>
          </p:cNvSpPr>
          <p:nvPr>
            <p:ph type="body" sz="quarter" idx="11" hasCustomPrompt="1"/>
          </p:nvPr>
        </p:nvSpPr>
        <p:spPr>
          <a:xfrm>
            <a:off x="6616557" y="2026921"/>
            <a:ext cx="5054886" cy="2804160"/>
          </a:xfrm>
        </p:spPr>
        <p:txBody>
          <a:bodyPr wrap="square" rIns="0" anchor="ctr" anchorCtr="0">
            <a:noAutofit/>
          </a:bodyPr>
          <a:lstStyle>
            <a:lvl1pPr marL="0" indent="0" algn="ctr">
              <a:spcAft>
                <a:spcPts val="0"/>
              </a:spcAft>
              <a:buNone/>
              <a:defRPr sz="200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a:t>
            </a:r>
          </a:p>
        </p:txBody>
      </p:sp>
      <p:pic>
        <p:nvPicPr>
          <p:cNvPr id="4" name="Grafik 3">
            <a:extLst>
              <a:ext uri="{FF2B5EF4-FFF2-40B4-BE49-F238E27FC236}">
                <a16:creationId xmlns:a16="http://schemas.microsoft.com/office/drawing/2014/main" id="{0541332A-8267-4B08-D1AF-7C20DD0AFC7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5" name="Grafik 4">
            <a:extLst>
              <a:ext uri="{FF2B5EF4-FFF2-40B4-BE49-F238E27FC236}">
                <a16:creationId xmlns:a16="http://schemas.microsoft.com/office/drawing/2014/main" id="{226C56C0-FF33-9810-8168-85ABE89D0B5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6" name="Textplatzhalter 10">
            <a:extLst>
              <a:ext uri="{FF2B5EF4-FFF2-40B4-BE49-F238E27FC236}">
                <a16:creationId xmlns:a16="http://schemas.microsoft.com/office/drawing/2014/main" id="{379E50F8-09BF-AA6C-7058-EBFEDE7DDC4A}"/>
              </a:ext>
            </a:extLst>
          </p:cNvPr>
          <p:cNvSpPr>
            <a:spLocks noGrp="1"/>
          </p:cNvSpPr>
          <p:nvPr>
            <p:ph type="body" sz="quarter" idx="14"/>
          </p:nvPr>
        </p:nvSpPr>
        <p:spPr>
          <a:xfrm>
            <a:off x="515937" y="6337828"/>
            <a:ext cx="11160000" cy="10800"/>
          </a:xfrm>
          <a:solidFill>
            <a:schemeClr val="tx1"/>
          </a:solidFill>
        </p:spPr>
        <p:txBody>
          <a:bodyPr>
            <a:noAutofit/>
          </a:bodyPr>
          <a:lstStyle>
            <a:lvl1pPr marL="0" indent="0">
              <a:buNone/>
              <a:defRPr sz="100">
                <a:solidFill>
                  <a:schemeClr val="tx1"/>
                </a:solidFill>
              </a:defRPr>
            </a:lvl1pPr>
          </a:lstStyle>
          <a:p>
            <a:pPr lvl="0"/>
            <a:endParaRPr lang="en-US" dirty="0"/>
          </a:p>
        </p:txBody>
      </p:sp>
      <p:sp>
        <p:nvSpPr>
          <p:cNvPr id="3" name="Datumsplatzhalter 8">
            <a:extLst>
              <a:ext uri="{FF2B5EF4-FFF2-40B4-BE49-F238E27FC236}">
                <a16:creationId xmlns:a16="http://schemas.microsoft.com/office/drawing/2014/main" id="{F98FE65A-83DC-712D-1EC7-9D73B91A8481}"/>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0" name="Fußzeilenplatzhalter 9">
            <a:extLst>
              <a:ext uri="{FF2B5EF4-FFF2-40B4-BE49-F238E27FC236}">
                <a16:creationId xmlns:a16="http://schemas.microsoft.com/office/drawing/2014/main" id="{1D7D9357-9A3D-6879-787E-C82F33EC6A52}"/>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1" name="Foliennummernplatzhalter 10">
            <a:extLst>
              <a:ext uri="{FF2B5EF4-FFF2-40B4-BE49-F238E27FC236}">
                <a16:creationId xmlns:a16="http://schemas.microsoft.com/office/drawing/2014/main" id="{0798EF89-CD11-E301-6766-0BDDA197D912}"/>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30430738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trenner Collage hell">
    <p:spTree>
      <p:nvGrpSpPr>
        <p:cNvPr id="1" name=""/>
        <p:cNvGrpSpPr/>
        <p:nvPr/>
      </p:nvGrpSpPr>
      <p:grpSpPr>
        <a:xfrm>
          <a:off x="0" y="0"/>
          <a:ext cx="0" cy="0"/>
          <a:chOff x="0" y="0"/>
          <a:chExt cx="0" cy="0"/>
        </a:xfrm>
      </p:grpSpPr>
      <p:sp>
        <p:nvSpPr>
          <p:cNvPr id="14" name="Textplatzhalter 16">
            <a:extLst>
              <a:ext uri="{FF2B5EF4-FFF2-40B4-BE49-F238E27FC236}">
                <a16:creationId xmlns:a16="http://schemas.microsoft.com/office/drawing/2014/main" id="{DD2D0A75-DFD3-4498-4066-636C06336D01}"/>
              </a:ext>
            </a:extLst>
          </p:cNvPr>
          <p:cNvSpPr>
            <a:spLocks noGrp="1"/>
          </p:cNvSpPr>
          <p:nvPr>
            <p:ph type="body" sz="quarter" idx="15" hasCustomPrompt="1"/>
          </p:nvPr>
        </p:nvSpPr>
        <p:spPr>
          <a:xfrm>
            <a:off x="500698" y="1249004"/>
            <a:ext cx="3502342" cy="1354217"/>
          </a:xfrm>
        </p:spPr>
        <p:txBody>
          <a:bodyPr wrap="square" rIns="0" anchor="ctr" anchorCtr="0">
            <a:noAutofit/>
          </a:bodyPr>
          <a:lstStyle>
            <a:lvl1pPr marL="0" indent="0" algn="l">
              <a:spcAft>
                <a:spcPts val="0"/>
              </a:spcAft>
              <a:buNone/>
              <a:defRPr sz="11700" b="1">
                <a:solidFill>
                  <a:schemeClr val="tx2"/>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a:t>
            </a:r>
          </a:p>
        </p:txBody>
      </p:sp>
      <p:sp>
        <p:nvSpPr>
          <p:cNvPr id="13" name="Titel 1">
            <a:extLst>
              <a:ext uri="{FF2B5EF4-FFF2-40B4-BE49-F238E27FC236}">
                <a16:creationId xmlns:a16="http://schemas.microsoft.com/office/drawing/2014/main" id="{58D95176-3872-0138-AADE-9C4CB9844BBD}"/>
              </a:ext>
            </a:extLst>
          </p:cNvPr>
          <p:cNvSpPr>
            <a:spLocks noGrp="1"/>
          </p:cNvSpPr>
          <p:nvPr>
            <p:ph type="title"/>
          </p:nvPr>
        </p:nvSpPr>
        <p:spPr>
          <a:xfrm>
            <a:off x="514800" y="2757600"/>
            <a:ext cx="4635181" cy="2534400"/>
          </a:xfrm>
        </p:spPr>
        <p:txBody>
          <a:bodyPr anchor="t" anchorCtr="0">
            <a:noAutofit/>
          </a:bodyPr>
          <a:lstStyle>
            <a:lvl1pPr>
              <a:defRPr sz="4400">
                <a:solidFill>
                  <a:schemeClr val="tx1"/>
                </a:solidFill>
              </a:defRPr>
            </a:lvl1pPr>
          </a:lstStyle>
          <a:p>
            <a:endParaRPr lang="de-DE" dirty="0"/>
          </a:p>
        </p:txBody>
      </p:sp>
      <p:sp>
        <p:nvSpPr>
          <p:cNvPr id="3" name="Datumsplatzhalter 2">
            <a:extLst>
              <a:ext uri="{FF2B5EF4-FFF2-40B4-BE49-F238E27FC236}">
                <a16:creationId xmlns:a16="http://schemas.microsoft.com/office/drawing/2014/main" id="{8EC02FFB-74A3-B806-B80C-E3424C345D45}"/>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F49DBEC-528A-4081-B4A8-43C7F8BC3C3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8451A56-4C31-254B-F5E3-55F8B3E41455}"/>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2" name="Inhaltsplatzhalter 7">
            <a:extLst>
              <a:ext uri="{FF2B5EF4-FFF2-40B4-BE49-F238E27FC236}">
                <a16:creationId xmlns:a16="http://schemas.microsoft.com/office/drawing/2014/main" id="{7A167086-F664-40CE-05DE-E1F40ADCFC77}"/>
              </a:ext>
            </a:extLst>
          </p:cNvPr>
          <p:cNvSpPr>
            <a:spLocks noGrp="1"/>
          </p:cNvSpPr>
          <p:nvPr>
            <p:ph sz="quarter" idx="17"/>
          </p:nvPr>
        </p:nvSpPr>
        <p:spPr>
          <a:xfrm>
            <a:off x="7335519" y="0"/>
            <a:ext cx="4856479" cy="348646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Inhaltsplatzhalter 7">
            <a:extLst>
              <a:ext uri="{FF2B5EF4-FFF2-40B4-BE49-F238E27FC236}">
                <a16:creationId xmlns:a16="http://schemas.microsoft.com/office/drawing/2014/main" id="{E35525F2-3627-F7B0-4D61-3E9DC7CFCBD8}"/>
              </a:ext>
            </a:extLst>
          </p:cNvPr>
          <p:cNvSpPr>
            <a:spLocks noGrp="1"/>
          </p:cNvSpPr>
          <p:nvPr>
            <p:ph sz="quarter" idx="18"/>
          </p:nvPr>
        </p:nvSpPr>
        <p:spPr>
          <a:xfrm>
            <a:off x="5633290" y="3754576"/>
            <a:ext cx="3665718" cy="237475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06418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Collage - dunkel">
    <p:bg>
      <p:bgRef idx="1001">
        <a:schemeClr val="bg1"/>
      </p:bgRef>
    </p:bg>
    <p:spTree>
      <p:nvGrpSpPr>
        <p:cNvPr id="1" name=""/>
        <p:cNvGrpSpPr/>
        <p:nvPr/>
      </p:nvGrpSpPr>
      <p:grpSpPr>
        <a:xfrm>
          <a:off x="0" y="0"/>
          <a:ext cx="0" cy="0"/>
          <a:chOff x="0" y="0"/>
          <a:chExt cx="0" cy="0"/>
        </a:xfrm>
      </p:grpSpPr>
      <p:sp>
        <p:nvSpPr>
          <p:cNvPr id="14" name="Textplatzhalter 16">
            <a:extLst>
              <a:ext uri="{FF2B5EF4-FFF2-40B4-BE49-F238E27FC236}">
                <a16:creationId xmlns:a16="http://schemas.microsoft.com/office/drawing/2014/main" id="{DD2D0A75-DFD3-4498-4066-636C06336D01}"/>
              </a:ext>
            </a:extLst>
          </p:cNvPr>
          <p:cNvSpPr>
            <a:spLocks noGrp="1"/>
          </p:cNvSpPr>
          <p:nvPr>
            <p:ph type="body" sz="quarter" idx="15" hasCustomPrompt="1"/>
          </p:nvPr>
        </p:nvSpPr>
        <p:spPr>
          <a:xfrm>
            <a:off x="500697" y="1249004"/>
            <a:ext cx="3502341" cy="1354218"/>
          </a:xfrm>
        </p:spPr>
        <p:txBody>
          <a:bodyPr wrap="square" rIns="0" anchor="ctr" anchorCtr="0">
            <a:noAutofit/>
          </a:bodyPr>
          <a:lstStyle>
            <a:lvl1pPr marL="0" indent="0" algn="l">
              <a:spcAft>
                <a:spcPts val="0"/>
              </a:spcAft>
              <a:buNone/>
              <a:defRPr sz="117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a:t>
            </a:r>
          </a:p>
        </p:txBody>
      </p:sp>
      <p:sp>
        <p:nvSpPr>
          <p:cNvPr id="13" name="Titel 1">
            <a:extLst>
              <a:ext uri="{FF2B5EF4-FFF2-40B4-BE49-F238E27FC236}">
                <a16:creationId xmlns:a16="http://schemas.microsoft.com/office/drawing/2014/main" id="{58D95176-3872-0138-AADE-9C4CB9844BBD}"/>
              </a:ext>
            </a:extLst>
          </p:cNvPr>
          <p:cNvSpPr>
            <a:spLocks noGrp="1"/>
          </p:cNvSpPr>
          <p:nvPr>
            <p:ph type="title"/>
          </p:nvPr>
        </p:nvSpPr>
        <p:spPr>
          <a:xfrm>
            <a:off x="514800" y="2757600"/>
            <a:ext cx="4635182" cy="2532590"/>
          </a:xfrm>
        </p:spPr>
        <p:txBody>
          <a:bodyPr anchor="t" anchorCtr="0">
            <a:noAutofit/>
          </a:bodyPr>
          <a:lstStyle>
            <a:lvl1pPr>
              <a:defRPr sz="4400">
                <a:solidFill>
                  <a:schemeClr val="tx1"/>
                </a:solidFill>
              </a:defRPr>
            </a:lvl1pPr>
          </a:lstStyle>
          <a:p>
            <a:endParaRPr lang="de-DE" dirty="0"/>
          </a:p>
        </p:txBody>
      </p:sp>
      <p:cxnSp>
        <p:nvCxnSpPr>
          <p:cNvPr id="2" name="Gerade Verbindung 1">
            <a:extLst>
              <a:ext uri="{FF2B5EF4-FFF2-40B4-BE49-F238E27FC236}">
                <a16:creationId xmlns:a16="http://schemas.microsoft.com/office/drawing/2014/main" id="{AB9A3DA9-4BB5-D469-0FC6-7F579998BBBE}"/>
              </a:ext>
            </a:extLst>
          </p:cNvPr>
          <p:cNvCxnSpPr>
            <a:cxnSpLocks/>
          </p:cNvCxnSpPr>
          <p:nvPr userDrawn="1"/>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Grafik 5">
            <a:extLst>
              <a:ext uri="{FF2B5EF4-FFF2-40B4-BE49-F238E27FC236}">
                <a16:creationId xmlns:a16="http://schemas.microsoft.com/office/drawing/2014/main" id="{F028E822-5A14-4C18-75EC-57AD7F10704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7" name="Grafik 6">
            <a:extLst>
              <a:ext uri="{FF2B5EF4-FFF2-40B4-BE49-F238E27FC236}">
                <a16:creationId xmlns:a16="http://schemas.microsoft.com/office/drawing/2014/main" id="{5D26FA7A-84EE-7E1E-98EB-5E918EBEAD4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8" name="Datumsplatzhalter 8">
            <a:extLst>
              <a:ext uri="{FF2B5EF4-FFF2-40B4-BE49-F238E27FC236}">
                <a16:creationId xmlns:a16="http://schemas.microsoft.com/office/drawing/2014/main" id="{443FB61A-122B-5D38-92ED-A30E2A375A5A}"/>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1" name="Fußzeilenplatzhalter 9">
            <a:extLst>
              <a:ext uri="{FF2B5EF4-FFF2-40B4-BE49-F238E27FC236}">
                <a16:creationId xmlns:a16="http://schemas.microsoft.com/office/drawing/2014/main" id="{5327F26B-2825-1F48-24F3-714A54199BCE}"/>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2" name="Foliennummernplatzhalter 10">
            <a:extLst>
              <a:ext uri="{FF2B5EF4-FFF2-40B4-BE49-F238E27FC236}">
                <a16:creationId xmlns:a16="http://schemas.microsoft.com/office/drawing/2014/main" id="{06082FA3-19C8-EFA8-625E-AE4BFF2F9493}"/>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10" name="Inhaltsplatzhalter 7">
            <a:extLst>
              <a:ext uri="{FF2B5EF4-FFF2-40B4-BE49-F238E27FC236}">
                <a16:creationId xmlns:a16="http://schemas.microsoft.com/office/drawing/2014/main" id="{193FD451-DFB6-C0CC-F614-C3B297CFE18A}"/>
              </a:ext>
            </a:extLst>
          </p:cNvPr>
          <p:cNvSpPr>
            <a:spLocks noGrp="1"/>
          </p:cNvSpPr>
          <p:nvPr>
            <p:ph sz="quarter" idx="17"/>
          </p:nvPr>
        </p:nvSpPr>
        <p:spPr>
          <a:xfrm>
            <a:off x="7335519" y="0"/>
            <a:ext cx="4856479" cy="348646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Inhaltsplatzhalter 7">
            <a:extLst>
              <a:ext uri="{FF2B5EF4-FFF2-40B4-BE49-F238E27FC236}">
                <a16:creationId xmlns:a16="http://schemas.microsoft.com/office/drawing/2014/main" id="{F19FE4DA-8967-E3BD-F5CD-3B2FD9216FCF}"/>
              </a:ext>
            </a:extLst>
          </p:cNvPr>
          <p:cNvSpPr>
            <a:spLocks noGrp="1"/>
          </p:cNvSpPr>
          <p:nvPr>
            <p:ph sz="quarter" idx="18"/>
          </p:nvPr>
        </p:nvSpPr>
        <p:spPr>
          <a:xfrm>
            <a:off x="5633290" y="3754576"/>
            <a:ext cx="3665718" cy="2374756"/>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05267566"/>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und Titel - hel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6" name="Inhaltsplatzhalter 7">
            <a:extLst>
              <a:ext uri="{FF2B5EF4-FFF2-40B4-BE49-F238E27FC236}">
                <a16:creationId xmlns:a16="http://schemas.microsoft.com/office/drawing/2014/main" id="{3C4F04F1-8BF6-3DD9-9CD7-788A63113365}"/>
              </a:ext>
            </a:extLst>
          </p:cNvPr>
          <p:cNvSpPr>
            <a:spLocks noGrp="1"/>
          </p:cNvSpPr>
          <p:nvPr>
            <p:ph sz="quarter" idx="15"/>
          </p:nvPr>
        </p:nvSpPr>
        <p:spPr>
          <a:xfrm>
            <a:off x="515938" y="765176"/>
            <a:ext cx="11160125" cy="536415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extplatzhalter 16">
            <a:extLst>
              <a:ext uri="{FF2B5EF4-FFF2-40B4-BE49-F238E27FC236}">
                <a16:creationId xmlns:a16="http://schemas.microsoft.com/office/drawing/2014/main" id="{8D51FFD6-1C6D-76ED-63B8-5D3C801372E6}"/>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171261907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und Titel - dunkel">
    <p:bg>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2" name="Grafik 1">
            <a:extLst>
              <a:ext uri="{FF2B5EF4-FFF2-40B4-BE49-F238E27FC236}">
                <a16:creationId xmlns:a16="http://schemas.microsoft.com/office/drawing/2014/main" id="{47549D99-7DC0-CE5A-B2B9-419D3CCF9D7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C8A973F3-DD62-76A7-52B0-F89EC30222D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8" name="Inhaltsplatzhalter 7">
            <a:extLst>
              <a:ext uri="{FF2B5EF4-FFF2-40B4-BE49-F238E27FC236}">
                <a16:creationId xmlns:a16="http://schemas.microsoft.com/office/drawing/2014/main" id="{7AB7E707-926E-631C-C1C6-A5A0AEE1F7DD}"/>
              </a:ext>
            </a:extLst>
          </p:cNvPr>
          <p:cNvSpPr>
            <a:spLocks noGrp="1"/>
          </p:cNvSpPr>
          <p:nvPr>
            <p:ph sz="quarter" idx="15"/>
          </p:nvPr>
        </p:nvSpPr>
        <p:spPr>
          <a:xfrm>
            <a:off x="515938" y="765176"/>
            <a:ext cx="11160125" cy="536415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16">
            <a:extLst>
              <a:ext uri="{FF2B5EF4-FFF2-40B4-BE49-F238E27FC236}">
                <a16:creationId xmlns:a16="http://schemas.microsoft.com/office/drawing/2014/main" id="{EE4A5921-494E-C4D7-62D2-AAE2DC0C8152}"/>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17369083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Titel und Text -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515847" y="2120900"/>
            <a:ext cx="5040403" cy="1102394"/>
          </a:xfrm>
        </p:spPr>
        <p:txBody>
          <a:bodyPr wrap="square" anchor="b" anchorCtr="0">
            <a:noAutofit/>
          </a:bodyPr>
          <a:lstStyle>
            <a:lvl1pPr>
              <a:defRPr sz="2400"/>
            </a:lvl1pPr>
          </a:lstStyle>
          <a:p>
            <a:endParaRPr lang="de-DE" dirty="0"/>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8" name="Inhaltsplatzhalter 7">
            <a:extLst>
              <a:ext uri="{FF2B5EF4-FFF2-40B4-BE49-F238E27FC236}">
                <a16:creationId xmlns:a16="http://schemas.microsoft.com/office/drawing/2014/main" id="{B63CA246-3980-C44F-9C3A-42C353602206}"/>
              </a:ext>
            </a:extLst>
          </p:cNvPr>
          <p:cNvSpPr>
            <a:spLocks noGrp="1"/>
          </p:cNvSpPr>
          <p:nvPr>
            <p:ph sz="quarter" idx="16"/>
          </p:nvPr>
        </p:nvSpPr>
        <p:spPr>
          <a:xfrm>
            <a:off x="515939" y="3305060"/>
            <a:ext cx="5040312" cy="282427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7">
            <a:extLst>
              <a:ext uri="{FF2B5EF4-FFF2-40B4-BE49-F238E27FC236}">
                <a16:creationId xmlns:a16="http://schemas.microsoft.com/office/drawing/2014/main" id="{1BEA603C-1DCE-986E-9EF7-E4CBF9296810}"/>
              </a:ext>
            </a:extLst>
          </p:cNvPr>
          <p:cNvSpPr>
            <a:spLocks noGrp="1"/>
          </p:cNvSpPr>
          <p:nvPr>
            <p:ph sz="quarter" idx="17"/>
          </p:nvPr>
        </p:nvSpPr>
        <p:spPr>
          <a:xfrm>
            <a:off x="6096000" y="768350"/>
            <a:ext cx="5579972" cy="536098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53388915"/>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Titel und Text - dunkel">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515847" y="2120900"/>
            <a:ext cx="5040403" cy="1102394"/>
          </a:xfrm>
        </p:spPr>
        <p:txBody>
          <a:bodyPr wrap="square" anchor="b" anchorCtr="0">
            <a:noAutofit/>
          </a:bodyPr>
          <a:lstStyle>
            <a:lvl1pPr>
              <a:defRPr sz="2400">
                <a:solidFill>
                  <a:schemeClr val="tx2"/>
                </a:solidFill>
              </a:defRPr>
            </a:lvl1pPr>
          </a:lstStyle>
          <a:p>
            <a:endParaRPr lang="de-DE" dirty="0"/>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6" name="Grafik 5">
            <a:extLst>
              <a:ext uri="{FF2B5EF4-FFF2-40B4-BE49-F238E27FC236}">
                <a16:creationId xmlns:a16="http://schemas.microsoft.com/office/drawing/2014/main" id="{30D69794-F4F5-3EA2-1EC3-E5EEF447D87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8" name="Grafik 7">
            <a:extLst>
              <a:ext uri="{FF2B5EF4-FFF2-40B4-BE49-F238E27FC236}">
                <a16:creationId xmlns:a16="http://schemas.microsoft.com/office/drawing/2014/main" id="{6E56D596-7FAD-6B96-639A-64CE0C3F654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9" name="Inhaltsplatzhalter 7">
            <a:extLst>
              <a:ext uri="{FF2B5EF4-FFF2-40B4-BE49-F238E27FC236}">
                <a16:creationId xmlns:a16="http://schemas.microsoft.com/office/drawing/2014/main" id="{57DF34E3-6B79-D74C-C550-69BF761E5931}"/>
              </a:ext>
            </a:extLst>
          </p:cNvPr>
          <p:cNvSpPr>
            <a:spLocks noGrp="1"/>
          </p:cNvSpPr>
          <p:nvPr>
            <p:ph sz="quarter" idx="16"/>
          </p:nvPr>
        </p:nvSpPr>
        <p:spPr>
          <a:xfrm>
            <a:off x="515939" y="3305060"/>
            <a:ext cx="5040312" cy="2824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7">
            <a:extLst>
              <a:ext uri="{FF2B5EF4-FFF2-40B4-BE49-F238E27FC236}">
                <a16:creationId xmlns:a16="http://schemas.microsoft.com/office/drawing/2014/main" id="{D5DE255E-D1B7-62A0-C492-5C8473EF142B}"/>
              </a:ext>
            </a:extLst>
          </p:cNvPr>
          <p:cNvSpPr>
            <a:spLocks noGrp="1"/>
          </p:cNvSpPr>
          <p:nvPr>
            <p:ph sz="quarter" idx="17"/>
          </p:nvPr>
        </p:nvSpPr>
        <p:spPr>
          <a:xfrm>
            <a:off x="6096000" y="768350"/>
            <a:ext cx="5579972" cy="536098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2782799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groß, Titel und Text - hell">
    <p:spTree>
      <p:nvGrpSpPr>
        <p:cNvPr id="1" name=""/>
        <p:cNvGrpSpPr/>
        <p:nvPr/>
      </p:nvGrpSpPr>
      <p:grpSpPr>
        <a:xfrm>
          <a:off x="0" y="0"/>
          <a:ext cx="0" cy="0"/>
          <a:chOff x="0" y="0"/>
          <a:chExt cx="0" cy="0"/>
        </a:xfrm>
      </p:grpSpPr>
      <p:sp>
        <p:nvSpPr>
          <p:cNvPr id="5" name="Inhaltsplatzhalter 7">
            <a:extLst>
              <a:ext uri="{FF2B5EF4-FFF2-40B4-BE49-F238E27FC236}">
                <a16:creationId xmlns:a16="http://schemas.microsoft.com/office/drawing/2014/main" id="{CC7F9515-3E60-D733-84CC-D6B00AB2A5DB}"/>
              </a:ext>
            </a:extLst>
          </p:cNvPr>
          <p:cNvSpPr>
            <a:spLocks noGrp="1"/>
          </p:cNvSpPr>
          <p:nvPr>
            <p:ph sz="quarter" idx="17"/>
          </p:nvPr>
        </p:nvSpPr>
        <p:spPr>
          <a:xfrm>
            <a:off x="6096000" y="0"/>
            <a:ext cx="6096000" cy="6858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515847" y="2120900"/>
            <a:ext cx="5040403" cy="1102394"/>
          </a:xfrm>
        </p:spPr>
        <p:txBody>
          <a:bodyPr wrap="square" anchor="b" anchorCtr="0">
            <a:noAutofit/>
          </a:bodyPr>
          <a:lstStyle>
            <a:lvl1pPr>
              <a:defRPr sz="2400"/>
            </a:lvl1pPr>
          </a:lstStyle>
          <a:p>
            <a:endParaRPr lang="de-DE" dirty="0"/>
          </a:p>
        </p:txBody>
      </p:sp>
      <p:sp>
        <p:nvSpPr>
          <p:cNvPr id="3" name="Textplatzhalter 10">
            <a:extLst>
              <a:ext uri="{FF2B5EF4-FFF2-40B4-BE49-F238E27FC236}">
                <a16:creationId xmlns:a16="http://schemas.microsoft.com/office/drawing/2014/main" id="{4C381258-2631-5744-8790-B925729F1A98}"/>
              </a:ext>
            </a:extLst>
          </p:cNvPr>
          <p:cNvSpPr>
            <a:spLocks noGrp="1"/>
          </p:cNvSpPr>
          <p:nvPr>
            <p:ph type="body" sz="quarter" idx="16"/>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
        <p:nvSpPr>
          <p:cNvPr id="8" name="Datumsplatzhalter 8">
            <a:extLst>
              <a:ext uri="{FF2B5EF4-FFF2-40B4-BE49-F238E27FC236}">
                <a16:creationId xmlns:a16="http://schemas.microsoft.com/office/drawing/2014/main" id="{D519EED2-B1CD-0006-EA0B-93136DB2E24B}"/>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9" name="Fußzeilenplatzhalter 9">
            <a:extLst>
              <a:ext uri="{FF2B5EF4-FFF2-40B4-BE49-F238E27FC236}">
                <a16:creationId xmlns:a16="http://schemas.microsoft.com/office/drawing/2014/main" id="{57A2C8B9-3833-0B99-8F2D-4753C48F15F9}"/>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0" name="Foliennummernplatzhalter 10">
            <a:extLst>
              <a:ext uri="{FF2B5EF4-FFF2-40B4-BE49-F238E27FC236}">
                <a16:creationId xmlns:a16="http://schemas.microsoft.com/office/drawing/2014/main" id="{D9C84FBC-8499-E5B1-7032-DD9D28FEECF7}"/>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6" name="Inhaltsplatzhalter 7">
            <a:extLst>
              <a:ext uri="{FF2B5EF4-FFF2-40B4-BE49-F238E27FC236}">
                <a16:creationId xmlns:a16="http://schemas.microsoft.com/office/drawing/2014/main" id="{0BE52F6B-B207-EEC7-937F-CF681D40671D}"/>
              </a:ext>
            </a:extLst>
          </p:cNvPr>
          <p:cNvSpPr>
            <a:spLocks noGrp="1"/>
          </p:cNvSpPr>
          <p:nvPr>
            <p:ph sz="quarter" idx="18"/>
          </p:nvPr>
        </p:nvSpPr>
        <p:spPr>
          <a:xfrm>
            <a:off x="515939" y="3305060"/>
            <a:ext cx="5040312" cy="282427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88632162"/>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groß, Titel und Text - dunkel">
    <p:bg>
      <p:bgRef idx="1001">
        <a:schemeClr val="bg1"/>
      </p:bgRef>
    </p:bg>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1C6A1CDB-F09C-29D1-E947-E6855389B39A}"/>
              </a:ext>
            </a:extLst>
          </p:cNvPr>
          <p:cNvSpPr>
            <a:spLocks noGrp="1"/>
          </p:cNvSpPr>
          <p:nvPr>
            <p:ph sz="quarter" idx="17"/>
          </p:nvPr>
        </p:nvSpPr>
        <p:spPr>
          <a:xfrm>
            <a:off x="6096000" y="0"/>
            <a:ext cx="6096000" cy="68580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515847" y="2120900"/>
            <a:ext cx="5040403" cy="1102394"/>
          </a:xfrm>
        </p:spPr>
        <p:txBody>
          <a:bodyPr wrap="square" anchor="b" anchorCtr="0">
            <a:noAutofit/>
          </a:bodyPr>
          <a:lstStyle>
            <a:lvl1pPr>
              <a:defRPr sz="2400"/>
            </a:lvl1pPr>
          </a:lstStyle>
          <a:p>
            <a:endParaRPr lang="de-DE" dirty="0"/>
          </a:p>
        </p:txBody>
      </p:sp>
      <p:sp>
        <p:nvSpPr>
          <p:cNvPr id="3" name="Textplatzhalter 10">
            <a:extLst>
              <a:ext uri="{FF2B5EF4-FFF2-40B4-BE49-F238E27FC236}">
                <a16:creationId xmlns:a16="http://schemas.microsoft.com/office/drawing/2014/main" id="{4C381258-2631-5744-8790-B925729F1A98}"/>
              </a:ext>
            </a:extLst>
          </p:cNvPr>
          <p:cNvSpPr>
            <a:spLocks noGrp="1"/>
          </p:cNvSpPr>
          <p:nvPr>
            <p:ph type="body" sz="quarter" idx="16"/>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
        <p:nvSpPr>
          <p:cNvPr id="8" name="Datumsplatzhalter 8">
            <a:extLst>
              <a:ext uri="{FF2B5EF4-FFF2-40B4-BE49-F238E27FC236}">
                <a16:creationId xmlns:a16="http://schemas.microsoft.com/office/drawing/2014/main" id="{D519EED2-B1CD-0006-EA0B-93136DB2E24B}"/>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9" name="Fußzeilenplatzhalter 9">
            <a:extLst>
              <a:ext uri="{FF2B5EF4-FFF2-40B4-BE49-F238E27FC236}">
                <a16:creationId xmlns:a16="http://schemas.microsoft.com/office/drawing/2014/main" id="{57A2C8B9-3833-0B99-8F2D-4753C48F15F9}"/>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0" name="Foliennummernplatzhalter 10">
            <a:extLst>
              <a:ext uri="{FF2B5EF4-FFF2-40B4-BE49-F238E27FC236}">
                <a16:creationId xmlns:a16="http://schemas.microsoft.com/office/drawing/2014/main" id="{D9C84FBC-8499-E5B1-7032-DD9D28FEECF7}"/>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pic>
        <p:nvPicPr>
          <p:cNvPr id="4" name="Grafik 3">
            <a:extLst>
              <a:ext uri="{FF2B5EF4-FFF2-40B4-BE49-F238E27FC236}">
                <a16:creationId xmlns:a16="http://schemas.microsoft.com/office/drawing/2014/main" id="{3FCB7C65-0127-8076-4401-0C83B05FCC5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5" name="Grafik 4">
            <a:extLst>
              <a:ext uri="{FF2B5EF4-FFF2-40B4-BE49-F238E27FC236}">
                <a16:creationId xmlns:a16="http://schemas.microsoft.com/office/drawing/2014/main" id="{1450404A-062A-361E-9DDA-E67CCA124FCB}"/>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2" name="Inhaltsplatzhalter 7">
            <a:extLst>
              <a:ext uri="{FF2B5EF4-FFF2-40B4-BE49-F238E27FC236}">
                <a16:creationId xmlns:a16="http://schemas.microsoft.com/office/drawing/2014/main" id="{995C9647-3CCA-788E-1D71-93A2B81A3513}"/>
              </a:ext>
            </a:extLst>
          </p:cNvPr>
          <p:cNvSpPr>
            <a:spLocks noGrp="1"/>
          </p:cNvSpPr>
          <p:nvPr>
            <p:ph sz="quarter" idx="18"/>
          </p:nvPr>
        </p:nvSpPr>
        <p:spPr>
          <a:xfrm>
            <a:off x="515939" y="3305060"/>
            <a:ext cx="5040312" cy="282427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89757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7BDCA8-F7D0-FD52-E6BA-6B27A29D279F}"/>
              </a:ext>
            </a:extLst>
          </p:cNvPr>
          <p:cNvSpPr>
            <a:spLocks noGrp="1"/>
          </p:cNvSpPr>
          <p:nvPr>
            <p:ph type="title"/>
          </p:nvPr>
        </p:nvSpPr>
        <p:spPr>
          <a:xfrm>
            <a:off x="515938" y="788711"/>
            <a:ext cx="11166063" cy="738664"/>
          </a:xfrm>
        </p:spPr>
        <p:txBody>
          <a:bodyPr>
            <a:noAutofit/>
          </a:bodyPr>
          <a:lstStyle>
            <a:lvl1pPr>
              <a:defRPr sz="2400"/>
            </a:lvl1pPr>
          </a:lstStyle>
          <a:p>
            <a:endParaRPr lang="de-DE" dirty="0"/>
          </a:p>
        </p:txBody>
      </p:sp>
      <p:sp>
        <p:nvSpPr>
          <p:cNvPr id="3" name="Datumsplatzhalter 2">
            <a:extLst>
              <a:ext uri="{FF2B5EF4-FFF2-40B4-BE49-F238E27FC236}">
                <a16:creationId xmlns:a16="http://schemas.microsoft.com/office/drawing/2014/main" id="{8EC02FFB-74A3-B806-B80C-E3424C345D45}"/>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F49DBEC-528A-4081-B4A8-43C7F8BC3C3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8451A56-4C31-254B-F5E3-55F8B3E41455}"/>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Inhaltsplatzhalter 7">
            <a:extLst>
              <a:ext uri="{FF2B5EF4-FFF2-40B4-BE49-F238E27FC236}">
                <a16:creationId xmlns:a16="http://schemas.microsoft.com/office/drawing/2014/main" id="{E0BA9643-6B8B-D043-BBC3-EA198D99A6DF}"/>
              </a:ext>
            </a:extLst>
          </p:cNvPr>
          <p:cNvSpPr>
            <a:spLocks noGrp="1"/>
          </p:cNvSpPr>
          <p:nvPr>
            <p:ph sz="quarter" idx="14"/>
          </p:nvPr>
        </p:nvSpPr>
        <p:spPr>
          <a:xfrm>
            <a:off x="515938" y="1773234"/>
            <a:ext cx="11160125" cy="4356099"/>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12150611"/>
      </p:ext>
    </p:extLst>
  </p:cSld>
  <p:clrMapOvr>
    <a:masterClrMapping/>
  </p:clrMapOvr>
  <p:extLst>
    <p:ext uri="{DCECCB84-F9BA-43D5-87BE-67443E8EF086}">
      <p15:sldGuideLst xmlns:p15="http://schemas.microsoft.com/office/powerpoint/2012/main">
        <p15:guide id="1" orient="horz" pos="1117" userDrawn="1">
          <p15:clr>
            <a:srgbClr val="F26B43"/>
          </p15:clr>
        </p15:guide>
        <p15:guide id="2" orient="horz" pos="958"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duktseite mit Bild, Titel, Text und Logo - hell">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192AB513-E8D4-803C-1E6D-6EBE38D36257}"/>
              </a:ext>
            </a:extLst>
          </p:cNvPr>
          <p:cNvSpPr>
            <a:spLocks noGrp="1"/>
          </p:cNvSpPr>
          <p:nvPr>
            <p:ph sz="quarter" idx="21"/>
          </p:nvPr>
        </p:nvSpPr>
        <p:spPr>
          <a:xfrm>
            <a:off x="6096000" y="0"/>
            <a:ext cx="6096000" cy="612933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Datumsplatzhalter 2">
            <a:extLst>
              <a:ext uri="{FF2B5EF4-FFF2-40B4-BE49-F238E27FC236}">
                <a16:creationId xmlns:a16="http://schemas.microsoft.com/office/drawing/2014/main" id="{74501441-C31B-663F-F476-A8470DB47D2B}"/>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5FE56892-7F98-46A1-DB46-0F758C07DDA3}"/>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B4E71D3-A0D1-A2FA-C094-37D150A97CDF}"/>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6" name="Titel 1">
            <a:extLst>
              <a:ext uri="{FF2B5EF4-FFF2-40B4-BE49-F238E27FC236}">
                <a16:creationId xmlns:a16="http://schemas.microsoft.com/office/drawing/2014/main" id="{5A7FF022-1207-2237-96DF-FCE1AEF8EA43}"/>
              </a:ext>
            </a:extLst>
          </p:cNvPr>
          <p:cNvSpPr>
            <a:spLocks noGrp="1"/>
          </p:cNvSpPr>
          <p:nvPr>
            <p:ph type="title"/>
          </p:nvPr>
        </p:nvSpPr>
        <p:spPr>
          <a:xfrm>
            <a:off x="515846" y="1328057"/>
            <a:ext cx="5040312" cy="1208313"/>
          </a:xfrm>
        </p:spPr>
        <p:txBody>
          <a:bodyPr anchor="b" anchorCtr="0">
            <a:noAutofit/>
          </a:bodyPr>
          <a:lstStyle>
            <a:lvl1pPr>
              <a:defRPr sz="2400">
                <a:solidFill>
                  <a:schemeClr val="tx1"/>
                </a:solidFill>
              </a:defRPr>
            </a:lvl1pPr>
          </a:lstStyle>
          <a:p>
            <a:endParaRPr lang="de-DE" dirty="0"/>
          </a:p>
        </p:txBody>
      </p:sp>
      <p:sp>
        <p:nvSpPr>
          <p:cNvPr id="12" name="Bildplatzhalter 12">
            <a:extLst>
              <a:ext uri="{FF2B5EF4-FFF2-40B4-BE49-F238E27FC236}">
                <a16:creationId xmlns:a16="http://schemas.microsoft.com/office/drawing/2014/main" id="{CDA68794-8060-9069-AFA7-494491F10EA0}"/>
              </a:ext>
            </a:extLst>
          </p:cNvPr>
          <p:cNvSpPr>
            <a:spLocks noGrp="1"/>
          </p:cNvSpPr>
          <p:nvPr>
            <p:ph type="pic" sz="quarter" idx="15" hasCustomPrompt="1"/>
          </p:nvPr>
        </p:nvSpPr>
        <p:spPr>
          <a:xfrm>
            <a:off x="515939"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3" name="Bildplatzhalter 12">
            <a:extLst>
              <a:ext uri="{FF2B5EF4-FFF2-40B4-BE49-F238E27FC236}">
                <a16:creationId xmlns:a16="http://schemas.microsoft.com/office/drawing/2014/main" id="{2E067A61-680D-3B18-5F74-C5048E6E39AB}"/>
              </a:ext>
            </a:extLst>
          </p:cNvPr>
          <p:cNvSpPr>
            <a:spLocks noGrp="1"/>
          </p:cNvSpPr>
          <p:nvPr>
            <p:ph type="pic" sz="quarter" idx="16" hasCustomPrompt="1"/>
          </p:nvPr>
        </p:nvSpPr>
        <p:spPr>
          <a:xfrm>
            <a:off x="1275395"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4" name="Bildplatzhalter 12">
            <a:extLst>
              <a:ext uri="{FF2B5EF4-FFF2-40B4-BE49-F238E27FC236}">
                <a16:creationId xmlns:a16="http://schemas.microsoft.com/office/drawing/2014/main" id="{EA29BA68-01DF-4BCE-967C-B8470C1F0E1A}"/>
              </a:ext>
            </a:extLst>
          </p:cNvPr>
          <p:cNvSpPr>
            <a:spLocks noGrp="1"/>
          </p:cNvSpPr>
          <p:nvPr>
            <p:ph type="pic" sz="quarter" idx="17" hasCustomPrompt="1"/>
          </p:nvPr>
        </p:nvSpPr>
        <p:spPr>
          <a:xfrm>
            <a:off x="2034850"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7" name="Textplatzhalter 16">
            <a:extLst>
              <a:ext uri="{FF2B5EF4-FFF2-40B4-BE49-F238E27FC236}">
                <a16:creationId xmlns:a16="http://schemas.microsoft.com/office/drawing/2014/main" id="{21BD5DC4-745B-ADD6-06D3-3151A17D3887}"/>
              </a:ext>
            </a:extLst>
          </p:cNvPr>
          <p:cNvSpPr>
            <a:spLocks noGrp="1"/>
          </p:cNvSpPr>
          <p:nvPr>
            <p:ph type="body" sz="quarter" idx="19" hasCustomPrompt="1"/>
          </p:nvPr>
        </p:nvSpPr>
        <p:spPr>
          <a:xfrm>
            <a:off x="515846" y="3891785"/>
            <a:ext cx="5040403" cy="215444"/>
          </a:xfrm>
        </p:spPr>
        <p:txBody>
          <a:bodyPr wrap="square" rIns="0" anchor="b" anchorCtr="0">
            <a:noAutofit/>
          </a:bodyPr>
          <a:lstStyle>
            <a:lvl1pPr marL="0" indent="0">
              <a:spcAft>
                <a:spcPts val="0"/>
              </a:spcAft>
              <a:buNone/>
              <a:defRPr sz="1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0" name="Bildplatzhalter 12">
            <a:extLst>
              <a:ext uri="{FF2B5EF4-FFF2-40B4-BE49-F238E27FC236}">
                <a16:creationId xmlns:a16="http://schemas.microsoft.com/office/drawing/2014/main" id="{FC0DF13A-4B6B-5A47-DD43-64D50E0C30D3}"/>
              </a:ext>
            </a:extLst>
          </p:cNvPr>
          <p:cNvSpPr>
            <a:spLocks noGrp="1"/>
          </p:cNvSpPr>
          <p:nvPr>
            <p:ph type="pic" sz="quarter" idx="20" hasCustomPrompt="1"/>
          </p:nvPr>
        </p:nvSpPr>
        <p:spPr>
          <a:xfrm>
            <a:off x="10935996" y="504825"/>
            <a:ext cx="740067" cy="739977"/>
          </a:xfrm>
        </p:spPr>
        <p:txBody>
          <a:bodyPr anchor="ctr" anchorCtr="0">
            <a:normAutofit/>
          </a:bodyPr>
          <a:lstStyle>
            <a:lvl1pPr marL="0" indent="0" algn="ctr">
              <a:buNone/>
              <a:defRPr sz="1200">
                <a:solidFill>
                  <a:schemeClr val="tx1"/>
                </a:solidFill>
              </a:defRPr>
            </a:lvl1pPr>
          </a:lstStyle>
          <a:p>
            <a:r>
              <a:rPr lang="de-DE" dirty="0"/>
              <a:t>Sticker</a:t>
            </a:r>
          </a:p>
        </p:txBody>
      </p:sp>
      <p:sp>
        <p:nvSpPr>
          <p:cNvPr id="10" name="Inhaltsplatzhalter 7">
            <a:extLst>
              <a:ext uri="{FF2B5EF4-FFF2-40B4-BE49-F238E27FC236}">
                <a16:creationId xmlns:a16="http://schemas.microsoft.com/office/drawing/2014/main" id="{1B2A4708-01BB-A19D-11FE-A149A2B7A95F}"/>
              </a:ext>
            </a:extLst>
          </p:cNvPr>
          <p:cNvSpPr>
            <a:spLocks noGrp="1"/>
          </p:cNvSpPr>
          <p:nvPr>
            <p:ph sz="quarter" idx="22"/>
          </p:nvPr>
        </p:nvSpPr>
        <p:spPr>
          <a:xfrm>
            <a:off x="515939" y="4206237"/>
            <a:ext cx="5040312" cy="1923097"/>
          </a:xfrm>
        </p:spPr>
        <p:txBody>
          <a:bodyPr>
            <a:normAutofit/>
          </a:bodyPr>
          <a:lstStyle>
            <a:lvl1pPr>
              <a:defRPr sz="1200"/>
            </a:lvl1pPr>
            <a:lvl2pPr>
              <a:defRPr sz="1200"/>
            </a:lvl2pPr>
            <a:lvl3pPr>
              <a:defRPr sz="1200"/>
            </a:lvl3pPr>
            <a:lvl4pPr>
              <a:defRPr sz="1200"/>
            </a:lvl4pPr>
            <a:lvl5pPr>
              <a:defRPr sz="12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05421728"/>
      </p:ext>
    </p:extLst>
  </p:cSld>
  <p:clrMapOvr>
    <a:masterClrMapping/>
  </p:clrMapOvr>
  <p:extLst>
    <p:ext uri="{DCECCB84-F9BA-43D5-87BE-67443E8EF086}">
      <p15:sldGuideLst xmlns:p15="http://schemas.microsoft.com/office/powerpoint/2012/main">
        <p15:guide id="1" orient="horz" pos="1275" userDrawn="1">
          <p15:clr>
            <a:srgbClr val="F26B43"/>
          </p15:clr>
        </p15:guide>
        <p15:guide id="2" pos="3500" userDrawn="1">
          <p15:clr>
            <a:srgbClr val="F26B43"/>
          </p15:clr>
        </p15:guide>
        <p15:guide id="3" pos="3840" userDrawn="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duktseite mit Bild, Titel, Text und Logo - dunkel">
    <p:bg>
      <p:bgRef idx="1001">
        <a:schemeClr val="bg1"/>
      </p:bgRef>
    </p:bg>
    <p:spTree>
      <p:nvGrpSpPr>
        <p:cNvPr id="1" name=""/>
        <p:cNvGrpSpPr/>
        <p:nvPr/>
      </p:nvGrpSpPr>
      <p:grpSpPr>
        <a:xfrm>
          <a:off x="0" y="0"/>
          <a:ext cx="0" cy="0"/>
          <a:chOff x="0" y="0"/>
          <a:chExt cx="0" cy="0"/>
        </a:xfrm>
      </p:grpSpPr>
      <p:sp>
        <p:nvSpPr>
          <p:cNvPr id="9" name="Inhaltsplatzhalter 7">
            <a:extLst>
              <a:ext uri="{FF2B5EF4-FFF2-40B4-BE49-F238E27FC236}">
                <a16:creationId xmlns:a16="http://schemas.microsoft.com/office/drawing/2014/main" id="{13633745-FAFE-BA4F-9D08-144070DC5A02}"/>
              </a:ext>
            </a:extLst>
          </p:cNvPr>
          <p:cNvSpPr>
            <a:spLocks noGrp="1"/>
          </p:cNvSpPr>
          <p:nvPr>
            <p:ph sz="quarter" idx="21"/>
          </p:nvPr>
        </p:nvSpPr>
        <p:spPr>
          <a:xfrm>
            <a:off x="6096000" y="0"/>
            <a:ext cx="6096000" cy="6129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Datumsplatzhalter 2">
            <a:extLst>
              <a:ext uri="{FF2B5EF4-FFF2-40B4-BE49-F238E27FC236}">
                <a16:creationId xmlns:a16="http://schemas.microsoft.com/office/drawing/2014/main" id="{74501441-C31B-663F-F476-A8470DB47D2B}"/>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5FE56892-7F98-46A1-DB46-0F758C07DDA3}"/>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B4E71D3-A0D1-A2FA-C094-37D150A97CDF}"/>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6" name="Titel 1">
            <a:extLst>
              <a:ext uri="{FF2B5EF4-FFF2-40B4-BE49-F238E27FC236}">
                <a16:creationId xmlns:a16="http://schemas.microsoft.com/office/drawing/2014/main" id="{5A7FF022-1207-2237-96DF-FCE1AEF8EA43}"/>
              </a:ext>
            </a:extLst>
          </p:cNvPr>
          <p:cNvSpPr>
            <a:spLocks noGrp="1"/>
          </p:cNvSpPr>
          <p:nvPr>
            <p:ph type="title"/>
          </p:nvPr>
        </p:nvSpPr>
        <p:spPr>
          <a:xfrm>
            <a:off x="515846" y="1328057"/>
            <a:ext cx="5040312" cy="1208313"/>
          </a:xfrm>
        </p:spPr>
        <p:txBody>
          <a:bodyPr anchor="b" anchorCtr="0">
            <a:noAutofit/>
          </a:bodyPr>
          <a:lstStyle>
            <a:lvl1pPr>
              <a:defRPr sz="2400">
                <a:solidFill>
                  <a:schemeClr val="tx1"/>
                </a:solidFill>
              </a:defRPr>
            </a:lvl1pPr>
          </a:lstStyle>
          <a:p>
            <a:endParaRPr lang="de-DE" dirty="0"/>
          </a:p>
        </p:txBody>
      </p:sp>
      <p:sp>
        <p:nvSpPr>
          <p:cNvPr id="12" name="Bildplatzhalter 12">
            <a:extLst>
              <a:ext uri="{FF2B5EF4-FFF2-40B4-BE49-F238E27FC236}">
                <a16:creationId xmlns:a16="http://schemas.microsoft.com/office/drawing/2014/main" id="{CDA68794-8060-9069-AFA7-494491F10EA0}"/>
              </a:ext>
            </a:extLst>
          </p:cNvPr>
          <p:cNvSpPr>
            <a:spLocks noGrp="1"/>
          </p:cNvSpPr>
          <p:nvPr>
            <p:ph type="pic" sz="quarter" idx="15" hasCustomPrompt="1"/>
          </p:nvPr>
        </p:nvSpPr>
        <p:spPr>
          <a:xfrm>
            <a:off x="515939"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3" name="Bildplatzhalter 12">
            <a:extLst>
              <a:ext uri="{FF2B5EF4-FFF2-40B4-BE49-F238E27FC236}">
                <a16:creationId xmlns:a16="http://schemas.microsoft.com/office/drawing/2014/main" id="{2E067A61-680D-3B18-5F74-C5048E6E39AB}"/>
              </a:ext>
            </a:extLst>
          </p:cNvPr>
          <p:cNvSpPr>
            <a:spLocks noGrp="1"/>
          </p:cNvSpPr>
          <p:nvPr>
            <p:ph type="pic" sz="quarter" idx="16" hasCustomPrompt="1"/>
          </p:nvPr>
        </p:nvSpPr>
        <p:spPr>
          <a:xfrm>
            <a:off x="1275395"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4" name="Bildplatzhalter 12">
            <a:extLst>
              <a:ext uri="{FF2B5EF4-FFF2-40B4-BE49-F238E27FC236}">
                <a16:creationId xmlns:a16="http://schemas.microsoft.com/office/drawing/2014/main" id="{EA29BA68-01DF-4BCE-967C-B8470C1F0E1A}"/>
              </a:ext>
            </a:extLst>
          </p:cNvPr>
          <p:cNvSpPr>
            <a:spLocks noGrp="1"/>
          </p:cNvSpPr>
          <p:nvPr>
            <p:ph type="pic" sz="quarter" idx="17" hasCustomPrompt="1"/>
          </p:nvPr>
        </p:nvSpPr>
        <p:spPr>
          <a:xfrm>
            <a:off x="2034850" y="3064669"/>
            <a:ext cx="601604" cy="601604"/>
          </a:xfrm>
        </p:spPr>
        <p:txBody>
          <a:bodyPr anchor="ctr" anchorCtr="0">
            <a:normAutofit/>
          </a:bodyPr>
          <a:lstStyle>
            <a:lvl1pPr marL="0" indent="0" algn="ctr">
              <a:buNone/>
              <a:defRPr sz="1200">
                <a:solidFill>
                  <a:schemeClr val="tx1"/>
                </a:solidFill>
              </a:defRPr>
            </a:lvl1pPr>
          </a:lstStyle>
          <a:p>
            <a:r>
              <a:rPr lang="de-DE" dirty="0"/>
              <a:t>Logo</a:t>
            </a:r>
          </a:p>
        </p:txBody>
      </p:sp>
      <p:sp>
        <p:nvSpPr>
          <p:cNvPr id="17" name="Textplatzhalter 16">
            <a:extLst>
              <a:ext uri="{FF2B5EF4-FFF2-40B4-BE49-F238E27FC236}">
                <a16:creationId xmlns:a16="http://schemas.microsoft.com/office/drawing/2014/main" id="{21BD5DC4-745B-ADD6-06D3-3151A17D3887}"/>
              </a:ext>
            </a:extLst>
          </p:cNvPr>
          <p:cNvSpPr>
            <a:spLocks noGrp="1"/>
          </p:cNvSpPr>
          <p:nvPr>
            <p:ph type="body" sz="quarter" idx="19" hasCustomPrompt="1"/>
          </p:nvPr>
        </p:nvSpPr>
        <p:spPr>
          <a:xfrm>
            <a:off x="515846" y="3891785"/>
            <a:ext cx="5040403" cy="215444"/>
          </a:xfrm>
        </p:spPr>
        <p:txBody>
          <a:bodyPr wrap="square" rIns="0" anchor="b" anchorCtr="0">
            <a:noAutofit/>
          </a:bodyPr>
          <a:lstStyle>
            <a:lvl1pPr marL="0" indent="0">
              <a:spcAft>
                <a:spcPts val="0"/>
              </a:spcAft>
              <a:buNone/>
              <a:defRPr sz="1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0" name="Bildplatzhalter 12">
            <a:extLst>
              <a:ext uri="{FF2B5EF4-FFF2-40B4-BE49-F238E27FC236}">
                <a16:creationId xmlns:a16="http://schemas.microsoft.com/office/drawing/2014/main" id="{FC0DF13A-4B6B-5A47-DD43-64D50E0C30D3}"/>
              </a:ext>
            </a:extLst>
          </p:cNvPr>
          <p:cNvSpPr>
            <a:spLocks noGrp="1"/>
          </p:cNvSpPr>
          <p:nvPr>
            <p:ph type="pic" sz="quarter" idx="20" hasCustomPrompt="1"/>
          </p:nvPr>
        </p:nvSpPr>
        <p:spPr>
          <a:xfrm>
            <a:off x="10935996" y="504825"/>
            <a:ext cx="740067" cy="739977"/>
          </a:xfrm>
        </p:spPr>
        <p:txBody>
          <a:bodyPr anchor="ctr" anchorCtr="0">
            <a:normAutofit/>
          </a:bodyPr>
          <a:lstStyle>
            <a:lvl1pPr marL="0" indent="0" algn="ctr">
              <a:buNone/>
              <a:defRPr sz="1200">
                <a:solidFill>
                  <a:schemeClr val="tx1"/>
                </a:solidFill>
              </a:defRPr>
            </a:lvl1pPr>
          </a:lstStyle>
          <a:p>
            <a:r>
              <a:rPr lang="de-DE" dirty="0"/>
              <a:t>Sticker</a:t>
            </a:r>
          </a:p>
        </p:txBody>
      </p:sp>
      <p:pic>
        <p:nvPicPr>
          <p:cNvPr id="2" name="Grafik 1">
            <a:extLst>
              <a:ext uri="{FF2B5EF4-FFF2-40B4-BE49-F238E27FC236}">
                <a16:creationId xmlns:a16="http://schemas.microsoft.com/office/drawing/2014/main" id="{AC35F684-FADE-C442-C943-70CA187BE3B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7" name="Grafik 6">
            <a:extLst>
              <a:ext uri="{FF2B5EF4-FFF2-40B4-BE49-F238E27FC236}">
                <a16:creationId xmlns:a16="http://schemas.microsoft.com/office/drawing/2014/main" id="{D97A7A8F-2FF5-9750-A8BB-C1A606377DC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0" name="Inhaltsplatzhalter 7">
            <a:extLst>
              <a:ext uri="{FF2B5EF4-FFF2-40B4-BE49-F238E27FC236}">
                <a16:creationId xmlns:a16="http://schemas.microsoft.com/office/drawing/2014/main" id="{CDAA9A50-10D3-AB5F-2CD3-8A604CF259C8}"/>
              </a:ext>
            </a:extLst>
          </p:cNvPr>
          <p:cNvSpPr>
            <a:spLocks noGrp="1"/>
          </p:cNvSpPr>
          <p:nvPr>
            <p:ph sz="quarter" idx="22"/>
          </p:nvPr>
        </p:nvSpPr>
        <p:spPr>
          <a:xfrm>
            <a:off x="515939" y="4206237"/>
            <a:ext cx="5040312" cy="1923097"/>
          </a:xfrm>
        </p:spPr>
        <p:txBody>
          <a:bodyPr>
            <a:normAutofit/>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9435874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275" userDrawn="1">
          <p15:clr>
            <a:srgbClr val="F26B43"/>
          </p15:clr>
        </p15:guide>
        <p15:guide id="2" pos="3500" userDrawn="1">
          <p15:clr>
            <a:srgbClr val="F26B43"/>
          </p15:clr>
        </p15:guide>
        <p15:guide id="3" pos="3840"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duktseite mit vollfächigem Bild, Titel, Text und Logo">
    <p:bg>
      <p:bgPr>
        <a:solidFill>
          <a:schemeClr val="bg1"/>
        </a:solidFill>
        <a:effectLst/>
      </p:bgPr>
    </p:bg>
    <p:spTree>
      <p:nvGrpSpPr>
        <p:cNvPr id="1" name=""/>
        <p:cNvGrpSpPr/>
        <p:nvPr/>
      </p:nvGrpSpPr>
      <p:grpSpPr>
        <a:xfrm>
          <a:off x="0" y="0"/>
          <a:ext cx="0" cy="0"/>
          <a:chOff x="0" y="0"/>
          <a:chExt cx="0" cy="0"/>
        </a:xfrm>
      </p:grpSpPr>
      <p:sp>
        <p:nvSpPr>
          <p:cNvPr id="8" name="Bildplatzhalter 12">
            <a:extLst>
              <a:ext uri="{FF2B5EF4-FFF2-40B4-BE49-F238E27FC236}">
                <a16:creationId xmlns:a16="http://schemas.microsoft.com/office/drawing/2014/main" id="{770D806B-30DF-861D-E110-301187205D11}"/>
              </a:ext>
            </a:extLst>
          </p:cNvPr>
          <p:cNvSpPr>
            <a:spLocks noGrp="1"/>
          </p:cNvSpPr>
          <p:nvPr>
            <p:ph type="pic" sz="quarter" idx="14"/>
          </p:nvPr>
        </p:nvSpPr>
        <p:spPr>
          <a:xfrm>
            <a:off x="0" y="1"/>
            <a:ext cx="12192000" cy="6857999"/>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3" name="Datumsplatzhalter 2">
            <a:extLst>
              <a:ext uri="{FF2B5EF4-FFF2-40B4-BE49-F238E27FC236}">
                <a16:creationId xmlns:a16="http://schemas.microsoft.com/office/drawing/2014/main" id="{74501441-C31B-663F-F476-A8470DB47D2B}"/>
              </a:ext>
            </a:extLst>
          </p:cNvPr>
          <p:cNvSpPr>
            <a:spLocks noGrp="1"/>
          </p:cNvSpPr>
          <p:nvPr>
            <p:ph type="dt" sz="half" idx="10"/>
          </p:nvPr>
        </p:nvSpPr>
        <p:spPr/>
        <p:txBody>
          <a:bodyPr/>
          <a:lstStyle>
            <a:lvl1pPr>
              <a:defRPr>
                <a:solidFill>
                  <a:schemeClr val="bg1"/>
                </a:solidFill>
              </a:defRPr>
            </a:lvl1pPr>
          </a:lstStyle>
          <a:p>
            <a:r>
              <a:rPr lang="de-DE"/>
              <a:t>02.08.2024</a:t>
            </a:r>
            <a:endParaRPr lang="de-DE" dirty="0"/>
          </a:p>
        </p:txBody>
      </p:sp>
      <p:sp>
        <p:nvSpPr>
          <p:cNvPr id="4" name="Fußzeilenplatzhalter 3">
            <a:extLst>
              <a:ext uri="{FF2B5EF4-FFF2-40B4-BE49-F238E27FC236}">
                <a16:creationId xmlns:a16="http://schemas.microsoft.com/office/drawing/2014/main" id="{5FE56892-7F98-46A1-DB46-0F758C07DDA3}"/>
              </a:ext>
            </a:extLst>
          </p:cNvPr>
          <p:cNvSpPr>
            <a:spLocks noGrp="1"/>
          </p:cNvSpPr>
          <p:nvPr>
            <p:ph type="ftr" sz="quarter" idx="11"/>
          </p:nvPr>
        </p:nvSpPr>
        <p:spPr/>
        <p:txBody>
          <a:bodyPr/>
          <a:lstStyle>
            <a:lvl1pPr>
              <a:defRPr>
                <a:solidFill>
                  <a:schemeClr val="bg1"/>
                </a:solidFill>
              </a:defRPr>
            </a:lvl1p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B4E71D3-A0D1-A2FA-C094-37D150A97CDF}"/>
              </a:ext>
            </a:extLst>
          </p:cNvPr>
          <p:cNvSpPr>
            <a:spLocks noGrp="1"/>
          </p:cNvSpPr>
          <p:nvPr>
            <p:ph type="sldNum" sz="quarter" idx="12"/>
          </p:nvPr>
        </p:nvSpPr>
        <p:spPr/>
        <p:txBody>
          <a:bodyPr/>
          <a:lstStyle>
            <a:lvl1pPr>
              <a:defRPr>
                <a:solidFill>
                  <a:schemeClr val="bg1"/>
                </a:solidFill>
              </a:defRPr>
            </a:lvl1pPr>
          </a:lstStyle>
          <a:p>
            <a:fld id="{E84006A6-0E15-460A-BCD4-002C20F8AC9F}" type="slidenum">
              <a:rPr lang="de-DE" smtClean="0"/>
              <a:pPr/>
              <a:t>‹Nr.›</a:t>
            </a:fld>
            <a:endParaRPr lang="de-DE"/>
          </a:p>
        </p:txBody>
      </p:sp>
      <p:sp>
        <p:nvSpPr>
          <p:cNvPr id="20" name="Bildplatzhalter 12">
            <a:extLst>
              <a:ext uri="{FF2B5EF4-FFF2-40B4-BE49-F238E27FC236}">
                <a16:creationId xmlns:a16="http://schemas.microsoft.com/office/drawing/2014/main" id="{FC0DF13A-4B6B-5A47-DD43-64D50E0C30D3}"/>
              </a:ext>
            </a:extLst>
          </p:cNvPr>
          <p:cNvSpPr>
            <a:spLocks noGrp="1"/>
          </p:cNvSpPr>
          <p:nvPr>
            <p:ph type="pic" sz="quarter" idx="20" hasCustomPrompt="1"/>
          </p:nvPr>
        </p:nvSpPr>
        <p:spPr>
          <a:xfrm>
            <a:off x="10935996" y="504825"/>
            <a:ext cx="740067" cy="739977"/>
          </a:xfrm>
        </p:spPr>
        <p:txBody>
          <a:bodyPr anchor="ctr" anchorCtr="0">
            <a:normAutofit/>
          </a:bodyPr>
          <a:lstStyle>
            <a:lvl1pPr marL="0" indent="0" algn="ctr">
              <a:buNone/>
              <a:defRPr sz="1200">
                <a:solidFill>
                  <a:schemeClr val="bg1"/>
                </a:solidFill>
              </a:defRPr>
            </a:lvl1pPr>
          </a:lstStyle>
          <a:p>
            <a:r>
              <a:rPr lang="de-DE" dirty="0"/>
              <a:t>Sticker</a:t>
            </a:r>
          </a:p>
        </p:txBody>
      </p:sp>
      <p:sp>
        <p:nvSpPr>
          <p:cNvPr id="21" name="Textplatzhalter 20">
            <a:extLst>
              <a:ext uri="{FF2B5EF4-FFF2-40B4-BE49-F238E27FC236}">
                <a16:creationId xmlns:a16="http://schemas.microsoft.com/office/drawing/2014/main" id="{9BC26BB6-FA5C-C654-D67E-A87B7B8E37E9}"/>
              </a:ext>
            </a:extLst>
          </p:cNvPr>
          <p:cNvSpPr>
            <a:spLocks noGrp="1"/>
          </p:cNvSpPr>
          <p:nvPr>
            <p:ph type="body" sz="quarter" idx="24" hasCustomPrompt="1"/>
          </p:nvPr>
        </p:nvSpPr>
        <p:spPr>
          <a:xfrm>
            <a:off x="0" y="0"/>
            <a:ext cx="3729038" cy="6858000"/>
          </a:xfrm>
          <a:solidFill>
            <a:schemeClr val="tx1">
              <a:alpha val="70000"/>
            </a:schemeClr>
          </a:solidFill>
        </p:spPr>
        <p:txBody>
          <a:bodyPr>
            <a:noAutofit/>
          </a:bodyPr>
          <a:lstStyle>
            <a:lvl1pPr marL="0" indent="0">
              <a:buNone/>
              <a:defRPr sz="500">
                <a:solidFill>
                  <a:schemeClr val="tx1">
                    <a:alpha val="0"/>
                  </a:schemeClr>
                </a:solidFill>
              </a:defRPr>
            </a:lvl1pPr>
            <a:lvl2pPr marL="342000" indent="0">
              <a:buNone/>
              <a:defRPr/>
            </a:lvl2pPr>
            <a:lvl3pPr marL="702000" indent="0">
              <a:buNone/>
              <a:defRPr/>
            </a:lvl3pPr>
            <a:lvl4pPr marL="1062000" indent="0">
              <a:buNone/>
              <a:defRPr/>
            </a:lvl4pPr>
            <a:lvl5pPr marL="1422000" indent="0">
              <a:buNone/>
              <a:defRPr/>
            </a:lvl5pPr>
          </a:lstStyle>
          <a:p>
            <a:pPr lvl="0"/>
            <a:r>
              <a:rPr lang="de-DE" dirty="0"/>
              <a:t>Verlauf</a:t>
            </a:r>
          </a:p>
        </p:txBody>
      </p:sp>
      <p:sp>
        <p:nvSpPr>
          <p:cNvPr id="6" name="Titel 1">
            <a:extLst>
              <a:ext uri="{FF2B5EF4-FFF2-40B4-BE49-F238E27FC236}">
                <a16:creationId xmlns:a16="http://schemas.microsoft.com/office/drawing/2014/main" id="{5A7FF022-1207-2237-96DF-FCE1AEF8EA43}"/>
              </a:ext>
            </a:extLst>
          </p:cNvPr>
          <p:cNvSpPr>
            <a:spLocks noGrp="1"/>
          </p:cNvSpPr>
          <p:nvPr>
            <p:ph type="title"/>
          </p:nvPr>
        </p:nvSpPr>
        <p:spPr>
          <a:xfrm>
            <a:off x="515846" y="770131"/>
            <a:ext cx="2850206" cy="1330267"/>
          </a:xfrm>
        </p:spPr>
        <p:txBody>
          <a:bodyPr wrap="square" anchor="b" anchorCtr="0">
            <a:noAutofit/>
          </a:bodyPr>
          <a:lstStyle>
            <a:lvl1pPr>
              <a:defRPr sz="2400">
                <a:solidFill>
                  <a:schemeClr val="bg1"/>
                </a:solidFill>
              </a:defRPr>
            </a:lvl1pPr>
          </a:lstStyle>
          <a:p>
            <a:endParaRPr lang="de-DE" dirty="0"/>
          </a:p>
        </p:txBody>
      </p:sp>
      <p:sp>
        <p:nvSpPr>
          <p:cNvPr id="12" name="Bildplatzhalter 12">
            <a:extLst>
              <a:ext uri="{FF2B5EF4-FFF2-40B4-BE49-F238E27FC236}">
                <a16:creationId xmlns:a16="http://schemas.microsoft.com/office/drawing/2014/main" id="{CDA68794-8060-9069-AFA7-494491F10EA0}"/>
              </a:ext>
            </a:extLst>
          </p:cNvPr>
          <p:cNvSpPr>
            <a:spLocks noGrp="1"/>
          </p:cNvSpPr>
          <p:nvPr>
            <p:ph type="pic" sz="quarter" idx="15" hasCustomPrompt="1"/>
          </p:nvPr>
        </p:nvSpPr>
        <p:spPr>
          <a:xfrm>
            <a:off x="515939" y="5527734"/>
            <a:ext cx="601604" cy="601604"/>
          </a:xfrm>
        </p:spPr>
        <p:txBody>
          <a:bodyPr anchor="ctr" anchorCtr="0">
            <a:normAutofit/>
          </a:bodyPr>
          <a:lstStyle>
            <a:lvl1pPr marL="0" indent="0" algn="ctr">
              <a:buNone/>
              <a:defRPr sz="1200">
                <a:solidFill>
                  <a:schemeClr val="bg1"/>
                </a:solidFill>
              </a:defRPr>
            </a:lvl1pPr>
          </a:lstStyle>
          <a:p>
            <a:r>
              <a:rPr lang="de-DE" dirty="0"/>
              <a:t>Logo</a:t>
            </a:r>
          </a:p>
        </p:txBody>
      </p:sp>
      <p:sp>
        <p:nvSpPr>
          <p:cNvPr id="13" name="Bildplatzhalter 12">
            <a:extLst>
              <a:ext uri="{FF2B5EF4-FFF2-40B4-BE49-F238E27FC236}">
                <a16:creationId xmlns:a16="http://schemas.microsoft.com/office/drawing/2014/main" id="{2E067A61-680D-3B18-5F74-C5048E6E39AB}"/>
              </a:ext>
            </a:extLst>
          </p:cNvPr>
          <p:cNvSpPr>
            <a:spLocks noGrp="1"/>
          </p:cNvSpPr>
          <p:nvPr>
            <p:ph type="pic" sz="quarter" idx="16" hasCustomPrompt="1"/>
          </p:nvPr>
        </p:nvSpPr>
        <p:spPr>
          <a:xfrm>
            <a:off x="1275395" y="5527734"/>
            <a:ext cx="601604" cy="601604"/>
          </a:xfrm>
        </p:spPr>
        <p:txBody>
          <a:bodyPr anchor="ctr" anchorCtr="0">
            <a:normAutofit/>
          </a:bodyPr>
          <a:lstStyle>
            <a:lvl1pPr marL="0" indent="0" algn="ctr">
              <a:buNone/>
              <a:defRPr sz="1200">
                <a:solidFill>
                  <a:schemeClr val="bg1"/>
                </a:solidFill>
              </a:defRPr>
            </a:lvl1pPr>
          </a:lstStyle>
          <a:p>
            <a:r>
              <a:rPr lang="de-DE" dirty="0"/>
              <a:t>Logo</a:t>
            </a:r>
          </a:p>
        </p:txBody>
      </p:sp>
      <p:sp>
        <p:nvSpPr>
          <p:cNvPr id="14" name="Bildplatzhalter 12">
            <a:extLst>
              <a:ext uri="{FF2B5EF4-FFF2-40B4-BE49-F238E27FC236}">
                <a16:creationId xmlns:a16="http://schemas.microsoft.com/office/drawing/2014/main" id="{EA29BA68-01DF-4BCE-967C-B8470C1F0E1A}"/>
              </a:ext>
            </a:extLst>
          </p:cNvPr>
          <p:cNvSpPr>
            <a:spLocks noGrp="1"/>
          </p:cNvSpPr>
          <p:nvPr>
            <p:ph type="pic" sz="quarter" idx="17" hasCustomPrompt="1"/>
          </p:nvPr>
        </p:nvSpPr>
        <p:spPr>
          <a:xfrm>
            <a:off x="2034850" y="5527734"/>
            <a:ext cx="601604" cy="601604"/>
          </a:xfrm>
        </p:spPr>
        <p:txBody>
          <a:bodyPr anchor="ctr" anchorCtr="0">
            <a:normAutofit/>
          </a:bodyPr>
          <a:lstStyle>
            <a:lvl1pPr marL="0" indent="0" algn="ctr">
              <a:buNone/>
              <a:defRPr sz="1200">
                <a:solidFill>
                  <a:schemeClr val="bg1"/>
                </a:solidFill>
              </a:defRPr>
            </a:lvl1pPr>
          </a:lstStyle>
          <a:p>
            <a:r>
              <a:rPr lang="de-DE" dirty="0"/>
              <a:t>Logo</a:t>
            </a:r>
          </a:p>
        </p:txBody>
      </p:sp>
      <p:sp>
        <p:nvSpPr>
          <p:cNvPr id="16" name="Textplatzhalter 16">
            <a:extLst>
              <a:ext uri="{FF2B5EF4-FFF2-40B4-BE49-F238E27FC236}">
                <a16:creationId xmlns:a16="http://schemas.microsoft.com/office/drawing/2014/main" id="{51A88DA5-6FFE-92AB-2630-FC48BCCA8C17}"/>
              </a:ext>
            </a:extLst>
          </p:cNvPr>
          <p:cNvSpPr>
            <a:spLocks noGrp="1"/>
          </p:cNvSpPr>
          <p:nvPr>
            <p:ph type="body" sz="quarter" idx="18" hasCustomPrompt="1"/>
          </p:nvPr>
        </p:nvSpPr>
        <p:spPr>
          <a:xfrm>
            <a:off x="515847" y="2441272"/>
            <a:ext cx="2850206" cy="2745587"/>
          </a:xfrm>
        </p:spPr>
        <p:txBody>
          <a:bodyPr wrap="square" rIns="0" anchor="t" anchorCtr="0">
            <a:noAutofit/>
          </a:bodyPr>
          <a:lstStyle>
            <a:lvl1pPr marL="0" indent="0">
              <a:spcAft>
                <a:spcPts val="500"/>
              </a:spcAft>
              <a:buNone/>
              <a:defRPr sz="1200" b="0">
                <a:solidFill>
                  <a:schemeClr val="bg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1" name="Textplatzhalter 10">
            <a:extLst>
              <a:ext uri="{FF2B5EF4-FFF2-40B4-BE49-F238E27FC236}">
                <a16:creationId xmlns:a16="http://schemas.microsoft.com/office/drawing/2014/main" id="{F021DC64-8489-7A43-4A65-E5BFBEDC420F}"/>
              </a:ext>
            </a:extLst>
          </p:cNvPr>
          <p:cNvSpPr>
            <a:spLocks noGrp="1"/>
          </p:cNvSpPr>
          <p:nvPr>
            <p:ph type="body" sz="quarter" idx="21"/>
          </p:nvPr>
        </p:nvSpPr>
        <p:spPr>
          <a:xfrm>
            <a:off x="515937" y="6337828"/>
            <a:ext cx="11160000" cy="10800"/>
          </a:xfrm>
          <a:solidFill>
            <a:schemeClr val="bg1"/>
          </a:solidFill>
        </p:spPr>
        <p:txBody>
          <a:bodyPr>
            <a:noAutofit/>
          </a:bodyPr>
          <a:lstStyle>
            <a:lvl1pPr marL="0" indent="0">
              <a:buNone/>
              <a:defRPr sz="100">
                <a:solidFill>
                  <a:schemeClr val="tx1">
                    <a:alpha val="0"/>
                  </a:schemeClr>
                </a:solidFill>
              </a:defRPr>
            </a:lvl1pPr>
          </a:lstStyle>
          <a:p>
            <a:pPr lvl="0"/>
            <a:endParaRPr lang="en-US" dirty="0"/>
          </a:p>
        </p:txBody>
      </p:sp>
      <p:sp>
        <p:nvSpPr>
          <p:cNvPr id="15" name="Textplatzhalter 13">
            <a:extLst>
              <a:ext uri="{FF2B5EF4-FFF2-40B4-BE49-F238E27FC236}">
                <a16:creationId xmlns:a16="http://schemas.microsoft.com/office/drawing/2014/main" id="{C2AE08EB-5BC3-F850-624A-A2DC6963CBAD}"/>
              </a:ext>
            </a:extLst>
          </p:cNvPr>
          <p:cNvSpPr>
            <a:spLocks noGrp="1"/>
          </p:cNvSpPr>
          <p:nvPr>
            <p:ph type="body" sz="quarter" idx="22"/>
          </p:nvPr>
        </p:nvSpPr>
        <p:spPr>
          <a:xfrm>
            <a:off x="515938" y="6470212"/>
            <a:ext cx="1263600" cy="136800"/>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
        <p:nvSpPr>
          <p:cNvPr id="18" name="Textplatzhalter 13">
            <a:extLst>
              <a:ext uri="{FF2B5EF4-FFF2-40B4-BE49-F238E27FC236}">
                <a16:creationId xmlns:a16="http://schemas.microsoft.com/office/drawing/2014/main" id="{2B1B37A3-5BB2-5C40-70F8-C302D461D972}"/>
              </a:ext>
            </a:extLst>
          </p:cNvPr>
          <p:cNvSpPr>
            <a:spLocks noGrp="1"/>
          </p:cNvSpPr>
          <p:nvPr>
            <p:ph type="body" sz="quarter" idx="23"/>
          </p:nvPr>
        </p:nvSpPr>
        <p:spPr>
          <a:xfrm>
            <a:off x="527050" y="260350"/>
            <a:ext cx="1010495" cy="252198"/>
          </a:xfr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Tree>
    <p:extLst>
      <p:ext uri="{BB962C8B-B14F-4D97-AF65-F5344CB8AC3E}">
        <p14:creationId xmlns:p14="http://schemas.microsoft.com/office/powerpoint/2010/main" val="4185388043"/>
      </p:ext>
    </p:extLst>
  </p:cSld>
  <p:clrMapOvr>
    <a:masterClrMapping/>
  </p:clrMapOvr>
  <p:extLst>
    <p:ext uri="{DCECCB84-F9BA-43D5-87BE-67443E8EF086}">
      <p15:sldGuideLst xmlns:p15="http://schemas.microsoft.com/office/powerpoint/2012/main">
        <p15:guide id="1" orient="horz" pos="1275" userDrawn="1">
          <p15:clr>
            <a:srgbClr val="F26B43"/>
          </p15:clr>
        </p15:guide>
        <p15:guide id="2" pos="2343"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rei Bilder, Titel und Text - hell">
    <p:spTree>
      <p:nvGrpSpPr>
        <p:cNvPr id="1" name=""/>
        <p:cNvGrpSpPr/>
        <p:nvPr/>
      </p:nvGrpSpPr>
      <p:grpSpPr>
        <a:xfrm>
          <a:off x="0" y="0"/>
          <a:ext cx="0" cy="0"/>
          <a:chOff x="0" y="0"/>
          <a:chExt cx="0" cy="0"/>
        </a:xfrm>
      </p:grpSpPr>
      <p:sp>
        <p:nvSpPr>
          <p:cNvPr id="9" name="Bildplatzhalter 12">
            <a:extLst>
              <a:ext uri="{FF2B5EF4-FFF2-40B4-BE49-F238E27FC236}">
                <a16:creationId xmlns:a16="http://schemas.microsoft.com/office/drawing/2014/main" id="{96EF3638-1F75-F833-9368-6050D1ADADEF}"/>
              </a:ext>
            </a:extLst>
          </p:cNvPr>
          <p:cNvSpPr>
            <a:spLocks noGrp="1"/>
          </p:cNvSpPr>
          <p:nvPr>
            <p:ph type="pic" sz="quarter" idx="15"/>
          </p:nvPr>
        </p:nvSpPr>
        <p:spPr>
          <a:xfrm>
            <a:off x="515936" y="765176"/>
            <a:ext cx="3613937" cy="5364162"/>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10" name="Bildplatzhalter 12">
            <a:extLst>
              <a:ext uri="{FF2B5EF4-FFF2-40B4-BE49-F238E27FC236}">
                <a16:creationId xmlns:a16="http://schemas.microsoft.com/office/drawing/2014/main" id="{F7BF1890-3172-57F8-245E-D3D644C89E1B}"/>
              </a:ext>
            </a:extLst>
          </p:cNvPr>
          <p:cNvSpPr>
            <a:spLocks noGrp="1"/>
          </p:cNvSpPr>
          <p:nvPr>
            <p:ph type="pic" sz="quarter" idx="24"/>
          </p:nvPr>
        </p:nvSpPr>
        <p:spPr>
          <a:xfrm>
            <a:off x="4282908" y="765176"/>
            <a:ext cx="3613937" cy="5364162"/>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11" name="Bildplatzhalter 12">
            <a:extLst>
              <a:ext uri="{FF2B5EF4-FFF2-40B4-BE49-F238E27FC236}">
                <a16:creationId xmlns:a16="http://schemas.microsoft.com/office/drawing/2014/main" id="{D5E2E27F-664C-A95C-3A06-1764B9FACD67}"/>
              </a:ext>
            </a:extLst>
          </p:cNvPr>
          <p:cNvSpPr>
            <a:spLocks noGrp="1"/>
          </p:cNvSpPr>
          <p:nvPr>
            <p:ph type="pic" sz="quarter" idx="25"/>
          </p:nvPr>
        </p:nvSpPr>
        <p:spPr>
          <a:xfrm>
            <a:off x="8053943" y="765176"/>
            <a:ext cx="3613937" cy="5364162"/>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3" name="Textplatzhalter 12">
            <a:extLst>
              <a:ext uri="{FF2B5EF4-FFF2-40B4-BE49-F238E27FC236}">
                <a16:creationId xmlns:a16="http://schemas.microsoft.com/office/drawing/2014/main" id="{F183B21E-1C52-2ADA-4A96-2F974E1042EC}"/>
              </a:ext>
            </a:extLst>
          </p:cNvPr>
          <p:cNvSpPr>
            <a:spLocks noGrp="1"/>
          </p:cNvSpPr>
          <p:nvPr>
            <p:ph type="body" sz="quarter" idx="17"/>
          </p:nvPr>
        </p:nvSpPr>
        <p:spPr>
          <a:xfrm>
            <a:off x="515937" y="3896139"/>
            <a:ext cx="3618000" cy="2233199"/>
          </a:xfrm>
          <a:gradFill flip="none" rotWithShape="1">
            <a:gsLst>
              <a:gs pos="0">
                <a:schemeClr val="tx1"/>
              </a:gs>
              <a:gs pos="100000">
                <a:schemeClr val="tx1">
                  <a:alpha val="0"/>
                </a:schemeClr>
              </a:gs>
            </a:gsLst>
            <a:lin ang="16200000" scaled="1"/>
            <a:tileRect/>
          </a:gradFill>
        </p:spPr>
        <p:txBody>
          <a:bodyPr lIns="72000" rIns="72000" bIns="144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14" name="Textplatzhalter 12">
            <a:extLst>
              <a:ext uri="{FF2B5EF4-FFF2-40B4-BE49-F238E27FC236}">
                <a16:creationId xmlns:a16="http://schemas.microsoft.com/office/drawing/2014/main" id="{44F6D8E3-FE13-80E0-D3B6-FB4397680B2F}"/>
              </a:ext>
            </a:extLst>
          </p:cNvPr>
          <p:cNvSpPr>
            <a:spLocks noGrp="1"/>
          </p:cNvSpPr>
          <p:nvPr>
            <p:ph type="body" sz="quarter" idx="18"/>
          </p:nvPr>
        </p:nvSpPr>
        <p:spPr>
          <a:xfrm>
            <a:off x="4282908" y="3896139"/>
            <a:ext cx="3618000" cy="2233199"/>
          </a:xfrm>
          <a:gradFill flip="none" rotWithShape="1">
            <a:gsLst>
              <a:gs pos="0">
                <a:schemeClr val="tx1"/>
              </a:gs>
              <a:gs pos="100000">
                <a:schemeClr val="tx1">
                  <a:alpha val="0"/>
                </a:schemeClr>
              </a:gs>
            </a:gsLst>
            <a:lin ang="16200000" scaled="1"/>
            <a:tileRect/>
          </a:gradFill>
        </p:spPr>
        <p:txBody>
          <a:bodyPr lIns="72000" rIns="72000" bIns="144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15" name="Textplatzhalter 12">
            <a:extLst>
              <a:ext uri="{FF2B5EF4-FFF2-40B4-BE49-F238E27FC236}">
                <a16:creationId xmlns:a16="http://schemas.microsoft.com/office/drawing/2014/main" id="{079203E2-867B-AF89-1D47-5382AD539DEB}"/>
              </a:ext>
            </a:extLst>
          </p:cNvPr>
          <p:cNvSpPr>
            <a:spLocks noGrp="1"/>
          </p:cNvSpPr>
          <p:nvPr>
            <p:ph type="body" sz="quarter" idx="19"/>
          </p:nvPr>
        </p:nvSpPr>
        <p:spPr>
          <a:xfrm>
            <a:off x="8053943" y="3896139"/>
            <a:ext cx="3618000" cy="2233199"/>
          </a:xfrm>
          <a:gradFill flip="none" rotWithShape="1">
            <a:gsLst>
              <a:gs pos="0">
                <a:schemeClr val="tx1"/>
              </a:gs>
              <a:gs pos="100000">
                <a:schemeClr val="tx1">
                  <a:alpha val="0"/>
                </a:schemeClr>
              </a:gs>
            </a:gsLst>
            <a:lin ang="16200000" scaled="1"/>
            <a:tileRect/>
          </a:gradFill>
        </p:spPr>
        <p:txBody>
          <a:bodyPr lIns="72000" rIns="72000" bIns="144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2" name="Textplatzhalter 16">
            <a:extLst>
              <a:ext uri="{FF2B5EF4-FFF2-40B4-BE49-F238E27FC236}">
                <a16:creationId xmlns:a16="http://schemas.microsoft.com/office/drawing/2014/main" id="{DD656ABB-A240-C506-9722-1AA18F0E99EC}"/>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14801322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rei Bilder, Titel und Text - dunkel">
    <p:bg>
      <p:bgRef idx="1001">
        <a:schemeClr val="bg1"/>
      </p:bgRef>
    </p:bg>
    <p:spTree>
      <p:nvGrpSpPr>
        <p:cNvPr id="1" name=""/>
        <p:cNvGrpSpPr/>
        <p:nvPr/>
      </p:nvGrpSpPr>
      <p:grpSpPr>
        <a:xfrm>
          <a:off x="0" y="0"/>
          <a:ext cx="0" cy="0"/>
          <a:chOff x="0" y="0"/>
          <a:chExt cx="0" cy="0"/>
        </a:xfrm>
      </p:grpSpPr>
      <p:sp>
        <p:nvSpPr>
          <p:cNvPr id="9" name="Bildplatzhalter 12">
            <a:extLst>
              <a:ext uri="{FF2B5EF4-FFF2-40B4-BE49-F238E27FC236}">
                <a16:creationId xmlns:a16="http://schemas.microsoft.com/office/drawing/2014/main" id="{C04040C2-2BE1-4E78-00B7-E16AA6B6A8EF}"/>
              </a:ext>
            </a:extLst>
          </p:cNvPr>
          <p:cNvSpPr>
            <a:spLocks noGrp="1"/>
          </p:cNvSpPr>
          <p:nvPr>
            <p:ph type="pic" sz="quarter" idx="15"/>
          </p:nvPr>
        </p:nvSpPr>
        <p:spPr>
          <a:xfrm>
            <a:off x="515936" y="765176"/>
            <a:ext cx="3613937" cy="5364162"/>
          </a:xfrm>
          <a:noFill/>
        </p:spPr>
        <p:txBody>
          <a:bodyPr anchor="ctr" anchorCtr="0">
            <a:normAutofit/>
          </a:bodyPr>
          <a:lstStyle>
            <a:lvl1pPr marL="0" indent="0" algn="ctr">
              <a:buNone/>
              <a:defRPr sz="1200">
                <a:solidFill>
                  <a:schemeClr val="tx1"/>
                </a:solidFill>
              </a:defRPr>
            </a:lvl1pPr>
          </a:lstStyle>
          <a:p>
            <a:endParaRPr lang="de-DE"/>
          </a:p>
        </p:txBody>
      </p:sp>
      <p:sp>
        <p:nvSpPr>
          <p:cNvPr id="12" name="Bildplatzhalter 12">
            <a:extLst>
              <a:ext uri="{FF2B5EF4-FFF2-40B4-BE49-F238E27FC236}">
                <a16:creationId xmlns:a16="http://schemas.microsoft.com/office/drawing/2014/main" id="{ED3AA220-8286-34F4-8315-89DAF50A991F}"/>
              </a:ext>
            </a:extLst>
          </p:cNvPr>
          <p:cNvSpPr>
            <a:spLocks noGrp="1"/>
          </p:cNvSpPr>
          <p:nvPr>
            <p:ph type="pic" sz="quarter" idx="24"/>
          </p:nvPr>
        </p:nvSpPr>
        <p:spPr>
          <a:xfrm>
            <a:off x="4282908" y="765176"/>
            <a:ext cx="3613937" cy="5364162"/>
          </a:xfrm>
          <a:noFill/>
        </p:spPr>
        <p:txBody>
          <a:bodyPr anchor="ctr" anchorCtr="0">
            <a:normAutofit/>
          </a:bodyPr>
          <a:lstStyle>
            <a:lvl1pPr marL="0" indent="0" algn="ctr">
              <a:buNone/>
              <a:defRPr sz="1200">
                <a:solidFill>
                  <a:schemeClr val="tx1"/>
                </a:solidFill>
              </a:defRPr>
            </a:lvl1pPr>
          </a:lstStyle>
          <a:p>
            <a:endParaRPr lang="de-DE"/>
          </a:p>
        </p:txBody>
      </p:sp>
      <p:sp>
        <p:nvSpPr>
          <p:cNvPr id="13" name="Bildplatzhalter 12">
            <a:extLst>
              <a:ext uri="{FF2B5EF4-FFF2-40B4-BE49-F238E27FC236}">
                <a16:creationId xmlns:a16="http://schemas.microsoft.com/office/drawing/2014/main" id="{35B67249-0F4B-255A-2263-FA79ACFC866B}"/>
              </a:ext>
            </a:extLst>
          </p:cNvPr>
          <p:cNvSpPr>
            <a:spLocks noGrp="1"/>
          </p:cNvSpPr>
          <p:nvPr>
            <p:ph type="pic" sz="quarter" idx="25"/>
          </p:nvPr>
        </p:nvSpPr>
        <p:spPr>
          <a:xfrm>
            <a:off x="8053943" y="765176"/>
            <a:ext cx="3613937" cy="5364162"/>
          </a:xfrm>
          <a:noFill/>
        </p:spPr>
        <p:txBody>
          <a:bodyPr anchor="ctr" anchorCtr="0">
            <a:norm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2" name="Grafik 1">
            <a:extLst>
              <a:ext uri="{FF2B5EF4-FFF2-40B4-BE49-F238E27FC236}">
                <a16:creationId xmlns:a16="http://schemas.microsoft.com/office/drawing/2014/main" id="{C46DA280-3586-41DF-FEA4-4D3248C98F4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492E683F-C053-877A-812B-616D65058A6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6" name="Textplatzhalter 12">
            <a:extLst>
              <a:ext uri="{FF2B5EF4-FFF2-40B4-BE49-F238E27FC236}">
                <a16:creationId xmlns:a16="http://schemas.microsoft.com/office/drawing/2014/main" id="{90D4D041-C9C2-2AFA-5684-E38A8D067F90}"/>
              </a:ext>
            </a:extLst>
          </p:cNvPr>
          <p:cNvSpPr>
            <a:spLocks noGrp="1"/>
          </p:cNvSpPr>
          <p:nvPr>
            <p:ph type="body" sz="quarter" idx="17"/>
          </p:nvPr>
        </p:nvSpPr>
        <p:spPr>
          <a:xfrm>
            <a:off x="515937" y="3896139"/>
            <a:ext cx="3618000" cy="2233199"/>
          </a:xfrm>
          <a:gradFill flip="none" rotWithShape="1">
            <a:gsLst>
              <a:gs pos="0">
                <a:schemeClr val="bg1"/>
              </a:gs>
              <a:gs pos="100000">
                <a:schemeClr val="bg1">
                  <a:alpha val="0"/>
                </a:schemeClr>
              </a:gs>
            </a:gsLst>
            <a:lin ang="16200000" scaled="1"/>
            <a:tileRect/>
          </a:gradFill>
        </p:spPr>
        <p:txBody>
          <a:bodyPr lIns="72000" rIns="72000" bIns="144000" anchor="b" anchorCtr="0">
            <a:noAutofit/>
          </a:bodyPr>
          <a:lstStyle>
            <a:lvl1pPr marL="0" indent="0" algn="ctr">
              <a:buNone/>
              <a:defRPr sz="1400">
                <a:solidFill>
                  <a:schemeClr val="tx1"/>
                </a:solidFill>
              </a:defRPr>
            </a:lvl1pPr>
            <a:lvl2pPr marL="342000" indent="0">
              <a:buNone/>
              <a:defRPr/>
            </a:lvl2pPr>
          </a:lstStyle>
          <a:p>
            <a:pPr lvl="0"/>
            <a:endParaRPr lang="de-DE" dirty="0"/>
          </a:p>
        </p:txBody>
      </p:sp>
      <p:sp>
        <p:nvSpPr>
          <p:cNvPr id="17" name="Textplatzhalter 12">
            <a:extLst>
              <a:ext uri="{FF2B5EF4-FFF2-40B4-BE49-F238E27FC236}">
                <a16:creationId xmlns:a16="http://schemas.microsoft.com/office/drawing/2014/main" id="{75EA9BDC-4717-7CB7-6BB9-9A42E31B436C}"/>
              </a:ext>
            </a:extLst>
          </p:cNvPr>
          <p:cNvSpPr>
            <a:spLocks noGrp="1"/>
          </p:cNvSpPr>
          <p:nvPr>
            <p:ph type="body" sz="quarter" idx="18"/>
          </p:nvPr>
        </p:nvSpPr>
        <p:spPr>
          <a:xfrm>
            <a:off x="4282908" y="3896139"/>
            <a:ext cx="3618000" cy="2233199"/>
          </a:xfrm>
          <a:gradFill flip="none" rotWithShape="1">
            <a:gsLst>
              <a:gs pos="0">
                <a:schemeClr val="bg1"/>
              </a:gs>
              <a:gs pos="100000">
                <a:schemeClr val="bg1">
                  <a:alpha val="0"/>
                </a:schemeClr>
              </a:gs>
            </a:gsLst>
            <a:lin ang="16200000" scaled="1"/>
            <a:tileRect/>
          </a:gradFill>
        </p:spPr>
        <p:txBody>
          <a:bodyPr lIns="72000" rIns="72000" bIns="144000" anchor="b" anchorCtr="0">
            <a:noAutofit/>
          </a:bodyPr>
          <a:lstStyle>
            <a:lvl1pPr marL="0" indent="0" algn="ctr">
              <a:buNone/>
              <a:defRPr sz="1400">
                <a:solidFill>
                  <a:schemeClr val="tx1"/>
                </a:solidFill>
              </a:defRPr>
            </a:lvl1pPr>
            <a:lvl2pPr marL="342000" indent="0">
              <a:buNone/>
              <a:defRPr/>
            </a:lvl2pPr>
          </a:lstStyle>
          <a:p>
            <a:pPr lvl="0"/>
            <a:endParaRPr lang="de-DE" dirty="0"/>
          </a:p>
        </p:txBody>
      </p:sp>
      <p:sp>
        <p:nvSpPr>
          <p:cNvPr id="18" name="Textplatzhalter 12">
            <a:extLst>
              <a:ext uri="{FF2B5EF4-FFF2-40B4-BE49-F238E27FC236}">
                <a16:creationId xmlns:a16="http://schemas.microsoft.com/office/drawing/2014/main" id="{44386594-3A33-09B1-8FAC-3FA0E682BE39}"/>
              </a:ext>
            </a:extLst>
          </p:cNvPr>
          <p:cNvSpPr>
            <a:spLocks noGrp="1"/>
          </p:cNvSpPr>
          <p:nvPr>
            <p:ph type="body" sz="quarter" idx="19"/>
          </p:nvPr>
        </p:nvSpPr>
        <p:spPr>
          <a:xfrm>
            <a:off x="8053943" y="3896139"/>
            <a:ext cx="3618000" cy="2233199"/>
          </a:xfrm>
          <a:gradFill flip="none" rotWithShape="1">
            <a:gsLst>
              <a:gs pos="0">
                <a:schemeClr val="bg1"/>
              </a:gs>
              <a:gs pos="100000">
                <a:schemeClr val="bg1">
                  <a:alpha val="0"/>
                </a:schemeClr>
              </a:gs>
            </a:gsLst>
            <a:lin ang="16200000" scaled="1"/>
            <a:tileRect/>
          </a:gradFill>
        </p:spPr>
        <p:txBody>
          <a:bodyPr lIns="72000" rIns="72000" bIns="144000" anchor="b" anchorCtr="0">
            <a:noAutofit/>
          </a:bodyPr>
          <a:lstStyle>
            <a:lvl1pPr marL="0" indent="0" algn="ctr">
              <a:buNone/>
              <a:defRPr sz="1400">
                <a:solidFill>
                  <a:schemeClr val="tx1"/>
                </a:solidFill>
              </a:defRPr>
            </a:lvl1pPr>
            <a:lvl2pPr marL="342000" indent="0">
              <a:buNone/>
              <a:defRPr/>
            </a:lvl2pPr>
          </a:lstStyle>
          <a:p>
            <a:pPr lvl="0"/>
            <a:endParaRPr lang="de-DE" dirty="0"/>
          </a:p>
        </p:txBody>
      </p:sp>
      <p:sp>
        <p:nvSpPr>
          <p:cNvPr id="8" name="Textplatzhalter 16">
            <a:extLst>
              <a:ext uri="{FF2B5EF4-FFF2-40B4-BE49-F238E27FC236}">
                <a16:creationId xmlns:a16="http://schemas.microsoft.com/office/drawing/2014/main" id="{9249B131-1649-C3CA-A5D7-19FD1C1949D6}"/>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603135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rei Bilder vollflächig, Titel und Text">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6E1D2AA7-BE83-3EFE-A1CE-79DCFF9DE83D}"/>
              </a:ext>
            </a:extLst>
          </p:cNvPr>
          <p:cNvSpPr>
            <a:spLocks noGrp="1"/>
          </p:cNvSpPr>
          <p:nvPr>
            <p:ph type="pic" sz="quarter" idx="14"/>
          </p:nvPr>
        </p:nvSpPr>
        <p:spPr>
          <a:xfrm>
            <a:off x="8127601" y="0"/>
            <a:ext cx="4064399" cy="6858000"/>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10" name="Bildplatzhalter 12">
            <a:extLst>
              <a:ext uri="{FF2B5EF4-FFF2-40B4-BE49-F238E27FC236}">
                <a16:creationId xmlns:a16="http://schemas.microsoft.com/office/drawing/2014/main" id="{B1A41B96-BB34-C70F-27DD-C259130922C8}"/>
              </a:ext>
            </a:extLst>
          </p:cNvPr>
          <p:cNvSpPr>
            <a:spLocks noGrp="1"/>
          </p:cNvSpPr>
          <p:nvPr>
            <p:ph type="pic" sz="quarter" idx="15"/>
          </p:nvPr>
        </p:nvSpPr>
        <p:spPr>
          <a:xfrm>
            <a:off x="0" y="0"/>
            <a:ext cx="4064399" cy="6858000"/>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11" name="Bildplatzhalter 12">
            <a:extLst>
              <a:ext uri="{FF2B5EF4-FFF2-40B4-BE49-F238E27FC236}">
                <a16:creationId xmlns:a16="http://schemas.microsoft.com/office/drawing/2014/main" id="{C01E057A-782A-F2AD-B196-DF3B682FD02D}"/>
              </a:ext>
            </a:extLst>
          </p:cNvPr>
          <p:cNvSpPr>
            <a:spLocks noGrp="1"/>
          </p:cNvSpPr>
          <p:nvPr>
            <p:ph type="pic" sz="quarter" idx="16"/>
          </p:nvPr>
        </p:nvSpPr>
        <p:spPr>
          <a:xfrm>
            <a:off x="4063800" y="0"/>
            <a:ext cx="4064399" cy="6858000"/>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13" name="Textplatzhalter 12">
            <a:extLst>
              <a:ext uri="{FF2B5EF4-FFF2-40B4-BE49-F238E27FC236}">
                <a16:creationId xmlns:a16="http://schemas.microsoft.com/office/drawing/2014/main" id="{F183B21E-1C52-2ADA-4A96-2F974E1042EC}"/>
              </a:ext>
            </a:extLst>
          </p:cNvPr>
          <p:cNvSpPr>
            <a:spLocks noGrp="1"/>
          </p:cNvSpPr>
          <p:nvPr>
            <p:ph type="body" sz="quarter" idx="17"/>
          </p:nvPr>
        </p:nvSpPr>
        <p:spPr>
          <a:xfrm>
            <a:off x="0" y="3896139"/>
            <a:ext cx="4064399" cy="2961861"/>
          </a:xfrm>
          <a:gradFill flip="none" rotWithShape="1">
            <a:gsLst>
              <a:gs pos="0">
                <a:schemeClr val="tx1"/>
              </a:gs>
              <a:gs pos="100000">
                <a:schemeClr val="tx1">
                  <a:alpha val="0"/>
                </a:schemeClr>
              </a:gs>
            </a:gsLst>
            <a:lin ang="16200000" scaled="1"/>
            <a:tileRect/>
          </a:gradFill>
        </p:spPr>
        <p:txBody>
          <a:bodyPr lIns="72000" rIns="72000" bIns="936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14" name="Textplatzhalter 12">
            <a:extLst>
              <a:ext uri="{FF2B5EF4-FFF2-40B4-BE49-F238E27FC236}">
                <a16:creationId xmlns:a16="http://schemas.microsoft.com/office/drawing/2014/main" id="{44F6D8E3-FE13-80E0-D3B6-FB4397680B2F}"/>
              </a:ext>
            </a:extLst>
          </p:cNvPr>
          <p:cNvSpPr>
            <a:spLocks noGrp="1"/>
          </p:cNvSpPr>
          <p:nvPr>
            <p:ph type="body" sz="quarter" idx="18"/>
          </p:nvPr>
        </p:nvSpPr>
        <p:spPr>
          <a:xfrm>
            <a:off x="4063800" y="3896139"/>
            <a:ext cx="4064399" cy="2961861"/>
          </a:xfrm>
          <a:gradFill flip="none" rotWithShape="1">
            <a:gsLst>
              <a:gs pos="0">
                <a:schemeClr val="tx1"/>
              </a:gs>
              <a:gs pos="100000">
                <a:schemeClr val="tx1">
                  <a:alpha val="0"/>
                </a:schemeClr>
              </a:gs>
            </a:gsLst>
            <a:lin ang="16200000" scaled="1"/>
            <a:tileRect/>
          </a:gradFill>
        </p:spPr>
        <p:txBody>
          <a:bodyPr lIns="72000" rIns="72000" bIns="936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15" name="Textplatzhalter 12">
            <a:extLst>
              <a:ext uri="{FF2B5EF4-FFF2-40B4-BE49-F238E27FC236}">
                <a16:creationId xmlns:a16="http://schemas.microsoft.com/office/drawing/2014/main" id="{079203E2-867B-AF89-1D47-5382AD539DEB}"/>
              </a:ext>
            </a:extLst>
          </p:cNvPr>
          <p:cNvSpPr>
            <a:spLocks noGrp="1"/>
          </p:cNvSpPr>
          <p:nvPr>
            <p:ph type="body" sz="quarter" idx="19"/>
          </p:nvPr>
        </p:nvSpPr>
        <p:spPr>
          <a:xfrm>
            <a:off x="8127601" y="3896139"/>
            <a:ext cx="4064399" cy="2961861"/>
          </a:xfrm>
          <a:gradFill flip="none" rotWithShape="1">
            <a:gsLst>
              <a:gs pos="0">
                <a:schemeClr val="tx1"/>
              </a:gs>
              <a:gs pos="100000">
                <a:schemeClr val="tx1">
                  <a:alpha val="0"/>
                </a:schemeClr>
              </a:gs>
            </a:gsLst>
            <a:lin ang="16200000" scaled="1"/>
            <a:tileRect/>
          </a:gradFill>
        </p:spPr>
        <p:txBody>
          <a:bodyPr lIns="72000" rIns="72000" bIns="936000" anchor="b" anchorCtr="0">
            <a:noAutofit/>
          </a:bodyPr>
          <a:lstStyle>
            <a:lvl1pPr marL="0" indent="0" algn="ctr">
              <a:buNone/>
              <a:defRPr sz="1400">
                <a:solidFill>
                  <a:schemeClr val="bg1"/>
                </a:solidFill>
              </a:defRPr>
            </a:lvl1pPr>
            <a:lvl2pPr marL="342000" indent="0">
              <a:buNone/>
              <a:defRPr/>
            </a:lvl2pPr>
          </a:lstStyle>
          <a:p>
            <a:pPr lvl="0"/>
            <a:endParaRPr lang="de-DE" dirty="0"/>
          </a:p>
        </p:txBody>
      </p:sp>
      <p:sp>
        <p:nvSpPr>
          <p:cNvPr id="6" name="Titel 1">
            <a:extLst>
              <a:ext uri="{FF2B5EF4-FFF2-40B4-BE49-F238E27FC236}">
                <a16:creationId xmlns:a16="http://schemas.microsoft.com/office/drawing/2014/main" id="{44895405-904B-D7C2-35B3-1FC00A424469}"/>
              </a:ext>
            </a:extLst>
          </p:cNvPr>
          <p:cNvSpPr>
            <a:spLocks noGrp="1"/>
          </p:cNvSpPr>
          <p:nvPr>
            <p:ph type="title"/>
          </p:nvPr>
        </p:nvSpPr>
        <p:spPr>
          <a:xfrm>
            <a:off x="515846" y="765174"/>
            <a:ext cx="3208015" cy="1052739"/>
          </a:xfrm>
        </p:spPr>
        <p:txBody>
          <a:bodyPr anchor="t" anchorCtr="0">
            <a:noAutofit/>
          </a:bodyPr>
          <a:lstStyle>
            <a:lvl1pPr>
              <a:defRPr sz="2400">
                <a:solidFill>
                  <a:schemeClr val="bg1"/>
                </a:solidFill>
              </a:defRPr>
            </a:lvl1pPr>
          </a:lstStyle>
          <a:p>
            <a:endParaRPr lang="de-DE" dirty="0"/>
          </a:p>
        </p:txBody>
      </p:sp>
      <p:sp>
        <p:nvSpPr>
          <p:cNvPr id="8" name="Textplatzhalter 10">
            <a:extLst>
              <a:ext uri="{FF2B5EF4-FFF2-40B4-BE49-F238E27FC236}">
                <a16:creationId xmlns:a16="http://schemas.microsoft.com/office/drawing/2014/main" id="{BF5339C8-6DAB-465E-3430-2B693E16E31A}"/>
              </a:ext>
            </a:extLst>
          </p:cNvPr>
          <p:cNvSpPr>
            <a:spLocks noGrp="1"/>
          </p:cNvSpPr>
          <p:nvPr>
            <p:ph type="body" sz="quarter" idx="20"/>
          </p:nvPr>
        </p:nvSpPr>
        <p:spPr>
          <a:xfrm>
            <a:off x="515937" y="6337828"/>
            <a:ext cx="11160000" cy="10800"/>
          </a:xfrm>
          <a:solidFill>
            <a:schemeClr val="bg1"/>
          </a:solidFill>
        </p:spPr>
        <p:txBody>
          <a:bodyPr>
            <a:noAutofit/>
          </a:bodyPr>
          <a:lstStyle>
            <a:lvl1pPr marL="0" indent="0">
              <a:buNone/>
              <a:defRPr sz="100">
                <a:solidFill>
                  <a:schemeClr val="tx1">
                    <a:alpha val="0"/>
                  </a:schemeClr>
                </a:solidFill>
              </a:defRPr>
            </a:lvl1pPr>
          </a:lstStyle>
          <a:p>
            <a:pPr lvl="0"/>
            <a:endParaRPr lang="en-US" dirty="0"/>
          </a:p>
        </p:txBody>
      </p:sp>
      <p:sp>
        <p:nvSpPr>
          <p:cNvPr id="9" name="Textplatzhalter 13">
            <a:extLst>
              <a:ext uri="{FF2B5EF4-FFF2-40B4-BE49-F238E27FC236}">
                <a16:creationId xmlns:a16="http://schemas.microsoft.com/office/drawing/2014/main" id="{60BAB233-E6E0-9C08-5FC2-55FD87627CE5}"/>
              </a:ext>
            </a:extLst>
          </p:cNvPr>
          <p:cNvSpPr>
            <a:spLocks noGrp="1"/>
          </p:cNvSpPr>
          <p:nvPr>
            <p:ph type="body" sz="quarter" idx="21"/>
          </p:nvPr>
        </p:nvSpPr>
        <p:spPr>
          <a:xfrm>
            <a:off x="515938" y="6470212"/>
            <a:ext cx="1263600" cy="136800"/>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
        <p:nvSpPr>
          <p:cNvPr id="12" name="Textplatzhalter 13">
            <a:extLst>
              <a:ext uri="{FF2B5EF4-FFF2-40B4-BE49-F238E27FC236}">
                <a16:creationId xmlns:a16="http://schemas.microsoft.com/office/drawing/2014/main" id="{8DB052B2-050C-9B90-3CBA-6848530AE611}"/>
              </a:ext>
            </a:extLst>
          </p:cNvPr>
          <p:cNvSpPr>
            <a:spLocks noGrp="1"/>
          </p:cNvSpPr>
          <p:nvPr>
            <p:ph type="body" sz="quarter" idx="22"/>
          </p:nvPr>
        </p:nvSpPr>
        <p:spPr>
          <a:xfrm>
            <a:off x="527050" y="260350"/>
            <a:ext cx="1010495" cy="252198"/>
          </a:xfr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lvl1pPr>
              <a:defRPr>
                <a:solidFill>
                  <a:schemeClr val="bg1"/>
                </a:solidFill>
              </a:defRPr>
            </a:lvl1p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lvl1pPr>
              <a:defRPr>
                <a:solidFill>
                  <a:schemeClr val="bg1"/>
                </a:solidFill>
              </a:defRPr>
            </a:lvl1p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lvl1pPr>
              <a:defRPr>
                <a:solidFill>
                  <a:schemeClr val="bg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829482038"/>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3FF20BE-FC8C-86AD-BF69-7E72D924E03C}"/>
              </a:ext>
            </a:extLst>
          </p:cNvPr>
          <p:cNvSpPr/>
          <p:nvPr userDrawn="1"/>
        </p:nvSpPr>
        <p:spPr>
          <a:xfrm>
            <a:off x="5556250" y="0"/>
            <a:ext cx="663575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B13B5C82-8541-9949-CCF0-7CCFD86CF3B5}"/>
              </a:ext>
            </a:extLst>
          </p:cNvPr>
          <p:cNvSpPr>
            <a:spLocks noGrp="1"/>
          </p:cNvSpPr>
          <p:nvPr>
            <p:ph type="title"/>
          </p:nvPr>
        </p:nvSpPr>
        <p:spPr>
          <a:xfrm>
            <a:off x="7175500" y="765175"/>
            <a:ext cx="4500563" cy="1243577"/>
          </a:xfrm>
        </p:spPr>
        <p:txBody>
          <a:bodyPr wrap="square" anchor="b" anchorCtr="0">
            <a:noAutofit/>
          </a:bodyPr>
          <a:lstStyle>
            <a:lvl1pPr>
              <a:defRPr sz="2400">
                <a:solidFill>
                  <a:schemeClr val="bg1"/>
                </a:solidFill>
              </a:defRPr>
            </a:lvl1pPr>
          </a:lstStyle>
          <a:p>
            <a:endParaRPr lang="de-DE" dirty="0"/>
          </a:p>
        </p:txBody>
      </p:sp>
      <p:sp>
        <p:nvSpPr>
          <p:cNvPr id="3" name="Datumsplatzhalter 2">
            <a:extLst>
              <a:ext uri="{FF2B5EF4-FFF2-40B4-BE49-F238E27FC236}">
                <a16:creationId xmlns:a16="http://schemas.microsoft.com/office/drawing/2014/main" id="{9AADEB9F-7E30-583A-04CC-0757B4E0AAE9}"/>
              </a:ext>
            </a:extLst>
          </p:cNvPr>
          <p:cNvSpPr>
            <a:spLocks noGrp="1"/>
          </p:cNvSpPr>
          <p:nvPr>
            <p:ph type="dt" sz="half" idx="10"/>
          </p:nvPr>
        </p:nvSpPr>
        <p:spPr/>
        <p:txBody>
          <a:bodyPr/>
          <a:lstStyle>
            <a:lvl1pPr>
              <a:defRPr>
                <a:solidFill>
                  <a:schemeClr val="bg1"/>
                </a:solidFill>
              </a:defRPr>
            </a:lvl1pPr>
          </a:lstStyle>
          <a:p>
            <a:r>
              <a:rPr lang="de-DE"/>
              <a:t>02.08.2024</a:t>
            </a:r>
            <a:endParaRPr lang="de-DE" dirty="0"/>
          </a:p>
        </p:txBody>
      </p:sp>
      <p:sp>
        <p:nvSpPr>
          <p:cNvPr id="4" name="Fußzeilenplatzhalter 3">
            <a:extLst>
              <a:ext uri="{FF2B5EF4-FFF2-40B4-BE49-F238E27FC236}">
                <a16:creationId xmlns:a16="http://schemas.microsoft.com/office/drawing/2014/main" id="{C2227D2A-4D57-247A-7E9E-E17608002257}"/>
              </a:ext>
            </a:extLst>
          </p:cNvPr>
          <p:cNvSpPr>
            <a:spLocks noGrp="1"/>
          </p:cNvSpPr>
          <p:nvPr>
            <p:ph type="ftr" sz="quarter" idx="11"/>
          </p:nvPr>
        </p:nvSpPr>
        <p:spPr/>
        <p:txBody>
          <a:bodyPr/>
          <a:lstStyle>
            <a:lvl1pPr>
              <a:defRPr>
                <a:solidFill>
                  <a:schemeClr val="bg1"/>
                </a:solidFill>
              </a:defRPr>
            </a:lvl1pPr>
          </a:lstStyle>
          <a:p>
            <a:r>
              <a:rPr lang="de-DE"/>
              <a:t>PowerPoint Folienmaster</a:t>
            </a:r>
            <a:endParaRPr lang="de-DE" dirty="0"/>
          </a:p>
        </p:txBody>
      </p:sp>
      <p:sp>
        <p:nvSpPr>
          <p:cNvPr id="5" name="Foliennummernplatzhalter 4">
            <a:extLst>
              <a:ext uri="{FF2B5EF4-FFF2-40B4-BE49-F238E27FC236}">
                <a16:creationId xmlns:a16="http://schemas.microsoft.com/office/drawing/2014/main" id="{9B46DFA7-37E3-58F7-DA1A-BCCE1DE91A8F}"/>
              </a:ext>
            </a:extLst>
          </p:cNvPr>
          <p:cNvSpPr>
            <a:spLocks noGrp="1"/>
          </p:cNvSpPr>
          <p:nvPr>
            <p:ph type="sldNum" sz="quarter" idx="12"/>
          </p:nvPr>
        </p:nvSpPr>
        <p:spPr/>
        <p:txBody>
          <a:bodyPr/>
          <a:lstStyle>
            <a:lvl1pPr>
              <a:defRPr>
                <a:solidFill>
                  <a:schemeClr val="bg1"/>
                </a:solidFill>
              </a:defRPr>
            </a:lvl1pPr>
          </a:lstStyle>
          <a:p>
            <a:fld id="{E84006A6-0E15-460A-BCD4-002C20F8AC9F}" type="slidenum">
              <a:rPr lang="de-DE" smtClean="0"/>
              <a:pPr/>
              <a:t>‹Nr.›</a:t>
            </a:fld>
            <a:endParaRPr lang="de-DE"/>
          </a:p>
        </p:txBody>
      </p:sp>
      <p:cxnSp>
        <p:nvCxnSpPr>
          <p:cNvPr id="9" name="Gerade Verbindung 8">
            <a:extLst>
              <a:ext uri="{FF2B5EF4-FFF2-40B4-BE49-F238E27FC236}">
                <a16:creationId xmlns:a16="http://schemas.microsoft.com/office/drawing/2014/main" id="{F85A80F1-3E56-C254-80C9-CDE09AA66631}"/>
              </a:ext>
            </a:extLst>
          </p:cNvPr>
          <p:cNvCxnSpPr>
            <a:cxnSpLocks/>
          </p:cNvCxnSpPr>
          <p:nvPr userDrawn="1"/>
        </p:nvCxnSpPr>
        <p:spPr>
          <a:xfrm>
            <a:off x="5556250"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Inhaltsplatzhalter 7">
            <a:extLst>
              <a:ext uri="{FF2B5EF4-FFF2-40B4-BE49-F238E27FC236}">
                <a16:creationId xmlns:a16="http://schemas.microsoft.com/office/drawing/2014/main" id="{686CB777-C7E3-D35A-C834-E96709866686}"/>
              </a:ext>
            </a:extLst>
          </p:cNvPr>
          <p:cNvSpPr>
            <a:spLocks noGrp="1"/>
          </p:cNvSpPr>
          <p:nvPr>
            <p:ph sz="quarter" idx="23"/>
          </p:nvPr>
        </p:nvSpPr>
        <p:spPr>
          <a:xfrm>
            <a:off x="515938" y="765176"/>
            <a:ext cx="6119812" cy="536416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Inhaltsplatzhalter 7">
            <a:extLst>
              <a:ext uri="{FF2B5EF4-FFF2-40B4-BE49-F238E27FC236}">
                <a16:creationId xmlns:a16="http://schemas.microsoft.com/office/drawing/2014/main" id="{F3C14DB7-56CB-50DE-D425-1868A5777412}"/>
              </a:ext>
            </a:extLst>
          </p:cNvPr>
          <p:cNvSpPr>
            <a:spLocks noGrp="1"/>
          </p:cNvSpPr>
          <p:nvPr>
            <p:ph sz="quarter" idx="24"/>
          </p:nvPr>
        </p:nvSpPr>
        <p:spPr>
          <a:xfrm>
            <a:off x="7175501" y="2127210"/>
            <a:ext cx="4500474" cy="400212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5041159"/>
      </p:ext>
    </p:extLst>
  </p:cSld>
  <p:clrMapOvr>
    <a:masterClrMapping/>
  </p:clrMapOvr>
  <p:extLst>
    <p:ext uri="{DCECCB84-F9BA-43D5-87BE-67443E8EF086}">
      <p15:sldGuideLst xmlns:p15="http://schemas.microsoft.com/office/powerpoint/2012/main">
        <p15:guide id="1" pos="4180" userDrawn="1">
          <p15:clr>
            <a:srgbClr val="FFFFFF"/>
          </p15:clr>
        </p15:guide>
        <p15:guide id="2" pos="3500" userDrawn="1">
          <p15:clr>
            <a:srgbClr val="F26B43"/>
          </p15:clr>
        </p15:guide>
        <p15:guide id="3" pos="4520" userDrawn="1">
          <p15:clr>
            <a:srgbClr val="FFFF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und Stichpunk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3FF20BE-FC8C-86AD-BF69-7E72D924E03C}"/>
              </a:ext>
            </a:extLst>
          </p:cNvPr>
          <p:cNvSpPr/>
          <p:nvPr userDrawn="1"/>
        </p:nvSpPr>
        <p:spPr>
          <a:xfrm>
            <a:off x="0" y="0"/>
            <a:ext cx="663575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B13B5C82-8541-9949-CCF0-7CCFD86CF3B5}"/>
              </a:ext>
            </a:extLst>
          </p:cNvPr>
          <p:cNvSpPr>
            <a:spLocks noGrp="1"/>
          </p:cNvSpPr>
          <p:nvPr>
            <p:ph type="title"/>
          </p:nvPr>
        </p:nvSpPr>
        <p:spPr>
          <a:xfrm>
            <a:off x="527843" y="765175"/>
            <a:ext cx="5568157" cy="1243577"/>
          </a:xfrm>
        </p:spPr>
        <p:txBody>
          <a:bodyPr wrap="square" anchor="b" anchorCtr="0">
            <a:noAutofit/>
          </a:bodyPr>
          <a:lstStyle>
            <a:lvl1pPr>
              <a:defRPr sz="2400">
                <a:solidFill>
                  <a:schemeClr val="bg1"/>
                </a:solidFill>
              </a:defRPr>
            </a:lvl1pPr>
          </a:lstStyle>
          <a:p>
            <a:endParaRPr lang="de-DE" dirty="0"/>
          </a:p>
        </p:txBody>
      </p:sp>
      <p:cxnSp>
        <p:nvCxnSpPr>
          <p:cNvPr id="9" name="Gerade Verbindung 8">
            <a:extLst>
              <a:ext uri="{FF2B5EF4-FFF2-40B4-BE49-F238E27FC236}">
                <a16:creationId xmlns:a16="http://schemas.microsoft.com/office/drawing/2014/main" id="{F85A80F1-3E56-C254-80C9-CDE09AA66631}"/>
              </a:ext>
            </a:extLst>
          </p:cNvPr>
          <p:cNvCxnSpPr>
            <a:cxnSpLocks/>
          </p:cNvCxnSpPr>
          <p:nvPr userDrawn="1"/>
        </p:nvCxnSpPr>
        <p:spPr>
          <a:xfrm>
            <a:off x="515937"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37AE5257-3166-011C-C257-E900CB2C757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12" name="Grafik 11">
            <a:extLst>
              <a:ext uri="{FF2B5EF4-FFF2-40B4-BE49-F238E27FC236}">
                <a16:creationId xmlns:a16="http://schemas.microsoft.com/office/drawing/2014/main" id="{467A90B4-1692-7885-5265-DEBB0766365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6" name="Datumsplatzhalter 8">
            <a:extLst>
              <a:ext uri="{FF2B5EF4-FFF2-40B4-BE49-F238E27FC236}">
                <a16:creationId xmlns:a16="http://schemas.microsoft.com/office/drawing/2014/main" id="{B7A94485-435F-BDFE-B21E-78B79A781C92}"/>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0" name="Fußzeilenplatzhalter 9">
            <a:extLst>
              <a:ext uri="{FF2B5EF4-FFF2-40B4-BE49-F238E27FC236}">
                <a16:creationId xmlns:a16="http://schemas.microsoft.com/office/drawing/2014/main" id="{1BEF1FE9-6886-0485-592B-4CDFE04CB8CD}"/>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3" name="Foliennummernplatzhalter 10">
            <a:extLst>
              <a:ext uri="{FF2B5EF4-FFF2-40B4-BE49-F238E27FC236}">
                <a16:creationId xmlns:a16="http://schemas.microsoft.com/office/drawing/2014/main" id="{3E15A738-DEC2-382C-63EF-9A5AD2A1F5BA}"/>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5" name="Inhaltsplatzhalter 7">
            <a:extLst>
              <a:ext uri="{FF2B5EF4-FFF2-40B4-BE49-F238E27FC236}">
                <a16:creationId xmlns:a16="http://schemas.microsoft.com/office/drawing/2014/main" id="{19BC4A63-0365-6570-3FB6-F3E1CD5AAF04}"/>
              </a:ext>
            </a:extLst>
          </p:cNvPr>
          <p:cNvSpPr>
            <a:spLocks noGrp="1"/>
          </p:cNvSpPr>
          <p:nvPr>
            <p:ph sz="quarter" idx="23"/>
          </p:nvPr>
        </p:nvSpPr>
        <p:spPr>
          <a:xfrm>
            <a:off x="515936" y="2294932"/>
            <a:ext cx="5580063" cy="383440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Inhaltsplatzhalter 7">
            <a:extLst>
              <a:ext uri="{FF2B5EF4-FFF2-40B4-BE49-F238E27FC236}">
                <a16:creationId xmlns:a16="http://schemas.microsoft.com/office/drawing/2014/main" id="{81857C77-EE29-B2CE-106E-E2238376CF00}"/>
              </a:ext>
            </a:extLst>
          </p:cNvPr>
          <p:cNvSpPr>
            <a:spLocks noGrp="1"/>
          </p:cNvSpPr>
          <p:nvPr>
            <p:ph sz="quarter" idx="24"/>
          </p:nvPr>
        </p:nvSpPr>
        <p:spPr>
          <a:xfrm>
            <a:off x="7175500" y="1016862"/>
            <a:ext cx="4500562" cy="10205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1" name="Inhaltsplatzhalter 7">
            <a:extLst>
              <a:ext uri="{FF2B5EF4-FFF2-40B4-BE49-F238E27FC236}">
                <a16:creationId xmlns:a16="http://schemas.microsoft.com/office/drawing/2014/main" id="{18A29D2D-9F64-7679-C73C-6A2F2E8AA99F}"/>
              </a:ext>
            </a:extLst>
          </p:cNvPr>
          <p:cNvSpPr>
            <a:spLocks noGrp="1"/>
          </p:cNvSpPr>
          <p:nvPr>
            <p:ph sz="quarter" idx="25"/>
          </p:nvPr>
        </p:nvSpPr>
        <p:spPr>
          <a:xfrm>
            <a:off x="7175500" y="2294934"/>
            <a:ext cx="4500562" cy="10205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2" name="Inhaltsplatzhalter 7">
            <a:extLst>
              <a:ext uri="{FF2B5EF4-FFF2-40B4-BE49-F238E27FC236}">
                <a16:creationId xmlns:a16="http://schemas.microsoft.com/office/drawing/2014/main" id="{83F8C6E2-B227-41DB-1650-99E017CA885A}"/>
              </a:ext>
            </a:extLst>
          </p:cNvPr>
          <p:cNvSpPr>
            <a:spLocks noGrp="1"/>
          </p:cNvSpPr>
          <p:nvPr>
            <p:ph sz="quarter" idx="26"/>
          </p:nvPr>
        </p:nvSpPr>
        <p:spPr>
          <a:xfrm>
            <a:off x="7175500" y="3573006"/>
            <a:ext cx="4500562" cy="10205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3" name="Inhaltsplatzhalter 7">
            <a:extLst>
              <a:ext uri="{FF2B5EF4-FFF2-40B4-BE49-F238E27FC236}">
                <a16:creationId xmlns:a16="http://schemas.microsoft.com/office/drawing/2014/main" id="{21177770-916A-45CC-FD78-AF2AE36AD857}"/>
              </a:ext>
            </a:extLst>
          </p:cNvPr>
          <p:cNvSpPr>
            <a:spLocks noGrp="1"/>
          </p:cNvSpPr>
          <p:nvPr>
            <p:ph sz="quarter" idx="27"/>
          </p:nvPr>
        </p:nvSpPr>
        <p:spPr>
          <a:xfrm>
            <a:off x="7175500" y="4851077"/>
            <a:ext cx="4500562" cy="10205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Tree>
    <p:extLst>
      <p:ext uri="{BB962C8B-B14F-4D97-AF65-F5344CB8AC3E}">
        <p14:creationId xmlns:p14="http://schemas.microsoft.com/office/powerpoint/2010/main" val="2064494148"/>
      </p:ext>
    </p:extLst>
  </p:cSld>
  <p:clrMapOvr>
    <a:masterClrMapping/>
  </p:clrMapOvr>
  <p:extLst>
    <p:ext uri="{DCECCB84-F9BA-43D5-87BE-67443E8EF086}">
      <p15:sldGuideLst xmlns:p15="http://schemas.microsoft.com/office/powerpoint/2012/main">
        <p15:guide id="1" pos="4180" userDrawn="1">
          <p15:clr>
            <a:srgbClr val="F26B43"/>
          </p15:clr>
        </p15:guide>
        <p15:guide id="2" pos="3840" userDrawn="1">
          <p15:clr>
            <a:srgbClr val="FFFFFF"/>
          </p15:clr>
        </p15:guide>
        <p15:guide id="3" pos="4520"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rei Bilder und Text - hell">
    <p:spTree>
      <p:nvGrpSpPr>
        <p:cNvPr id="1" name=""/>
        <p:cNvGrpSpPr/>
        <p:nvPr/>
      </p:nvGrpSpPr>
      <p:grpSpPr>
        <a:xfrm>
          <a:off x="0" y="0"/>
          <a:ext cx="0" cy="0"/>
          <a:chOff x="0" y="0"/>
          <a:chExt cx="0" cy="0"/>
        </a:xfrm>
      </p:grpSpPr>
      <p:sp>
        <p:nvSpPr>
          <p:cNvPr id="9" name="Bildplatzhalter 12">
            <a:extLst>
              <a:ext uri="{FF2B5EF4-FFF2-40B4-BE49-F238E27FC236}">
                <a16:creationId xmlns:a16="http://schemas.microsoft.com/office/drawing/2014/main" id="{B4804002-8E78-EAC2-2923-43AC8C3F94B1}"/>
              </a:ext>
            </a:extLst>
          </p:cNvPr>
          <p:cNvSpPr>
            <a:spLocks noGrp="1"/>
          </p:cNvSpPr>
          <p:nvPr>
            <p:ph type="pic" sz="quarter" idx="14"/>
          </p:nvPr>
        </p:nvSpPr>
        <p:spPr>
          <a:xfrm>
            <a:off x="4151313"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10" name="Bildplatzhalter 12">
            <a:extLst>
              <a:ext uri="{FF2B5EF4-FFF2-40B4-BE49-F238E27FC236}">
                <a16:creationId xmlns:a16="http://schemas.microsoft.com/office/drawing/2014/main" id="{7AB4E349-BB05-2A34-5FFD-5D8094AB870F}"/>
              </a:ext>
            </a:extLst>
          </p:cNvPr>
          <p:cNvSpPr>
            <a:spLocks noGrp="1"/>
          </p:cNvSpPr>
          <p:nvPr>
            <p:ph type="pic" sz="quarter" idx="15"/>
          </p:nvPr>
        </p:nvSpPr>
        <p:spPr>
          <a:xfrm>
            <a:off x="6684322"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11" name="Bildplatzhalter 12">
            <a:extLst>
              <a:ext uri="{FF2B5EF4-FFF2-40B4-BE49-F238E27FC236}">
                <a16:creationId xmlns:a16="http://schemas.microsoft.com/office/drawing/2014/main" id="{4B27A7AE-B543-A95A-036E-2EC5C8838E59}"/>
              </a:ext>
            </a:extLst>
          </p:cNvPr>
          <p:cNvSpPr>
            <a:spLocks noGrp="1"/>
          </p:cNvSpPr>
          <p:nvPr>
            <p:ph type="pic" sz="quarter" idx="16"/>
          </p:nvPr>
        </p:nvSpPr>
        <p:spPr>
          <a:xfrm>
            <a:off x="9217332"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7327B6EA-1491-4D18-1F37-A702B8C6A6E7}"/>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02DA5893-6FE6-87BE-E4E4-DBEBBB90E029}"/>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BF0A5C5-D2F5-5B2F-CA28-F938E2F3F2AF}"/>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2" name="Textplatzhalter 12">
            <a:extLst>
              <a:ext uri="{FF2B5EF4-FFF2-40B4-BE49-F238E27FC236}">
                <a16:creationId xmlns:a16="http://schemas.microsoft.com/office/drawing/2014/main" id="{ABF25864-4DE0-B76C-3F5B-9475F2899A89}"/>
              </a:ext>
            </a:extLst>
          </p:cNvPr>
          <p:cNvSpPr>
            <a:spLocks noGrp="1"/>
          </p:cNvSpPr>
          <p:nvPr>
            <p:ph type="body" sz="quarter" idx="17"/>
          </p:nvPr>
        </p:nvSpPr>
        <p:spPr>
          <a:xfrm>
            <a:off x="4151313" y="4905338"/>
            <a:ext cx="2458642" cy="1224000"/>
          </a:xfrm>
          <a:solidFill>
            <a:schemeClr val="tx1">
              <a:alpha val="70000"/>
            </a:schemeClr>
          </a:solidFill>
        </p:spPr>
        <p:txBody>
          <a:bodyPr lIns="144000" tIns="144000" rIns="144000" bIns="144000" anchor="t" anchorCtr="0">
            <a:noAutofit/>
          </a:bodyPr>
          <a:lstStyle>
            <a:lvl1pPr marL="0" indent="0" algn="l">
              <a:buNone/>
              <a:defRPr sz="1400">
                <a:solidFill>
                  <a:schemeClr val="bg1"/>
                </a:solidFill>
              </a:defRPr>
            </a:lvl1pPr>
            <a:lvl2pPr marL="342000" indent="0">
              <a:buNone/>
              <a:defRPr/>
            </a:lvl2pPr>
          </a:lstStyle>
          <a:p>
            <a:pPr lvl="0"/>
            <a:endParaRPr lang="de-DE" dirty="0"/>
          </a:p>
        </p:txBody>
      </p:sp>
      <p:sp>
        <p:nvSpPr>
          <p:cNvPr id="13" name="Textplatzhalter 12">
            <a:extLst>
              <a:ext uri="{FF2B5EF4-FFF2-40B4-BE49-F238E27FC236}">
                <a16:creationId xmlns:a16="http://schemas.microsoft.com/office/drawing/2014/main" id="{8C3D4AD8-C005-1585-F0C4-27D4BCFB8D59}"/>
              </a:ext>
            </a:extLst>
          </p:cNvPr>
          <p:cNvSpPr>
            <a:spLocks noGrp="1"/>
          </p:cNvSpPr>
          <p:nvPr>
            <p:ph type="body" sz="quarter" idx="18"/>
          </p:nvPr>
        </p:nvSpPr>
        <p:spPr>
          <a:xfrm>
            <a:off x="6684322" y="4905338"/>
            <a:ext cx="2458642" cy="1224000"/>
          </a:xfrm>
          <a:solidFill>
            <a:schemeClr val="tx1">
              <a:alpha val="70000"/>
            </a:schemeClr>
          </a:solidFill>
        </p:spPr>
        <p:txBody>
          <a:bodyPr lIns="144000" tIns="144000" rIns="144000" bIns="144000" anchor="t" anchorCtr="0">
            <a:noAutofit/>
          </a:bodyPr>
          <a:lstStyle>
            <a:lvl1pPr marL="0" indent="0" algn="l">
              <a:buNone/>
              <a:defRPr sz="1400">
                <a:solidFill>
                  <a:schemeClr val="bg1"/>
                </a:solidFill>
              </a:defRPr>
            </a:lvl1pPr>
            <a:lvl2pPr marL="342000" indent="0">
              <a:buNone/>
              <a:defRPr/>
            </a:lvl2pPr>
          </a:lstStyle>
          <a:p>
            <a:pPr lvl="0"/>
            <a:endParaRPr lang="de-DE" dirty="0"/>
          </a:p>
        </p:txBody>
      </p:sp>
      <p:sp>
        <p:nvSpPr>
          <p:cNvPr id="14" name="Textplatzhalter 12">
            <a:extLst>
              <a:ext uri="{FF2B5EF4-FFF2-40B4-BE49-F238E27FC236}">
                <a16:creationId xmlns:a16="http://schemas.microsoft.com/office/drawing/2014/main" id="{AF567C42-4827-DD70-41F9-E41996CFF7AA}"/>
              </a:ext>
            </a:extLst>
          </p:cNvPr>
          <p:cNvSpPr>
            <a:spLocks noGrp="1"/>
          </p:cNvSpPr>
          <p:nvPr>
            <p:ph type="body" sz="quarter" idx="19"/>
          </p:nvPr>
        </p:nvSpPr>
        <p:spPr>
          <a:xfrm>
            <a:off x="9217332" y="4905338"/>
            <a:ext cx="2458642" cy="1224000"/>
          </a:xfrm>
          <a:solidFill>
            <a:schemeClr val="tx1">
              <a:alpha val="70000"/>
            </a:schemeClr>
          </a:solidFill>
        </p:spPr>
        <p:txBody>
          <a:bodyPr lIns="144000" tIns="144000" rIns="144000" bIns="144000" anchor="t" anchorCtr="0">
            <a:noAutofit/>
          </a:bodyPr>
          <a:lstStyle>
            <a:lvl1pPr marL="0" indent="0" algn="l">
              <a:buNone/>
              <a:defRPr sz="1400">
                <a:solidFill>
                  <a:schemeClr val="bg1"/>
                </a:solidFill>
              </a:defRPr>
            </a:lvl1pPr>
            <a:lvl2pPr marL="342000" indent="0">
              <a:buNone/>
              <a:defRPr/>
            </a:lvl2pPr>
          </a:lstStyle>
          <a:p>
            <a:pPr lvl="0"/>
            <a:endParaRPr lang="de-DE" dirty="0"/>
          </a:p>
        </p:txBody>
      </p:sp>
      <p:sp>
        <p:nvSpPr>
          <p:cNvPr id="17" name="Textplatzhalter 16">
            <a:extLst>
              <a:ext uri="{FF2B5EF4-FFF2-40B4-BE49-F238E27FC236}">
                <a16:creationId xmlns:a16="http://schemas.microsoft.com/office/drawing/2014/main" id="{E569C79C-17ED-20E2-B597-0652B95E547F}"/>
              </a:ext>
            </a:extLst>
          </p:cNvPr>
          <p:cNvSpPr>
            <a:spLocks noGrp="1"/>
          </p:cNvSpPr>
          <p:nvPr>
            <p:ph type="body" sz="quarter" idx="21" hasCustomPrompt="1"/>
          </p:nvPr>
        </p:nvSpPr>
        <p:spPr>
          <a:xfrm>
            <a:off x="515938" y="2904497"/>
            <a:ext cx="3240178" cy="1049005"/>
          </a:xfrm>
        </p:spPr>
        <p:txBody>
          <a:bodyPr wrap="square" rIns="0" anchor="b" anchorCtr="0">
            <a:noAutofit/>
          </a:bodyPr>
          <a:lstStyle>
            <a:lvl1pPr marL="0" indent="0">
              <a:spcAft>
                <a:spcPts val="0"/>
              </a:spcAft>
              <a:buNone/>
              <a:defRPr sz="32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8" name="Titel 1">
            <a:extLst>
              <a:ext uri="{FF2B5EF4-FFF2-40B4-BE49-F238E27FC236}">
                <a16:creationId xmlns:a16="http://schemas.microsoft.com/office/drawing/2014/main" id="{C9431362-0964-541A-17E7-2CDDDE343D03}"/>
              </a:ext>
            </a:extLst>
          </p:cNvPr>
          <p:cNvSpPr>
            <a:spLocks noGrp="1"/>
          </p:cNvSpPr>
          <p:nvPr>
            <p:ph type="title"/>
          </p:nvPr>
        </p:nvSpPr>
        <p:spPr>
          <a:xfrm>
            <a:off x="515939" y="787432"/>
            <a:ext cx="3240086" cy="838168"/>
          </a:xfrm>
        </p:spPr>
        <p:txBody>
          <a:bodyPr>
            <a:noAutofit/>
          </a:bodyPr>
          <a:lstStyle/>
          <a:p>
            <a:endParaRPr lang="de-DE" dirty="0"/>
          </a:p>
        </p:txBody>
      </p:sp>
      <p:sp>
        <p:nvSpPr>
          <p:cNvPr id="6" name="Inhaltsplatzhalter 7">
            <a:extLst>
              <a:ext uri="{FF2B5EF4-FFF2-40B4-BE49-F238E27FC236}">
                <a16:creationId xmlns:a16="http://schemas.microsoft.com/office/drawing/2014/main" id="{90178FEA-3860-8F0B-5C9D-A4449682A9ED}"/>
              </a:ext>
            </a:extLst>
          </p:cNvPr>
          <p:cNvSpPr>
            <a:spLocks noGrp="1"/>
          </p:cNvSpPr>
          <p:nvPr>
            <p:ph sz="quarter" idx="22"/>
          </p:nvPr>
        </p:nvSpPr>
        <p:spPr>
          <a:xfrm>
            <a:off x="515939" y="4035267"/>
            <a:ext cx="3240086" cy="2094068"/>
          </a:xfrm>
        </p:spPr>
        <p:txBody>
          <a:bodyPr>
            <a:normAutofit/>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698178789"/>
      </p:ext>
    </p:extLst>
  </p:cSld>
  <p:clrMapOvr>
    <a:masterClrMapping/>
  </p:clrMapOvr>
  <p:extLst>
    <p:ext uri="{DCECCB84-F9BA-43D5-87BE-67443E8EF086}">
      <p15:sldGuideLst xmlns:p15="http://schemas.microsoft.com/office/powerpoint/2012/main">
        <p15:guide id="1" pos="2366" userDrawn="1">
          <p15:clr>
            <a:srgbClr val="F26B43"/>
          </p15:clr>
        </p15:guide>
        <p15:guide id="2" pos="2615"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Bilder und Text - dunkel">
    <p:bg>
      <p:bgRef idx="1001">
        <a:schemeClr val="bg1"/>
      </p:bgRef>
    </p:bg>
    <p:spTree>
      <p:nvGrpSpPr>
        <p:cNvPr id="1" name=""/>
        <p:cNvGrpSpPr/>
        <p:nvPr/>
      </p:nvGrpSpPr>
      <p:grpSpPr>
        <a:xfrm>
          <a:off x="0" y="0"/>
          <a:ext cx="0" cy="0"/>
          <a:chOff x="0" y="0"/>
          <a:chExt cx="0" cy="0"/>
        </a:xfrm>
      </p:grpSpPr>
      <p:sp>
        <p:nvSpPr>
          <p:cNvPr id="9" name="Bildplatzhalter 12">
            <a:extLst>
              <a:ext uri="{FF2B5EF4-FFF2-40B4-BE49-F238E27FC236}">
                <a16:creationId xmlns:a16="http://schemas.microsoft.com/office/drawing/2014/main" id="{B4804002-8E78-EAC2-2923-43AC8C3F94B1}"/>
              </a:ext>
            </a:extLst>
          </p:cNvPr>
          <p:cNvSpPr>
            <a:spLocks noGrp="1"/>
          </p:cNvSpPr>
          <p:nvPr>
            <p:ph type="pic" sz="quarter" idx="14"/>
          </p:nvPr>
        </p:nvSpPr>
        <p:spPr>
          <a:xfrm>
            <a:off x="4151313"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10" name="Bildplatzhalter 12">
            <a:extLst>
              <a:ext uri="{FF2B5EF4-FFF2-40B4-BE49-F238E27FC236}">
                <a16:creationId xmlns:a16="http://schemas.microsoft.com/office/drawing/2014/main" id="{7AB4E349-BB05-2A34-5FFD-5D8094AB870F}"/>
              </a:ext>
            </a:extLst>
          </p:cNvPr>
          <p:cNvSpPr>
            <a:spLocks noGrp="1"/>
          </p:cNvSpPr>
          <p:nvPr>
            <p:ph type="pic" sz="quarter" idx="15"/>
          </p:nvPr>
        </p:nvSpPr>
        <p:spPr>
          <a:xfrm>
            <a:off x="6684322"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11" name="Bildplatzhalter 12">
            <a:extLst>
              <a:ext uri="{FF2B5EF4-FFF2-40B4-BE49-F238E27FC236}">
                <a16:creationId xmlns:a16="http://schemas.microsoft.com/office/drawing/2014/main" id="{4B27A7AE-B543-A95A-036E-2EC5C8838E59}"/>
              </a:ext>
            </a:extLst>
          </p:cNvPr>
          <p:cNvSpPr>
            <a:spLocks noGrp="1"/>
          </p:cNvSpPr>
          <p:nvPr>
            <p:ph type="pic" sz="quarter" idx="16"/>
          </p:nvPr>
        </p:nvSpPr>
        <p:spPr>
          <a:xfrm>
            <a:off x="9217332" y="504825"/>
            <a:ext cx="2458642" cy="5624513"/>
          </a:xfrm>
        </p:spPr>
        <p:txBody>
          <a:bodyPr anchor="ctr" anchorCtr="0">
            <a:norm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7327B6EA-1491-4D18-1F37-A702B8C6A6E7}"/>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02DA5893-6FE6-87BE-E4E4-DBEBBB90E029}"/>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BF0A5C5-D2F5-5B2F-CA28-F938E2F3F2AF}"/>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2" name="Textplatzhalter 12">
            <a:extLst>
              <a:ext uri="{FF2B5EF4-FFF2-40B4-BE49-F238E27FC236}">
                <a16:creationId xmlns:a16="http://schemas.microsoft.com/office/drawing/2014/main" id="{ABF25864-4DE0-B76C-3F5B-9475F2899A89}"/>
              </a:ext>
            </a:extLst>
          </p:cNvPr>
          <p:cNvSpPr>
            <a:spLocks noGrp="1"/>
          </p:cNvSpPr>
          <p:nvPr>
            <p:ph type="body" sz="quarter" idx="17"/>
          </p:nvPr>
        </p:nvSpPr>
        <p:spPr>
          <a:xfrm>
            <a:off x="4151313" y="4905338"/>
            <a:ext cx="2458642" cy="1224000"/>
          </a:xfrm>
          <a:solidFill>
            <a:schemeClr val="bg1">
              <a:alpha val="70000"/>
            </a:schemeClr>
          </a:solidFill>
        </p:spPr>
        <p:txBody>
          <a:bodyPr lIns="144000" tIns="144000" rIns="144000" bIns="144000" anchor="t" anchorCtr="0">
            <a:noAutofit/>
          </a:bodyPr>
          <a:lstStyle>
            <a:lvl1pPr marL="0" indent="0" algn="l">
              <a:buNone/>
              <a:defRPr sz="1400">
                <a:solidFill>
                  <a:schemeClr val="tx2"/>
                </a:solidFill>
              </a:defRPr>
            </a:lvl1pPr>
            <a:lvl2pPr marL="342000" indent="0">
              <a:buNone/>
              <a:defRPr/>
            </a:lvl2pPr>
          </a:lstStyle>
          <a:p>
            <a:pPr lvl="0"/>
            <a:endParaRPr lang="de-DE" dirty="0"/>
          </a:p>
        </p:txBody>
      </p:sp>
      <p:sp>
        <p:nvSpPr>
          <p:cNvPr id="13" name="Textplatzhalter 12">
            <a:extLst>
              <a:ext uri="{FF2B5EF4-FFF2-40B4-BE49-F238E27FC236}">
                <a16:creationId xmlns:a16="http://schemas.microsoft.com/office/drawing/2014/main" id="{8C3D4AD8-C005-1585-F0C4-27D4BCFB8D59}"/>
              </a:ext>
            </a:extLst>
          </p:cNvPr>
          <p:cNvSpPr>
            <a:spLocks noGrp="1"/>
          </p:cNvSpPr>
          <p:nvPr>
            <p:ph type="body" sz="quarter" idx="18"/>
          </p:nvPr>
        </p:nvSpPr>
        <p:spPr>
          <a:xfrm>
            <a:off x="6684322" y="4905338"/>
            <a:ext cx="2458642" cy="1224000"/>
          </a:xfrm>
          <a:solidFill>
            <a:schemeClr val="bg1">
              <a:alpha val="70000"/>
            </a:schemeClr>
          </a:solidFill>
        </p:spPr>
        <p:txBody>
          <a:bodyPr lIns="144000" tIns="144000" rIns="144000" bIns="144000" anchor="t" anchorCtr="0">
            <a:noAutofit/>
          </a:bodyPr>
          <a:lstStyle>
            <a:lvl1pPr marL="0" indent="0" algn="l">
              <a:buNone/>
              <a:defRPr sz="1400">
                <a:solidFill>
                  <a:schemeClr val="tx2"/>
                </a:solidFill>
              </a:defRPr>
            </a:lvl1pPr>
            <a:lvl2pPr marL="342000" indent="0">
              <a:buNone/>
              <a:defRPr/>
            </a:lvl2pPr>
          </a:lstStyle>
          <a:p>
            <a:pPr lvl="0"/>
            <a:endParaRPr lang="de-DE" dirty="0"/>
          </a:p>
        </p:txBody>
      </p:sp>
      <p:sp>
        <p:nvSpPr>
          <p:cNvPr id="14" name="Textplatzhalter 12">
            <a:extLst>
              <a:ext uri="{FF2B5EF4-FFF2-40B4-BE49-F238E27FC236}">
                <a16:creationId xmlns:a16="http://schemas.microsoft.com/office/drawing/2014/main" id="{AF567C42-4827-DD70-41F9-E41996CFF7AA}"/>
              </a:ext>
            </a:extLst>
          </p:cNvPr>
          <p:cNvSpPr>
            <a:spLocks noGrp="1"/>
          </p:cNvSpPr>
          <p:nvPr>
            <p:ph type="body" sz="quarter" idx="19"/>
          </p:nvPr>
        </p:nvSpPr>
        <p:spPr>
          <a:xfrm>
            <a:off x="9217332" y="4905338"/>
            <a:ext cx="2458642" cy="1224000"/>
          </a:xfrm>
          <a:solidFill>
            <a:schemeClr val="bg1">
              <a:alpha val="70000"/>
            </a:schemeClr>
          </a:solidFill>
        </p:spPr>
        <p:txBody>
          <a:bodyPr lIns="144000" tIns="144000" rIns="144000" bIns="144000" anchor="t" anchorCtr="0">
            <a:noAutofit/>
          </a:bodyPr>
          <a:lstStyle>
            <a:lvl1pPr marL="0" indent="0" algn="l">
              <a:buNone/>
              <a:defRPr sz="1400">
                <a:solidFill>
                  <a:schemeClr val="tx2"/>
                </a:solidFill>
              </a:defRPr>
            </a:lvl1pPr>
            <a:lvl2pPr marL="342000" indent="0">
              <a:buNone/>
              <a:defRPr/>
            </a:lvl2pPr>
          </a:lstStyle>
          <a:p>
            <a:pPr lvl="0"/>
            <a:endParaRPr lang="de-DE" dirty="0"/>
          </a:p>
        </p:txBody>
      </p:sp>
      <p:sp>
        <p:nvSpPr>
          <p:cNvPr id="17" name="Textplatzhalter 16">
            <a:extLst>
              <a:ext uri="{FF2B5EF4-FFF2-40B4-BE49-F238E27FC236}">
                <a16:creationId xmlns:a16="http://schemas.microsoft.com/office/drawing/2014/main" id="{E569C79C-17ED-20E2-B597-0652B95E547F}"/>
              </a:ext>
            </a:extLst>
          </p:cNvPr>
          <p:cNvSpPr>
            <a:spLocks noGrp="1"/>
          </p:cNvSpPr>
          <p:nvPr>
            <p:ph type="body" sz="quarter" idx="21" hasCustomPrompt="1"/>
          </p:nvPr>
        </p:nvSpPr>
        <p:spPr>
          <a:xfrm>
            <a:off x="515938" y="2904497"/>
            <a:ext cx="3240178" cy="1049005"/>
          </a:xfrm>
        </p:spPr>
        <p:txBody>
          <a:bodyPr wrap="square" rIns="0" anchor="b" anchorCtr="0">
            <a:noAutofit/>
          </a:bodyPr>
          <a:lstStyle>
            <a:lvl1pPr marL="0" indent="0">
              <a:spcAft>
                <a:spcPts val="0"/>
              </a:spcAft>
              <a:buNone/>
              <a:defRPr sz="32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8" name="Titel 1">
            <a:extLst>
              <a:ext uri="{FF2B5EF4-FFF2-40B4-BE49-F238E27FC236}">
                <a16:creationId xmlns:a16="http://schemas.microsoft.com/office/drawing/2014/main" id="{C9431362-0964-541A-17E7-2CDDDE343D03}"/>
              </a:ext>
            </a:extLst>
          </p:cNvPr>
          <p:cNvSpPr>
            <a:spLocks noGrp="1"/>
          </p:cNvSpPr>
          <p:nvPr>
            <p:ph type="title"/>
          </p:nvPr>
        </p:nvSpPr>
        <p:spPr>
          <a:xfrm>
            <a:off x="515939" y="787432"/>
            <a:ext cx="3240086" cy="838168"/>
          </a:xfrm>
        </p:spPr>
        <p:txBody>
          <a:bodyPr>
            <a:noAutofit/>
          </a:bodyPr>
          <a:lstStyle/>
          <a:p>
            <a:endParaRPr lang="de-DE" dirty="0"/>
          </a:p>
        </p:txBody>
      </p:sp>
      <p:pic>
        <p:nvPicPr>
          <p:cNvPr id="2" name="Grafik 1">
            <a:extLst>
              <a:ext uri="{FF2B5EF4-FFF2-40B4-BE49-F238E27FC236}">
                <a16:creationId xmlns:a16="http://schemas.microsoft.com/office/drawing/2014/main" id="{30961582-80D9-535E-2A46-E1AF43ACC4B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1C811DDD-D335-1245-7AE7-84F5BA9BE22E}"/>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7" name="Inhaltsplatzhalter 7">
            <a:extLst>
              <a:ext uri="{FF2B5EF4-FFF2-40B4-BE49-F238E27FC236}">
                <a16:creationId xmlns:a16="http://schemas.microsoft.com/office/drawing/2014/main" id="{64723A05-C193-922F-65D3-1240E936F465}"/>
              </a:ext>
            </a:extLst>
          </p:cNvPr>
          <p:cNvSpPr>
            <a:spLocks noGrp="1"/>
          </p:cNvSpPr>
          <p:nvPr>
            <p:ph sz="quarter" idx="22"/>
          </p:nvPr>
        </p:nvSpPr>
        <p:spPr>
          <a:xfrm>
            <a:off x="515939" y="4035267"/>
            <a:ext cx="3240086" cy="2094068"/>
          </a:xfrm>
        </p:spPr>
        <p:txBody>
          <a:bodyPr>
            <a:normAutofit/>
          </a:bodyPr>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961009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366" userDrawn="1">
          <p15:clr>
            <a:srgbClr val="F26B43"/>
          </p15:clr>
        </p15:guide>
        <p15:guide id="2" pos="2615"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 dunkel">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7BDCA8-F7D0-FD52-E6BA-6B27A29D279F}"/>
              </a:ext>
            </a:extLst>
          </p:cNvPr>
          <p:cNvSpPr>
            <a:spLocks noGrp="1"/>
          </p:cNvSpPr>
          <p:nvPr>
            <p:ph type="title"/>
          </p:nvPr>
        </p:nvSpPr>
        <p:spPr>
          <a:xfrm>
            <a:off x="515938" y="788711"/>
            <a:ext cx="11166063" cy="738664"/>
          </a:xfrm>
        </p:spPr>
        <p:txBody>
          <a:bodyPr>
            <a:noAutofit/>
          </a:bodyPr>
          <a:lstStyle>
            <a:lvl1pPr>
              <a:defRPr sz="2400">
                <a:solidFill>
                  <a:schemeClr val="tx2"/>
                </a:solidFill>
              </a:defRPr>
            </a:lvl1pPr>
          </a:lstStyle>
          <a:p>
            <a:endParaRPr lang="de-DE" dirty="0"/>
          </a:p>
        </p:txBody>
      </p:sp>
      <p:cxnSp>
        <p:nvCxnSpPr>
          <p:cNvPr id="6" name="Gerade Verbindung 5">
            <a:extLst>
              <a:ext uri="{FF2B5EF4-FFF2-40B4-BE49-F238E27FC236}">
                <a16:creationId xmlns:a16="http://schemas.microsoft.com/office/drawing/2014/main" id="{55D75073-E819-64AE-6732-9A58EC65D69D}"/>
              </a:ext>
            </a:extLst>
          </p:cNvPr>
          <p:cNvCxnSpPr>
            <a:cxnSpLocks/>
          </p:cNvCxnSpPr>
          <p:nvPr userDrawn="1"/>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D45D5022-53A4-8C00-56D8-2A7EA1B2E7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9" name="Grafik 8">
            <a:extLst>
              <a:ext uri="{FF2B5EF4-FFF2-40B4-BE49-F238E27FC236}">
                <a16:creationId xmlns:a16="http://schemas.microsoft.com/office/drawing/2014/main" id="{598BD9C6-969D-F924-60A2-8894210B48A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0" name="Datumsplatzhalter 8">
            <a:extLst>
              <a:ext uri="{FF2B5EF4-FFF2-40B4-BE49-F238E27FC236}">
                <a16:creationId xmlns:a16="http://schemas.microsoft.com/office/drawing/2014/main" id="{7FB95913-A594-9672-92D8-1FD9076EC5F1}"/>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1" name="Fußzeilenplatzhalter 9">
            <a:extLst>
              <a:ext uri="{FF2B5EF4-FFF2-40B4-BE49-F238E27FC236}">
                <a16:creationId xmlns:a16="http://schemas.microsoft.com/office/drawing/2014/main" id="{621FC4F6-074D-25EE-922A-369152574621}"/>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2" name="Foliennummernplatzhalter 10">
            <a:extLst>
              <a:ext uri="{FF2B5EF4-FFF2-40B4-BE49-F238E27FC236}">
                <a16:creationId xmlns:a16="http://schemas.microsoft.com/office/drawing/2014/main" id="{833F5B44-1E8C-1869-C4E5-3BB2FC016FAE}"/>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3" name="Inhaltsplatzhalter 7">
            <a:extLst>
              <a:ext uri="{FF2B5EF4-FFF2-40B4-BE49-F238E27FC236}">
                <a16:creationId xmlns:a16="http://schemas.microsoft.com/office/drawing/2014/main" id="{DBA460E6-343D-1188-E1B5-B52839D54322}"/>
              </a:ext>
            </a:extLst>
          </p:cNvPr>
          <p:cNvSpPr>
            <a:spLocks noGrp="1"/>
          </p:cNvSpPr>
          <p:nvPr>
            <p:ph sz="quarter" idx="14"/>
          </p:nvPr>
        </p:nvSpPr>
        <p:spPr>
          <a:xfrm>
            <a:off x="515938" y="1773234"/>
            <a:ext cx="11160125" cy="43560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9539972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17" userDrawn="1">
          <p15:clr>
            <a:srgbClr val="F26B43"/>
          </p15:clr>
        </p15:guide>
        <p15:guide id="2" orient="horz" pos="958"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und Bild Collage - hell">
    <p:spTree>
      <p:nvGrpSpPr>
        <p:cNvPr id="1" name=""/>
        <p:cNvGrpSpPr/>
        <p:nvPr/>
      </p:nvGrpSpPr>
      <p:grpSpPr>
        <a:xfrm>
          <a:off x="0" y="0"/>
          <a:ext cx="0" cy="0"/>
          <a:chOff x="0" y="0"/>
          <a:chExt cx="0" cy="0"/>
        </a:xfrm>
      </p:grpSpPr>
      <p:sp>
        <p:nvSpPr>
          <p:cNvPr id="11" name="Inhaltsplatzhalter 7">
            <a:extLst>
              <a:ext uri="{FF2B5EF4-FFF2-40B4-BE49-F238E27FC236}">
                <a16:creationId xmlns:a16="http://schemas.microsoft.com/office/drawing/2014/main" id="{E0F1346D-A4E2-43DB-D778-C3E8FCA2915A}"/>
              </a:ext>
            </a:extLst>
          </p:cNvPr>
          <p:cNvSpPr>
            <a:spLocks noGrp="1"/>
          </p:cNvSpPr>
          <p:nvPr>
            <p:ph sz="quarter" idx="21"/>
          </p:nvPr>
        </p:nvSpPr>
        <p:spPr>
          <a:xfrm>
            <a:off x="0" y="0"/>
            <a:ext cx="5240338" cy="308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8435885" y="1515535"/>
            <a:ext cx="3240178" cy="1049005"/>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r>
              <a:rPr lang="de-DE" dirty="0"/>
              <a:t>Mastertitelformat bearbeiten</a:t>
            </a:r>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4" name="Inhaltsplatzhalter 7">
            <a:extLst>
              <a:ext uri="{FF2B5EF4-FFF2-40B4-BE49-F238E27FC236}">
                <a16:creationId xmlns:a16="http://schemas.microsoft.com/office/drawing/2014/main" id="{1E002577-7F95-9222-2CBC-4B3223A746F5}"/>
              </a:ext>
            </a:extLst>
          </p:cNvPr>
          <p:cNvSpPr>
            <a:spLocks noGrp="1"/>
          </p:cNvSpPr>
          <p:nvPr>
            <p:ph sz="quarter" idx="22"/>
          </p:nvPr>
        </p:nvSpPr>
        <p:spPr>
          <a:xfrm>
            <a:off x="2667560" y="3349210"/>
            <a:ext cx="5240338" cy="278012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Inhaltsplatzhalter 7">
            <a:extLst>
              <a:ext uri="{FF2B5EF4-FFF2-40B4-BE49-F238E27FC236}">
                <a16:creationId xmlns:a16="http://schemas.microsoft.com/office/drawing/2014/main" id="{5C3988EC-AA63-D987-222E-10B109BF8D13}"/>
              </a:ext>
            </a:extLst>
          </p:cNvPr>
          <p:cNvSpPr>
            <a:spLocks noGrp="1"/>
          </p:cNvSpPr>
          <p:nvPr>
            <p:ph sz="quarter" idx="23"/>
          </p:nvPr>
        </p:nvSpPr>
        <p:spPr>
          <a:xfrm>
            <a:off x="8435794" y="2646310"/>
            <a:ext cx="3240178" cy="2094068"/>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68888530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und Bild Collage - dunkel">
    <p:bg>
      <p:bgRef idx="1001">
        <a:schemeClr val="bg1"/>
      </p:bgRef>
    </p:b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071F6EA-2AA6-3EEB-7872-0B995BC5BCF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8435885" y="1515535"/>
            <a:ext cx="3240178" cy="1049005"/>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r>
              <a:rPr lang="de-DE" dirty="0"/>
              <a:t>Mastertitelformat bearbeiten</a:t>
            </a:r>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6" name="Grafik 5">
            <a:extLst>
              <a:ext uri="{FF2B5EF4-FFF2-40B4-BE49-F238E27FC236}">
                <a16:creationId xmlns:a16="http://schemas.microsoft.com/office/drawing/2014/main" id="{60D024FF-327D-23A7-F148-CDB5CB44575E}"/>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7" name="Inhaltsplatzhalter 7">
            <a:extLst>
              <a:ext uri="{FF2B5EF4-FFF2-40B4-BE49-F238E27FC236}">
                <a16:creationId xmlns:a16="http://schemas.microsoft.com/office/drawing/2014/main" id="{454B2129-D9D8-8FDC-1EA3-164DC05F878A}"/>
              </a:ext>
            </a:extLst>
          </p:cNvPr>
          <p:cNvSpPr>
            <a:spLocks noGrp="1"/>
          </p:cNvSpPr>
          <p:nvPr>
            <p:ph sz="quarter" idx="21"/>
          </p:nvPr>
        </p:nvSpPr>
        <p:spPr>
          <a:xfrm>
            <a:off x="0" y="0"/>
            <a:ext cx="5240338" cy="308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Inhaltsplatzhalter 7">
            <a:extLst>
              <a:ext uri="{FF2B5EF4-FFF2-40B4-BE49-F238E27FC236}">
                <a16:creationId xmlns:a16="http://schemas.microsoft.com/office/drawing/2014/main" id="{5914C1BA-9A6B-F46B-8433-FD43ECDFF817}"/>
              </a:ext>
            </a:extLst>
          </p:cNvPr>
          <p:cNvSpPr>
            <a:spLocks noGrp="1"/>
          </p:cNvSpPr>
          <p:nvPr>
            <p:ph sz="quarter" idx="22"/>
          </p:nvPr>
        </p:nvSpPr>
        <p:spPr>
          <a:xfrm>
            <a:off x="2667560" y="3349210"/>
            <a:ext cx="5240338" cy="278012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Inhaltsplatzhalter 7">
            <a:extLst>
              <a:ext uri="{FF2B5EF4-FFF2-40B4-BE49-F238E27FC236}">
                <a16:creationId xmlns:a16="http://schemas.microsoft.com/office/drawing/2014/main" id="{75EC6AF0-FB69-32FE-CF4D-D5328679435C}"/>
              </a:ext>
            </a:extLst>
          </p:cNvPr>
          <p:cNvSpPr>
            <a:spLocks noGrp="1"/>
          </p:cNvSpPr>
          <p:nvPr>
            <p:ph sz="quarter" idx="23"/>
          </p:nvPr>
        </p:nvSpPr>
        <p:spPr>
          <a:xfrm>
            <a:off x="8435794" y="2646310"/>
            <a:ext cx="3240178" cy="20940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38370270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Zwei Bilder und Tex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7124B0E-D3FD-08EF-0D4A-A6B1A90B0711}"/>
              </a:ext>
            </a:extLst>
          </p:cNvPr>
          <p:cNvSpPr/>
          <p:nvPr userDrawn="1"/>
        </p:nvSpPr>
        <p:spPr>
          <a:xfrm>
            <a:off x="6635750" y="0"/>
            <a:ext cx="555625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cxnSp>
        <p:nvCxnSpPr>
          <p:cNvPr id="7" name="Gerade Verbindung 6">
            <a:extLst>
              <a:ext uri="{FF2B5EF4-FFF2-40B4-BE49-F238E27FC236}">
                <a16:creationId xmlns:a16="http://schemas.microsoft.com/office/drawing/2014/main" id="{444C4B49-8AE6-94D1-CDA0-EB9CC965620F}"/>
              </a:ext>
            </a:extLst>
          </p:cNvPr>
          <p:cNvCxnSpPr>
            <a:cxnSpLocks/>
          </p:cNvCxnSpPr>
          <p:nvPr userDrawn="1"/>
        </p:nvCxnSpPr>
        <p:spPr>
          <a:xfrm>
            <a:off x="6635750" y="6343228"/>
            <a:ext cx="50403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B4AA0F00-AC8B-27B6-138C-774082CB4CAD}"/>
              </a:ext>
            </a:extLst>
          </p:cNvPr>
          <p:cNvSpPr>
            <a:spLocks noGrp="1"/>
          </p:cNvSpPr>
          <p:nvPr>
            <p:ph type="title"/>
          </p:nvPr>
        </p:nvSpPr>
        <p:spPr>
          <a:xfrm>
            <a:off x="515939" y="787432"/>
            <a:ext cx="5580062" cy="369332"/>
          </a:xfrm>
        </p:spPr>
        <p:txBody>
          <a:bodyPr/>
          <a:lstStyle/>
          <a:p>
            <a:endParaRPr lang="de-DE" dirty="0"/>
          </a:p>
        </p:txBody>
      </p:sp>
      <p:sp>
        <p:nvSpPr>
          <p:cNvPr id="3" name="Datumsplatzhalter 2">
            <a:extLst>
              <a:ext uri="{FF2B5EF4-FFF2-40B4-BE49-F238E27FC236}">
                <a16:creationId xmlns:a16="http://schemas.microsoft.com/office/drawing/2014/main" id="{CD5A3ADE-BF5D-160D-AEF2-4D3FB3BBA228}"/>
              </a:ext>
            </a:extLst>
          </p:cNvPr>
          <p:cNvSpPr>
            <a:spLocks noGrp="1"/>
          </p:cNvSpPr>
          <p:nvPr>
            <p:ph type="dt" sz="half" idx="10"/>
          </p:nvPr>
        </p:nvSpPr>
        <p:spPr/>
        <p:txBody>
          <a:bodyPr/>
          <a:lstStyle>
            <a:lvl1pPr>
              <a:defRPr>
                <a:solidFill>
                  <a:schemeClr val="bg1"/>
                </a:solidFill>
              </a:defRPr>
            </a:lvl1pPr>
          </a:lstStyle>
          <a:p>
            <a:r>
              <a:rPr lang="de-DE"/>
              <a:t>02.08.2024</a:t>
            </a:r>
            <a:endParaRPr lang="de-DE" dirty="0"/>
          </a:p>
        </p:txBody>
      </p:sp>
      <p:sp>
        <p:nvSpPr>
          <p:cNvPr id="4" name="Fußzeilenplatzhalter 3">
            <a:extLst>
              <a:ext uri="{FF2B5EF4-FFF2-40B4-BE49-F238E27FC236}">
                <a16:creationId xmlns:a16="http://schemas.microsoft.com/office/drawing/2014/main" id="{C88F56D4-FCFD-9E64-BC09-85182603FB78}"/>
              </a:ext>
            </a:extLst>
          </p:cNvPr>
          <p:cNvSpPr>
            <a:spLocks noGrp="1"/>
          </p:cNvSpPr>
          <p:nvPr>
            <p:ph type="ftr" sz="quarter" idx="11"/>
          </p:nvPr>
        </p:nvSpPr>
        <p:spPr/>
        <p:txBody>
          <a:bodyPr/>
          <a:lstStyle>
            <a:lvl1pPr>
              <a:defRPr>
                <a:solidFill>
                  <a:schemeClr val="bg1"/>
                </a:solidFill>
              </a:defRPr>
            </a:lvl1p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89D0503-EAC0-DAEF-AF76-1A82C0C4ECEA}"/>
              </a:ext>
            </a:extLst>
          </p:cNvPr>
          <p:cNvSpPr>
            <a:spLocks noGrp="1"/>
          </p:cNvSpPr>
          <p:nvPr>
            <p:ph type="sldNum" sz="quarter" idx="12"/>
          </p:nvPr>
        </p:nvSpPr>
        <p:spPr/>
        <p:txBody>
          <a:bodyPr/>
          <a:lstStyle>
            <a:lvl1pPr>
              <a:defRPr>
                <a:solidFill>
                  <a:schemeClr val="bg1"/>
                </a:solidFill>
              </a:defRPr>
            </a:lvl1pPr>
          </a:lstStyle>
          <a:p>
            <a:fld id="{E84006A6-0E15-460A-BCD4-002C20F8AC9F}" type="slidenum">
              <a:rPr lang="de-DE" smtClean="0"/>
              <a:pPr/>
              <a:t>‹Nr.›</a:t>
            </a:fld>
            <a:endParaRPr lang="de-DE"/>
          </a:p>
        </p:txBody>
      </p:sp>
      <p:sp>
        <p:nvSpPr>
          <p:cNvPr id="14" name="Textplatzhalter 16">
            <a:extLst>
              <a:ext uri="{FF2B5EF4-FFF2-40B4-BE49-F238E27FC236}">
                <a16:creationId xmlns:a16="http://schemas.microsoft.com/office/drawing/2014/main" id="{04EA078D-85AB-B736-7060-28872FA98D26}"/>
              </a:ext>
            </a:extLst>
          </p:cNvPr>
          <p:cNvSpPr>
            <a:spLocks noGrp="1"/>
          </p:cNvSpPr>
          <p:nvPr>
            <p:ph type="body" sz="quarter" idx="20" hasCustomPrompt="1"/>
          </p:nvPr>
        </p:nvSpPr>
        <p:spPr>
          <a:xfrm>
            <a:off x="522866" y="2277819"/>
            <a:ext cx="2936957" cy="553998"/>
          </a:xfrm>
        </p:spPr>
        <p:txBody>
          <a:bodyPr wrap="square" rIns="0" anchor="t" anchorCtr="0">
            <a:noAutofit/>
          </a:bodyPr>
          <a:lstStyle>
            <a:lvl1pPr marL="0" indent="0">
              <a:spcAft>
                <a:spcPts val="500"/>
              </a:spcAft>
              <a:buNone/>
              <a:defRPr sz="1400" b="0">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5" name="Textplatzhalter 16">
            <a:extLst>
              <a:ext uri="{FF2B5EF4-FFF2-40B4-BE49-F238E27FC236}">
                <a16:creationId xmlns:a16="http://schemas.microsoft.com/office/drawing/2014/main" id="{6EBF481F-32F9-72F3-D2A0-D9D4B6451D76}"/>
              </a:ext>
            </a:extLst>
          </p:cNvPr>
          <p:cNvSpPr>
            <a:spLocks noGrp="1"/>
          </p:cNvSpPr>
          <p:nvPr>
            <p:ph type="body" sz="quarter" idx="21" hasCustomPrompt="1"/>
          </p:nvPr>
        </p:nvSpPr>
        <p:spPr>
          <a:xfrm>
            <a:off x="522956" y="1826718"/>
            <a:ext cx="2936957" cy="369332"/>
          </a:xfrm>
        </p:spPr>
        <p:txBody>
          <a:bodyPr wrap="square" rIns="0" anchor="b" anchorCtr="0">
            <a:noAutofit/>
          </a:bodyPr>
          <a:lstStyle>
            <a:lvl1pPr marL="0" indent="0">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6" name="Textplatzhalter 16">
            <a:extLst>
              <a:ext uri="{FF2B5EF4-FFF2-40B4-BE49-F238E27FC236}">
                <a16:creationId xmlns:a16="http://schemas.microsoft.com/office/drawing/2014/main" id="{A7961926-BFD6-5EF1-D4D4-102DC9DF5D69}"/>
              </a:ext>
            </a:extLst>
          </p:cNvPr>
          <p:cNvSpPr>
            <a:spLocks noGrp="1"/>
          </p:cNvSpPr>
          <p:nvPr>
            <p:ph type="body" sz="quarter" idx="22" hasCustomPrompt="1"/>
          </p:nvPr>
        </p:nvSpPr>
        <p:spPr>
          <a:xfrm>
            <a:off x="522866" y="3624484"/>
            <a:ext cx="2936957" cy="553998"/>
          </a:xfrm>
        </p:spPr>
        <p:txBody>
          <a:bodyPr wrap="square" rIns="0" anchor="t" anchorCtr="0">
            <a:noAutofit/>
          </a:bodyPr>
          <a:lstStyle>
            <a:lvl1pPr marL="0" indent="0">
              <a:spcAft>
                <a:spcPts val="500"/>
              </a:spcAft>
              <a:buNone/>
              <a:defRPr sz="1400" b="0">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7" name="Textplatzhalter 16">
            <a:extLst>
              <a:ext uri="{FF2B5EF4-FFF2-40B4-BE49-F238E27FC236}">
                <a16:creationId xmlns:a16="http://schemas.microsoft.com/office/drawing/2014/main" id="{03FD9CE6-49A1-9509-79F1-6FFF33648116}"/>
              </a:ext>
            </a:extLst>
          </p:cNvPr>
          <p:cNvSpPr>
            <a:spLocks noGrp="1"/>
          </p:cNvSpPr>
          <p:nvPr>
            <p:ph type="body" sz="quarter" idx="23" hasCustomPrompt="1"/>
          </p:nvPr>
        </p:nvSpPr>
        <p:spPr>
          <a:xfrm>
            <a:off x="522956" y="3173383"/>
            <a:ext cx="2936957" cy="369332"/>
          </a:xfrm>
        </p:spPr>
        <p:txBody>
          <a:bodyPr wrap="square" rIns="0" anchor="b" anchorCtr="0">
            <a:noAutofit/>
          </a:bodyPr>
          <a:lstStyle>
            <a:lvl1pPr marL="0" indent="0">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8" name="Textplatzhalter 16">
            <a:extLst>
              <a:ext uri="{FF2B5EF4-FFF2-40B4-BE49-F238E27FC236}">
                <a16:creationId xmlns:a16="http://schemas.microsoft.com/office/drawing/2014/main" id="{43173165-1D70-76F9-9723-BC081A89C611}"/>
              </a:ext>
            </a:extLst>
          </p:cNvPr>
          <p:cNvSpPr>
            <a:spLocks noGrp="1"/>
          </p:cNvSpPr>
          <p:nvPr>
            <p:ph type="body" sz="quarter" idx="24" hasCustomPrompt="1"/>
          </p:nvPr>
        </p:nvSpPr>
        <p:spPr>
          <a:xfrm>
            <a:off x="522866" y="4971149"/>
            <a:ext cx="2936957" cy="553998"/>
          </a:xfrm>
        </p:spPr>
        <p:txBody>
          <a:bodyPr wrap="square" rIns="0" anchor="t" anchorCtr="0">
            <a:noAutofit/>
          </a:bodyPr>
          <a:lstStyle>
            <a:lvl1pPr marL="0" indent="0">
              <a:spcAft>
                <a:spcPts val="500"/>
              </a:spcAft>
              <a:buNone/>
              <a:defRPr sz="1400" b="0">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9" name="Textplatzhalter 16">
            <a:extLst>
              <a:ext uri="{FF2B5EF4-FFF2-40B4-BE49-F238E27FC236}">
                <a16:creationId xmlns:a16="http://schemas.microsoft.com/office/drawing/2014/main" id="{C102219E-4469-47D5-A59D-CC597DA0E62C}"/>
              </a:ext>
            </a:extLst>
          </p:cNvPr>
          <p:cNvSpPr>
            <a:spLocks noGrp="1"/>
          </p:cNvSpPr>
          <p:nvPr>
            <p:ph type="body" sz="quarter" idx="25" hasCustomPrompt="1"/>
          </p:nvPr>
        </p:nvSpPr>
        <p:spPr>
          <a:xfrm>
            <a:off x="522956" y="4520048"/>
            <a:ext cx="2936957" cy="369332"/>
          </a:xfrm>
        </p:spPr>
        <p:txBody>
          <a:bodyPr wrap="square" rIns="0" anchor="b" anchorCtr="0">
            <a:noAutofit/>
          </a:bodyPr>
          <a:lstStyle>
            <a:lvl1pPr marL="0" indent="0">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0" name="Inhaltsplatzhalter 7">
            <a:extLst>
              <a:ext uri="{FF2B5EF4-FFF2-40B4-BE49-F238E27FC236}">
                <a16:creationId xmlns:a16="http://schemas.microsoft.com/office/drawing/2014/main" id="{A60180C7-6808-2499-8787-33ECF3FE775F}"/>
              </a:ext>
            </a:extLst>
          </p:cNvPr>
          <p:cNvSpPr>
            <a:spLocks noGrp="1"/>
          </p:cNvSpPr>
          <p:nvPr>
            <p:ph sz="quarter" idx="26"/>
          </p:nvPr>
        </p:nvSpPr>
        <p:spPr>
          <a:xfrm>
            <a:off x="3762954" y="1471692"/>
            <a:ext cx="4144319" cy="435676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Inhaltsplatzhalter 7">
            <a:extLst>
              <a:ext uri="{FF2B5EF4-FFF2-40B4-BE49-F238E27FC236}">
                <a16:creationId xmlns:a16="http://schemas.microsoft.com/office/drawing/2014/main" id="{B8B3F8CF-18F9-A205-E464-8CAB31369E72}"/>
              </a:ext>
            </a:extLst>
          </p:cNvPr>
          <p:cNvSpPr>
            <a:spLocks noGrp="1"/>
          </p:cNvSpPr>
          <p:nvPr>
            <p:ph sz="quarter" idx="27"/>
          </p:nvPr>
        </p:nvSpPr>
        <p:spPr>
          <a:xfrm>
            <a:off x="8199048" y="1471692"/>
            <a:ext cx="3469995" cy="43567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66524037"/>
      </p:ext>
    </p:extLst>
  </p:cSld>
  <p:clrMapOvr>
    <a:masterClrMapping/>
  </p:clrMapOvr>
  <p:extLst>
    <p:ext uri="{DCECCB84-F9BA-43D5-87BE-67443E8EF086}">
      <p15:sldGuideLst xmlns:p15="http://schemas.microsoft.com/office/powerpoint/2012/main">
        <p15:guide id="1" pos="3840" userDrawn="1">
          <p15:clr>
            <a:srgbClr val="F26B43"/>
          </p15:clr>
        </p15:guide>
        <p15:guide id="2" pos="4180" userDrawn="1">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rei Bilder und Titel - hell">
    <p:spTree>
      <p:nvGrpSpPr>
        <p:cNvPr id="1" name=""/>
        <p:cNvGrpSpPr/>
        <p:nvPr/>
      </p:nvGrpSpPr>
      <p:grpSpPr>
        <a:xfrm>
          <a:off x="0" y="0"/>
          <a:ext cx="0" cy="0"/>
          <a:chOff x="0" y="0"/>
          <a:chExt cx="0" cy="0"/>
        </a:xfrm>
      </p:grpSpPr>
      <p:sp>
        <p:nvSpPr>
          <p:cNvPr id="11" name="Bildplatzhalter 12">
            <a:extLst>
              <a:ext uri="{FF2B5EF4-FFF2-40B4-BE49-F238E27FC236}">
                <a16:creationId xmlns:a16="http://schemas.microsoft.com/office/drawing/2014/main" id="{C01E057A-782A-F2AD-B196-DF3B682FD02D}"/>
              </a:ext>
            </a:extLst>
          </p:cNvPr>
          <p:cNvSpPr>
            <a:spLocks noGrp="1"/>
          </p:cNvSpPr>
          <p:nvPr>
            <p:ph type="pic" sz="quarter" idx="16"/>
          </p:nvPr>
        </p:nvSpPr>
        <p:spPr>
          <a:xfrm>
            <a:off x="2300306" y="768350"/>
            <a:ext cx="7587182" cy="5360987"/>
          </a:xfrm>
        </p:spPr>
        <p:txBody>
          <a:bodyPr anchor="ctr" anchorCtr="0">
            <a:normAutofit/>
          </a:bodyPr>
          <a:lstStyle>
            <a:lvl1pPr marL="0" indent="0" algn="ctr">
              <a:buNone/>
              <a:defRPr sz="1200">
                <a:solidFill>
                  <a:schemeClr val="tx1"/>
                </a:solidFill>
              </a:defRPr>
            </a:lvl1pPr>
          </a:lstStyle>
          <a:p>
            <a:endParaRPr lang="de-DE"/>
          </a:p>
        </p:txBody>
      </p:sp>
      <p:sp>
        <p:nvSpPr>
          <p:cNvPr id="7" name="Bildplatzhalter 12">
            <a:extLst>
              <a:ext uri="{FF2B5EF4-FFF2-40B4-BE49-F238E27FC236}">
                <a16:creationId xmlns:a16="http://schemas.microsoft.com/office/drawing/2014/main" id="{6E1D2AA7-BE83-3EFE-A1CE-79DCFF9DE83D}"/>
              </a:ext>
            </a:extLst>
          </p:cNvPr>
          <p:cNvSpPr>
            <a:spLocks noGrp="1"/>
          </p:cNvSpPr>
          <p:nvPr>
            <p:ph type="pic" sz="quarter" idx="14"/>
          </p:nvPr>
        </p:nvSpPr>
        <p:spPr>
          <a:xfrm>
            <a:off x="10103961" y="768350"/>
            <a:ext cx="2088039" cy="5360987"/>
          </a:xfrm>
        </p:spPr>
        <p:txBody>
          <a:bodyPr anchor="ctr" anchorCtr="0">
            <a:normAutofit/>
          </a:bodyPr>
          <a:lstStyle>
            <a:lvl1pPr marL="0" indent="0" algn="ctr">
              <a:buNone/>
              <a:defRPr sz="1200">
                <a:solidFill>
                  <a:schemeClr val="tx1"/>
                </a:solidFill>
              </a:defRPr>
            </a:lvl1pPr>
          </a:lstStyle>
          <a:p>
            <a:endParaRPr lang="de-DE"/>
          </a:p>
        </p:txBody>
      </p:sp>
      <p:sp>
        <p:nvSpPr>
          <p:cNvPr id="10" name="Bildplatzhalter 12">
            <a:extLst>
              <a:ext uri="{FF2B5EF4-FFF2-40B4-BE49-F238E27FC236}">
                <a16:creationId xmlns:a16="http://schemas.microsoft.com/office/drawing/2014/main" id="{B1A41B96-BB34-C70F-27DD-C259130922C8}"/>
              </a:ext>
            </a:extLst>
          </p:cNvPr>
          <p:cNvSpPr>
            <a:spLocks noGrp="1"/>
          </p:cNvSpPr>
          <p:nvPr>
            <p:ph type="pic" sz="quarter" idx="15"/>
          </p:nvPr>
        </p:nvSpPr>
        <p:spPr>
          <a:xfrm>
            <a:off x="1" y="768350"/>
            <a:ext cx="2088038" cy="5360987"/>
          </a:xfrm>
        </p:spPr>
        <p:txBody>
          <a:bodyPr anchor="ctr" anchorCtr="0">
            <a:norm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2" name="Textplatzhalter 16">
            <a:extLst>
              <a:ext uri="{FF2B5EF4-FFF2-40B4-BE49-F238E27FC236}">
                <a16:creationId xmlns:a16="http://schemas.microsoft.com/office/drawing/2014/main" id="{B330760F-2BD9-AFB5-6743-8967F12FCC8B}"/>
              </a:ext>
            </a:extLst>
          </p:cNvPr>
          <p:cNvSpPr>
            <a:spLocks noGrp="1"/>
          </p:cNvSpPr>
          <p:nvPr>
            <p:ph type="body" sz="quarter" idx="17"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90169423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und Titel - dunkel">
    <p:bg>
      <p:bgRef idx="1001">
        <a:schemeClr val="bg1"/>
      </p:bgRef>
    </p:bg>
    <p:spTree>
      <p:nvGrpSpPr>
        <p:cNvPr id="1" name=""/>
        <p:cNvGrpSpPr/>
        <p:nvPr/>
      </p:nvGrpSpPr>
      <p:grpSpPr>
        <a:xfrm>
          <a:off x="0" y="0"/>
          <a:ext cx="0" cy="0"/>
          <a:chOff x="0" y="0"/>
          <a:chExt cx="0" cy="0"/>
        </a:xfrm>
      </p:grpSpPr>
      <p:sp>
        <p:nvSpPr>
          <p:cNvPr id="11" name="Bildplatzhalter 12">
            <a:extLst>
              <a:ext uri="{FF2B5EF4-FFF2-40B4-BE49-F238E27FC236}">
                <a16:creationId xmlns:a16="http://schemas.microsoft.com/office/drawing/2014/main" id="{C01E057A-782A-F2AD-B196-DF3B682FD02D}"/>
              </a:ext>
            </a:extLst>
          </p:cNvPr>
          <p:cNvSpPr>
            <a:spLocks noGrp="1"/>
          </p:cNvSpPr>
          <p:nvPr>
            <p:ph type="pic" sz="quarter" idx="16"/>
          </p:nvPr>
        </p:nvSpPr>
        <p:spPr>
          <a:xfrm>
            <a:off x="2300306" y="768350"/>
            <a:ext cx="7587182" cy="5360987"/>
          </a:xfrm>
        </p:spPr>
        <p:txBody>
          <a:bodyPr anchor="ctr" anchorCtr="0">
            <a:normAutofit/>
          </a:bodyPr>
          <a:lstStyle>
            <a:lvl1pPr marL="0" indent="0" algn="ctr">
              <a:buNone/>
              <a:defRPr sz="1200">
                <a:solidFill>
                  <a:schemeClr val="tx1"/>
                </a:solidFill>
              </a:defRPr>
            </a:lvl1pPr>
          </a:lstStyle>
          <a:p>
            <a:endParaRPr lang="de-DE"/>
          </a:p>
        </p:txBody>
      </p:sp>
      <p:sp>
        <p:nvSpPr>
          <p:cNvPr id="7" name="Bildplatzhalter 12">
            <a:extLst>
              <a:ext uri="{FF2B5EF4-FFF2-40B4-BE49-F238E27FC236}">
                <a16:creationId xmlns:a16="http://schemas.microsoft.com/office/drawing/2014/main" id="{6E1D2AA7-BE83-3EFE-A1CE-79DCFF9DE83D}"/>
              </a:ext>
            </a:extLst>
          </p:cNvPr>
          <p:cNvSpPr>
            <a:spLocks noGrp="1"/>
          </p:cNvSpPr>
          <p:nvPr>
            <p:ph type="pic" sz="quarter" idx="14"/>
          </p:nvPr>
        </p:nvSpPr>
        <p:spPr>
          <a:xfrm>
            <a:off x="10103961" y="768350"/>
            <a:ext cx="2088039" cy="5360987"/>
          </a:xfrm>
        </p:spPr>
        <p:txBody>
          <a:bodyPr anchor="ctr" anchorCtr="0">
            <a:normAutofit/>
          </a:bodyPr>
          <a:lstStyle>
            <a:lvl1pPr marL="0" indent="0" algn="ctr">
              <a:buNone/>
              <a:defRPr sz="1200">
                <a:solidFill>
                  <a:schemeClr val="tx1"/>
                </a:solidFill>
              </a:defRPr>
            </a:lvl1pPr>
          </a:lstStyle>
          <a:p>
            <a:endParaRPr lang="de-DE"/>
          </a:p>
        </p:txBody>
      </p:sp>
      <p:sp>
        <p:nvSpPr>
          <p:cNvPr id="10" name="Bildplatzhalter 12">
            <a:extLst>
              <a:ext uri="{FF2B5EF4-FFF2-40B4-BE49-F238E27FC236}">
                <a16:creationId xmlns:a16="http://schemas.microsoft.com/office/drawing/2014/main" id="{B1A41B96-BB34-C70F-27DD-C259130922C8}"/>
              </a:ext>
            </a:extLst>
          </p:cNvPr>
          <p:cNvSpPr>
            <a:spLocks noGrp="1"/>
          </p:cNvSpPr>
          <p:nvPr>
            <p:ph type="pic" sz="quarter" idx="15"/>
          </p:nvPr>
        </p:nvSpPr>
        <p:spPr>
          <a:xfrm>
            <a:off x="1" y="768350"/>
            <a:ext cx="2088038" cy="5360987"/>
          </a:xfrm>
        </p:spPr>
        <p:txBody>
          <a:bodyPr anchor="ctr" anchorCtr="0">
            <a:norm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2" name="Grafik 1">
            <a:extLst>
              <a:ext uri="{FF2B5EF4-FFF2-40B4-BE49-F238E27FC236}">
                <a16:creationId xmlns:a16="http://schemas.microsoft.com/office/drawing/2014/main" id="{C5015866-3E42-2060-937F-560FBB5F818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7526" y="6470564"/>
            <a:ext cx="1263592" cy="137847"/>
          </a:xfrm>
          <a:prstGeom prst="rect">
            <a:avLst/>
          </a:prstGeom>
        </p:spPr>
      </p:pic>
      <p:pic>
        <p:nvPicPr>
          <p:cNvPr id="6" name="Grafik 5">
            <a:extLst>
              <a:ext uri="{FF2B5EF4-FFF2-40B4-BE49-F238E27FC236}">
                <a16:creationId xmlns:a16="http://schemas.microsoft.com/office/drawing/2014/main" id="{C5C5C946-DDBE-DD84-EFBB-C25FE54058C0}"/>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1876" y="259570"/>
            <a:ext cx="1015670" cy="253918"/>
          </a:xfrm>
          <a:prstGeom prst="rect">
            <a:avLst/>
          </a:prstGeom>
        </p:spPr>
      </p:pic>
      <p:sp>
        <p:nvSpPr>
          <p:cNvPr id="8" name="Textplatzhalter 16">
            <a:extLst>
              <a:ext uri="{FF2B5EF4-FFF2-40B4-BE49-F238E27FC236}">
                <a16:creationId xmlns:a16="http://schemas.microsoft.com/office/drawing/2014/main" id="{1F24E79E-A9EA-06F7-331A-F3E9E77AD281}"/>
              </a:ext>
            </a:extLst>
          </p:cNvPr>
          <p:cNvSpPr>
            <a:spLocks noGrp="1"/>
          </p:cNvSpPr>
          <p:nvPr>
            <p:ph type="body" sz="quarter" idx="17"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31192335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ockup Laptop - hell">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F27FF5BD-2146-EAB6-943E-C5D921C1EEA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24300" y="-13704"/>
            <a:ext cx="8267700" cy="6351040"/>
          </a:xfrm>
          <a:custGeom>
            <a:avLst/>
            <a:gdLst>
              <a:gd name="connsiteX0" fmla="*/ 0 w 8267700"/>
              <a:gd name="connsiteY0" fmla="*/ 0 h 6351040"/>
              <a:gd name="connsiteX1" fmla="*/ 8267700 w 8267700"/>
              <a:gd name="connsiteY1" fmla="*/ 0 h 6351040"/>
              <a:gd name="connsiteX2" fmla="*/ 8267700 w 8267700"/>
              <a:gd name="connsiteY2" fmla="*/ 6351040 h 6351040"/>
              <a:gd name="connsiteX3" fmla="*/ 0 w 8267700"/>
              <a:gd name="connsiteY3" fmla="*/ 6351040 h 6351040"/>
            </a:gdLst>
            <a:ahLst/>
            <a:cxnLst>
              <a:cxn ang="0">
                <a:pos x="connsiteX0" y="connsiteY0"/>
              </a:cxn>
              <a:cxn ang="0">
                <a:pos x="connsiteX1" y="connsiteY1"/>
              </a:cxn>
              <a:cxn ang="0">
                <a:pos x="connsiteX2" y="connsiteY2"/>
              </a:cxn>
              <a:cxn ang="0">
                <a:pos x="connsiteX3" y="connsiteY3"/>
              </a:cxn>
            </a:cxnLst>
            <a:rect l="l" t="t" r="r" b="b"/>
            <a:pathLst>
              <a:path w="8267700" h="6351040">
                <a:moveTo>
                  <a:pt x="0" y="0"/>
                </a:moveTo>
                <a:lnTo>
                  <a:pt x="8267700" y="0"/>
                </a:lnTo>
                <a:lnTo>
                  <a:pt x="8267700" y="6351040"/>
                </a:lnTo>
                <a:lnTo>
                  <a:pt x="0" y="6351040"/>
                </a:lnTo>
                <a:close/>
              </a:path>
            </a:pathLst>
          </a:custGeom>
        </p:spPr>
      </p:pic>
      <p:sp>
        <p:nvSpPr>
          <p:cNvPr id="27" name="Bildplatzhalter 26">
            <a:extLst>
              <a:ext uri="{FF2B5EF4-FFF2-40B4-BE49-F238E27FC236}">
                <a16:creationId xmlns:a16="http://schemas.microsoft.com/office/drawing/2014/main" id="{66625318-F36F-6A49-F389-3329B563ECD2}"/>
              </a:ext>
            </a:extLst>
          </p:cNvPr>
          <p:cNvSpPr>
            <a:spLocks noGrp="1"/>
          </p:cNvSpPr>
          <p:nvPr>
            <p:ph type="pic" sz="quarter" idx="16"/>
          </p:nvPr>
        </p:nvSpPr>
        <p:spPr>
          <a:xfrm>
            <a:off x="5310555" y="416107"/>
            <a:ext cx="6881446" cy="5065858"/>
          </a:xfrm>
          <a:custGeom>
            <a:avLst/>
            <a:gdLst>
              <a:gd name="connsiteX0" fmla="*/ 110153 w 6868886"/>
              <a:gd name="connsiteY0" fmla="*/ 0 h 5065858"/>
              <a:gd name="connsiteX1" fmla="*/ 2887380 w 6868886"/>
              <a:gd name="connsiteY1" fmla="*/ 0 h 5065858"/>
              <a:gd name="connsiteX2" fmla="*/ 3407533 w 6868886"/>
              <a:gd name="connsiteY2" fmla="*/ 0 h 5065858"/>
              <a:gd name="connsiteX3" fmla="*/ 4409756 w 6868886"/>
              <a:gd name="connsiteY3" fmla="*/ 0 h 5065858"/>
              <a:gd name="connsiteX4" fmla="*/ 5211340 w 6868886"/>
              <a:gd name="connsiteY4" fmla="*/ 0 h 5065858"/>
              <a:gd name="connsiteX5" fmla="*/ 6868886 w 6868886"/>
              <a:gd name="connsiteY5" fmla="*/ 0 h 5065858"/>
              <a:gd name="connsiteX6" fmla="*/ 6868886 w 6868886"/>
              <a:gd name="connsiteY6" fmla="*/ 5065858 h 5065858"/>
              <a:gd name="connsiteX7" fmla="*/ 0 w 6868886"/>
              <a:gd name="connsiteY7" fmla="*/ 5065858 h 5065858"/>
              <a:gd name="connsiteX8" fmla="*/ 0 w 6868886"/>
              <a:gd name="connsiteY8" fmla="*/ 110133 h 5065858"/>
              <a:gd name="connsiteX9" fmla="*/ 110153 w 6868886"/>
              <a:gd name="connsiteY9" fmla="*/ 0 h 506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68886" h="5065858">
                <a:moveTo>
                  <a:pt x="110153" y="0"/>
                </a:moveTo>
                <a:lnTo>
                  <a:pt x="2887380" y="0"/>
                </a:lnTo>
                <a:lnTo>
                  <a:pt x="3407533" y="0"/>
                </a:lnTo>
                <a:lnTo>
                  <a:pt x="4409756" y="0"/>
                </a:lnTo>
                <a:lnTo>
                  <a:pt x="5211340" y="0"/>
                </a:lnTo>
                <a:lnTo>
                  <a:pt x="6868886" y="0"/>
                </a:lnTo>
                <a:lnTo>
                  <a:pt x="6868886" y="5065858"/>
                </a:lnTo>
                <a:lnTo>
                  <a:pt x="0" y="5065858"/>
                </a:lnTo>
                <a:lnTo>
                  <a:pt x="0" y="110133"/>
                </a:lnTo>
                <a:cubicBezTo>
                  <a:pt x="0" y="49308"/>
                  <a:pt x="49317" y="0"/>
                  <a:pt x="110153" y="0"/>
                </a:cubicBezTo>
                <a:close/>
              </a:path>
            </a:pathLst>
          </a:custGeom>
        </p:spPr>
        <p:txBody>
          <a:bodyPr wrap="square" anchor="ctr" anchorCtr="0">
            <a:no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6" name="Titel 1">
            <a:extLst>
              <a:ext uri="{FF2B5EF4-FFF2-40B4-BE49-F238E27FC236}">
                <a16:creationId xmlns:a16="http://schemas.microsoft.com/office/drawing/2014/main" id="{71DD2457-237F-31F3-A8F6-2634E45A5AD7}"/>
              </a:ext>
            </a:extLst>
          </p:cNvPr>
          <p:cNvSpPr>
            <a:spLocks noGrp="1"/>
          </p:cNvSpPr>
          <p:nvPr>
            <p:ph type="title"/>
          </p:nvPr>
        </p:nvSpPr>
        <p:spPr>
          <a:xfrm>
            <a:off x="515939" y="1975907"/>
            <a:ext cx="4247130" cy="2389725"/>
          </a:xfrm>
        </p:spPr>
        <p:txBody>
          <a:bodyPr wrap="square" anchor="ctr" anchorCtr="0">
            <a:noAutofit/>
          </a:bodyPr>
          <a:lstStyle>
            <a:lvl1pPr>
              <a:defRPr sz="3600"/>
            </a:lvl1pPr>
          </a:lstStyle>
          <a:p>
            <a:endParaRPr lang="de-DE" dirty="0"/>
          </a:p>
        </p:txBody>
      </p:sp>
    </p:spTree>
    <p:extLst>
      <p:ext uri="{BB962C8B-B14F-4D97-AF65-F5344CB8AC3E}">
        <p14:creationId xmlns:p14="http://schemas.microsoft.com/office/powerpoint/2010/main" val="362980628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ockup Laptop - dunkel">
    <p:bg>
      <p:bgRef idx="1001">
        <a:schemeClr val="bg1"/>
      </p:bgRef>
    </p:bg>
    <p:spTree>
      <p:nvGrpSpPr>
        <p:cNvPr id="1" name=""/>
        <p:cNvGrpSpPr/>
        <p:nvPr/>
      </p:nvGrpSpPr>
      <p:grpSpPr>
        <a:xfrm>
          <a:off x="0" y="0"/>
          <a:ext cx="0" cy="0"/>
          <a:chOff x="0" y="0"/>
          <a:chExt cx="0" cy="0"/>
        </a:xfrm>
      </p:grpSpPr>
      <p:pic>
        <p:nvPicPr>
          <p:cNvPr id="25" name="Grafik 24">
            <a:extLst>
              <a:ext uri="{FF2B5EF4-FFF2-40B4-BE49-F238E27FC236}">
                <a16:creationId xmlns:a16="http://schemas.microsoft.com/office/drawing/2014/main" id="{F27FF5BD-2146-EAB6-943E-C5D921C1EEA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24300" y="-13704"/>
            <a:ext cx="8267700" cy="6351040"/>
          </a:xfrm>
          <a:custGeom>
            <a:avLst/>
            <a:gdLst>
              <a:gd name="connsiteX0" fmla="*/ 0 w 8267700"/>
              <a:gd name="connsiteY0" fmla="*/ 0 h 6351040"/>
              <a:gd name="connsiteX1" fmla="*/ 8267700 w 8267700"/>
              <a:gd name="connsiteY1" fmla="*/ 0 h 6351040"/>
              <a:gd name="connsiteX2" fmla="*/ 8267700 w 8267700"/>
              <a:gd name="connsiteY2" fmla="*/ 6351040 h 6351040"/>
              <a:gd name="connsiteX3" fmla="*/ 0 w 8267700"/>
              <a:gd name="connsiteY3" fmla="*/ 6351040 h 6351040"/>
            </a:gdLst>
            <a:ahLst/>
            <a:cxnLst>
              <a:cxn ang="0">
                <a:pos x="connsiteX0" y="connsiteY0"/>
              </a:cxn>
              <a:cxn ang="0">
                <a:pos x="connsiteX1" y="connsiteY1"/>
              </a:cxn>
              <a:cxn ang="0">
                <a:pos x="connsiteX2" y="connsiteY2"/>
              </a:cxn>
              <a:cxn ang="0">
                <a:pos x="connsiteX3" y="connsiteY3"/>
              </a:cxn>
            </a:cxnLst>
            <a:rect l="l" t="t" r="r" b="b"/>
            <a:pathLst>
              <a:path w="8267700" h="6351040">
                <a:moveTo>
                  <a:pt x="0" y="0"/>
                </a:moveTo>
                <a:lnTo>
                  <a:pt x="8267700" y="0"/>
                </a:lnTo>
                <a:lnTo>
                  <a:pt x="8267700" y="6351040"/>
                </a:lnTo>
                <a:lnTo>
                  <a:pt x="0" y="6351040"/>
                </a:lnTo>
                <a:close/>
              </a:path>
            </a:pathLst>
          </a:custGeom>
        </p:spPr>
      </p:pic>
      <p:sp>
        <p:nvSpPr>
          <p:cNvPr id="27" name="Bildplatzhalter 26">
            <a:extLst>
              <a:ext uri="{FF2B5EF4-FFF2-40B4-BE49-F238E27FC236}">
                <a16:creationId xmlns:a16="http://schemas.microsoft.com/office/drawing/2014/main" id="{66625318-F36F-6A49-F389-3329B563ECD2}"/>
              </a:ext>
            </a:extLst>
          </p:cNvPr>
          <p:cNvSpPr>
            <a:spLocks noGrp="1"/>
          </p:cNvSpPr>
          <p:nvPr>
            <p:ph type="pic" sz="quarter" idx="16"/>
          </p:nvPr>
        </p:nvSpPr>
        <p:spPr>
          <a:xfrm>
            <a:off x="5310555" y="416107"/>
            <a:ext cx="6881446" cy="5065858"/>
          </a:xfrm>
          <a:custGeom>
            <a:avLst/>
            <a:gdLst>
              <a:gd name="connsiteX0" fmla="*/ 110153 w 6868886"/>
              <a:gd name="connsiteY0" fmla="*/ 0 h 5065858"/>
              <a:gd name="connsiteX1" fmla="*/ 2887380 w 6868886"/>
              <a:gd name="connsiteY1" fmla="*/ 0 h 5065858"/>
              <a:gd name="connsiteX2" fmla="*/ 3407533 w 6868886"/>
              <a:gd name="connsiteY2" fmla="*/ 0 h 5065858"/>
              <a:gd name="connsiteX3" fmla="*/ 4409756 w 6868886"/>
              <a:gd name="connsiteY3" fmla="*/ 0 h 5065858"/>
              <a:gd name="connsiteX4" fmla="*/ 5211340 w 6868886"/>
              <a:gd name="connsiteY4" fmla="*/ 0 h 5065858"/>
              <a:gd name="connsiteX5" fmla="*/ 6868886 w 6868886"/>
              <a:gd name="connsiteY5" fmla="*/ 0 h 5065858"/>
              <a:gd name="connsiteX6" fmla="*/ 6868886 w 6868886"/>
              <a:gd name="connsiteY6" fmla="*/ 5065858 h 5065858"/>
              <a:gd name="connsiteX7" fmla="*/ 0 w 6868886"/>
              <a:gd name="connsiteY7" fmla="*/ 5065858 h 5065858"/>
              <a:gd name="connsiteX8" fmla="*/ 0 w 6868886"/>
              <a:gd name="connsiteY8" fmla="*/ 110133 h 5065858"/>
              <a:gd name="connsiteX9" fmla="*/ 110153 w 6868886"/>
              <a:gd name="connsiteY9" fmla="*/ 0 h 506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68886" h="5065858">
                <a:moveTo>
                  <a:pt x="110153" y="0"/>
                </a:moveTo>
                <a:lnTo>
                  <a:pt x="2887380" y="0"/>
                </a:lnTo>
                <a:lnTo>
                  <a:pt x="3407533" y="0"/>
                </a:lnTo>
                <a:lnTo>
                  <a:pt x="4409756" y="0"/>
                </a:lnTo>
                <a:lnTo>
                  <a:pt x="5211340" y="0"/>
                </a:lnTo>
                <a:lnTo>
                  <a:pt x="6868886" y="0"/>
                </a:lnTo>
                <a:lnTo>
                  <a:pt x="6868886" y="5065858"/>
                </a:lnTo>
                <a:lnTo>
                  <a:pt x="0" y="5065858"/>
                </a:lnTo>
                <a:lnTo>
                  <a:pt x="0" y="110133"/>
                </a:lnTo>
                <a:cubicBezTo>
                  <a:pt x="0" y="49308"/>
                  <a:pt x="49317" y="0"/>
                  <a:pt x="110153" y="0"/>
                </a:cubicBezTo>
                <a:close/>
              </a:path>
            </a:pathLst>
          </a:custGeom>
        </p:spPr>
        <p:txBody>
          <a:bodyPr wrap="square" anchor="ctr" anchorCtr="0">
            <a:noAutofit/>
          </a:bodyPr>
          <a:lstStyle>
            <a:lvl1pPr marL="0" indent="0" algn="ctr">
              <a:buNone/>
              <a:defRPr sz="1200">
                <a:solidFill>
                  <a:schemeClr val="tx1"/>
                </a:solidFill>
              </a:defRPr>
            </a:lvl1pPr>
          </a:lstStyle>
          <a:p>
            <a:endParaRPr lang="de-DE"/>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6" name="Titel 1">
            <a:extLst>
              <a:ext uri="{FF2B5EF4-FFF2-40B4-BE49-F238E27FC236}">
                <a16:creationId xmlns:a16="http://schemas.microsoft.com/office/drawing/2014/main" id="{71DD2457-237F-31F3-A8F6-2634E45A5AD7}"/>
              </a:ext>
            </a:extLst>
          </p:cNvPr>
          <p:cNvSpPr>
            <a:spLocks noGrp="1"/>
          </p:cNvSpPr>
          <p:nvPr>
            <p:ph type="title"/>
          </p:nvPr>
        </p:nvSpPr>
        <p:spPr>
          <a:xfrm>
            <a:off x="515939" y="1975907"/>
            <a:ext cx="4247130" cy="2389725"/>
          </a:xfrm>
        </p:spPr>
        <p:txBody>
          <a:bodyPr wrap="square" anchor="ctr" anchorCtr="0">
            <a:noAutofit/>
          </a:bodyPr>
          <a:lstStyle>
            <a:lvl1pPr>
              <a:defRPr sz="3600"/>
            </a:lvl1pPr>
          </a:lstStyle>
          <a:p>
            <a:endParaRPr lang="de-DE" dirty="0"/>
          </a:p>
        </p:txBody>
      </p:sp>
      <p:pic>
        <p:nvPicPr>
          <p:cNvPr id="2" name="Grafik 1">
            <a:extLst>
              <a:ext uri="{FF2B5EF4-FFF2-40B4-BE49-F238E27FC236}">
                <a16:creationId xmlns:a16="http://schemas.microsoft.com/office/drawing/2014/main" id="{FB96EB70-098A-D555-3802-708B714E1DE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876" y="259570"/>
            <a:ext cx="1015670" cy="253918"/>
          </a:xfrm>
          <a:prstGeom prst="rect">
            <a:avLst/>
          </a:prstGeom>
        </p:spPr>
      </p:pic>
      <p:pic>
        <p:nvPicPr>
          <p:cNvPr id="7" name="Grafik 6">
            <a:extLst>
              <a:ext uri="{FF2B5EF4-FFF2-40B4-BE49-F238E27FC236}">
                <a16:creationId xmlns:a16="http://schemas.microsoft.com/office/drawing/2014/main" id="{6BFC4F16-E0E3-8648-EB68-78D081DE2CF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7526" y="6470564"/>
            <a:ext cx="1263592" cy="137847"/>
          </a:xfrm>
          <a:prstGeom prst="rect">
            <a:avLst/>
          </a:prstGeom>
        </p:spPr>
      </p:pic>
    </p:spTree>
    <p:extLst>
      <p:ext uri="{BB962C8B-B14F-4D97-AF65-F5344CB8AC3E}">
        <p14:creationId xmlns:p14="http://schemas.microsoft.com/office/powerpoint/2010/main" val="40992518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oßes Bild und Titel -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AC1AF-4376-8F86-D0F4-D5B800D2D3E4}"/>
              </a:ext>
            </a:extLst>
          </p:cNvPr>
          <p:cNvSpPr>
            <a:spLocks noGrp="1"/>
          </p:cNvSpPr>
          <p:nvPr>
            <p:ph type="title"/>
          </p:nvPr>
        </p:nvSpPr>
        <p:spPr>
          <a:xfrm>
            <a:off x="515940" y="787432"/>
            <a:ext cx="2670606" cy="5341906"/>
          </a:xfrm>
        </p:spPr>
        <p:txBody>
          <a:bodyPr>
            <a:noAutofit/>
          </a:bodyPr>
          <a:lstStyle/>
          <a:p>
            <a:endParaRPr lang="de-DE" dirty="0"/>
          </a:p>
        </p:txBody>
      </p:sp>
      <p:sp>
        <p:nvSpPr>
          <p:cNvPr id="3" name="Datumsplatzhalter 2">
            <a:extLst>
              <a:ext uri="{FF2B5EF4-FFF2-40B4-BE49-F238E27FC236}">
                <a16:creationId xmlns:a16="http://schemas.microsoft.com/office/drawing/2014/main" id="{F2B0DB70-56AA-B7D1-1F8E-1D08975FA27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F2A86A31-697A-7B0A-88E0-C59A635FA71F}"/>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217A343B-F0BE-BB02-86F3-0E1F2E18F31F}"/>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Inhaltsplatzhalter 7">
            <a:extLst>
              <a:ext uri="{FF2B5EF4-FFF2-40B4-BE49-F238E27FC236}">
                <a16:creationId xmlns:a16="http://schemas.microsoft.com/office/drawing/2014/main" id="{8404CF22-846F-E008-9AFC-A5C5CBAA0EB5}"/>
              </a:ext>
            </a:extLst>
          </p:cNvPr>
          <p:cNvSpPr>
            <a:spLocks noGrp="1"/>
          </p:cNvSpPr>
          <p:nvPr>
            <p:ph sz="quarter" idx="26"/>
          </p:nvPr>
        </p:nvSpPr>
        <p:spPr>
          <a:xfrm>
            <a:off x="3517734" y="0"/>
            <a:ext cx="8674266" cy="6129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72667595"/>
      </p:ext>
    </p:extLst>
  </p:cSld>
  <p:clrMapOvr>
    <a:masterClrMapping/>
  </p:clrMapOvr>
  <p:extLst>
    <p:ext uri="{DCECCB84-F9BA-43D5-87BE-67443E8EF086}">
      <p15:sldGuideLst xmlns:p15="http://schemas.microsoft.com/office/powerpoint/2012/main">
        <p15:guide id="1" pos="2207" userDrawn="1">
          <p15:clr>
            <a:srgbClr val="F26B43"/>
          </p15:clr>
        </p15:guide>
        <p15:guide id="2" pos="2026" userDrawn="1">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oßes Bild und Titel - dunkel">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AC1AF-4376-8F86-D0F4-D5B800D2D3E4}"/>
              </a:ext>
            </a:extLst>
          </p:cNvPr>
          <p:cNvSpPr>
            <a:spLocks noGrp="1"/>
          </p:cNvSpPr>
          <p:nvPr>
            <p:ph type="title"/>
          </p:nvPr>
        </p:nvSpPr>
        <p:spPr>
          <a:xfrm>
            <a:off x="515940" y="787432"/>
            <a:ext cx="2670606" cy="5341906"/>
          </a:xfrm>
        </p:spPr>
        <p:txBody>
          <a:bodyPr>
            <a:noAutofit/>
          </a:bodyPr>
          <a:lstStyle/>
          <a:p>
            <a:endParaRPr lang="de-DE" dirty="0"/>
          </a:p>
        </p:txBody>
      </p:sp>
      <p:sp>
        <p:nvSpPr>
          <p:cNvPr id="3" name="Datumsplatzhalter 2">
            <a:extLst>
              <a:ext uri="{FF2B5EF4-FFF2-40B4-BE49-F238E27FC236}">
                <a16:creationId xmlns:a16="http://schemas.microsoft.com/office/drawing/2014/main" id="{F2B0DB70-56AA-B7D1-1F8E-1D08975FA27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F2A86A31-697A-7B0A-88E0-C59A635FA71F}"/>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217A343B-F0BE-BB02-86F3-0E1F2E18F31F}"/>
              </a:ext>
            </a:extLst>
          </p:cNvPr>
          <p:cNvSpPr>
            <a:spLocks noGrp="1"/>
          </p:cNvSpPr>
          <p:nvPr>
            <p:ph type="sldNum" sz="quarter" idx="12"/>
          </p:nvPr>
        </p:nvSpPr>
        <p:spPr/>
        <p:txBody>
          <a:bodyPr/>
          <a:lstStyle/>
          <a:p>
            <a:fld id="{E84006A6-0E15-460A-BCD4-002C20F8AC9F}" type="slidenum">
              <a:rPr lang="de-DE" smtClean="0"/>
              <a:pPr/>
              <a:t>‹Nr.›</a:t>
            </a:fld>
            <a:endParaRPr lang="de-DE"/>
          </a:p>
        </p:txBody>
      </p:sp>
      <p:pic>
        <p:nvPicPr>
          <p:cNvPr id="6" name="Grafik 5">
            <a:extLst>
              <a:ext uri="{FF2B5EF4-FFF2-40B4-BE49-F238E27FC236}">
                <a16:creationId xmlns:a16="http://schemas.microsoft.com/office/drawing/2014/main" id="{39B14F3E-374F-7D17-321E-2EFB1047037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7" name="Grafik 6">
            <a:extLst>
              <a:ext uri="{FF2B5EF4-FFF2-40B4-BE49-F238E27FC236}">
                <a16:creationId xmlns:a16="http://schemas.microsoft.com/office/drawing/2014/main" id="{A1C575A5-4433-37E1-F7D8-F9DC05B04F8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9" name="Inhaltsplatzhalter 7">
            <a:extLst>
              <a:ext uri="{FF2B5EF4-FFF2-40B4-BE49-F238E27FC236}">
                <a16:creationId xmlns:a16="http://schemas.microsoft.com/office/drawing/2014/main" id="{0FF7C8D4-BC29-5465-C941-A3E1522318F1}"/>
              </a:ext>
            </a:extLst>
          </p:cNvPr>
          <p:cNvSpPr>
            <a:spLocks noGrp="1"/>
          </p:cNvSpPr>
          <p:nvPr>
            <p:ph sz="quarter" idx="26"/>
          </p:nvPr>
        </p:nvSpPr>
        <p:spPr>
          <a:xfrm>
            <a:off x="3517734" y="0"/>
            <a:ext cx="8674266" cy="612933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71135316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207" userDrawn="1">
          <p15:clr>
            <a:srgbClr val="F26B43"/>
          </p15:clr>
        </p15:guide>
        <p15:guide id="2" pos="2026" userDrawn="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Zwei Produktbilder und Text - hell">
    <p:spTree>
      <p:nvGrpSpPr>
        <p:cNvPr id="1" name=""/>
        <p:cNvGrpSpPr/>
        <p:nvPr/>
      </p:nvGrpSpPr>
      <p:grpSpPr>
        <a:xfrm>
          <a:off x="0" y="0"/>
          <a:ext cx="0" cy="0"/>
          <a:chOff x="0" y="0"/>
          <a:chExt cx="0" cy="0"/>
        </a:xfrm>
      </p:grpSpPr>
      <p:sp>
        <p:nvSpPr>
          <p:cNvPr id="11" name="Inhaltsplatzhalter 7">
            <a:extLst>
              <a:ext uri="{FF2B5EF4-FFF2-40B4-BE49-F238E27FC236}">
                <a16:creationId xmlns:a16="http://schemas.microsoft.com/office/drawing/2014/main" id="{A88FD150-6937-F54A-351A-4A4EBAE4D040}"/>
              </a:ext>
            </a:extLst>
          </p:cNvPr>
          <p:cNvSpPr>
            <a:spLocks noGrp="1"/>
          </p:cNvSpPr>
          <p:nvPr>
            <p:ph sz="quarter" idx="28"/>
          </p:nvPr>
        </p:nvSpPr>
        <p:spPr>
          <a:xfrm>
            <a:off x="516026" y="765175"/>
            <a:ext cx="5580063" cy="53641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Inhaltsplatzhalter 7">
            <a:extLst>
              <a:ext uri="{FF2B5EF4-FFF2-40B4-BE49-F238E27FC236}">
                <a16:creationId xmlns:a16="http://schemas.microsoft.com/office/drawing/2014/main" id="{8226BA0E-E04C-C093-5F0C-5C7178D17270}"/>
              </a:ext>
            </a:extLst>
          </p:cNvPr>
          <p:cNvSpPr>
            <a:spLocks noGrp="1"/>
          </p:cNvSpPr>
          <p:nvPr>
            <p:ph sz="quarter" idx="27"/>
          </p:nvPr>
        </p:nvSpPr>
        <p:spPr>
          <a:xfrm>
            <a:off x="6096000" y="765174"/>
            <a:ext cx="5580063" cy="53641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a:extLst>
              <a:ext uri="{FF2B5EF4-FFF2-40B4-BE49-F238E27FC236}">
                <a16:creationId xmlns:a16="http://schemas.microsoft.com/office/drawing/2014/main" id="{F0083194-D988-8A84-C58F-91AA5DD0C533}"/>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C0E766A-6AA6-721B-A4C0-E207F56CBD79}"/>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C2ABEA71-5DDD-D847-A1E0-707423956500}"/>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Textplatzhalter 16">
            <a:extLst>
              <a:ext uri="{FF2B5EF4-FFF2-40B4-BE49-F238E27FC236}">
                <a16:creationId xmlns:a16="http://schemas.microsoft.com/office/drawing/2014/main" id="{A9032785-CB9B-F817-3E21-9B0A2DFCD227}"/>
              </a:ext>
            </a:extLst>
          </p:cNvPr>
          <p:cNvSpPr>
            <a:spLocks noGrp="1"/>
          </p:cNvSpPr>
          <p:nvPr>
            <p:ph type="body" sz="quarter" idx="25" hasCustomPrompt="1"/>
          </p:nvPr>
        </p:nvSpPr>
        <p:spPr>
          <a:xfrm>
            <a:off x="813901" y="4778912"/>
            <a:ext cx="2497335" cy="1107996"/>
          </a:xfrm>
        </p:spPr>
        <p:txBody>
          <a:bodyPr wrap="square" rIns="0" anchor="b" anchorCtr="0">
            <a:noAutofit/>
          </a:bodyPr>
          <a:lstStyle>
            <a:lvl1pPr marL="0" indent="0">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0" name="Textplatzhalter 16">
            <a:extLst>
              <a:ext uri="{FF2B5EF4-FFF2-40B4-BE49-F238E27FC236}">
                <a16:creationId xmlns:a16="http://schemas.microsoft.com/office/drawing/2014/main" id="{81A06E61-F3B4-334A-11DE-120344BA2688}"/>
              </a:ext>
            </a:extLst>
          </p:cNvPr>
          <p:cNvSpPr>
            <a:spLocks noGrp="1"/>
          </p:cNvSpPr>
          <p:nvPr>
            <p:ph type="body" sz="quarter" idx="26" hasCustomPrompt="1"/>
          </p:nvPr>
        </p:nvSpPr>
        <p:spPr>
          <a:xfrm>
            <a:off x="8880764" y="4778912"/>
            <a:ext cx="2497335" cy="1107996"/>
          </a:xfrm>
        </p:spPr>
        <p:txBody>
          <a:bodyPr wrap="square" rIns="0" anchor="b" anchorCtr="0">
            <a:noAutofit/>
          </a:bodyPr>
          <a:lstStyle>
            <a:lvl1pPr marL="0" indent="0" algn="r">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6" name="Textplatzhalter 16">
            <a:extLst>
              <a:ext uri="{FF2B5EF4-FFF2-40B4-BE49-F238E27FC236}">
                <a16:creationId xmlns:a16="http://schemas.microsoft.com/office/drawing/2014/main" id="{EA572A6D-DA04-C7F6-1EE6-27634C25C95F}"/>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1894341598"/>
      </p:ext>
    </p:extLst>
  </p:cSld>
  <p:clrMapOvr>
    <a:masterClrMapping/>
  </p:clrMapOvr>
  <p:extLst>
    <p:ext uri="{DCECCB84-F9BA-43D5-87BE-67443E8EF086}">
      <p15:sldGuideLst xmlns:p15="http://schemas.microsoft.com/office/powerpoint/2012/main">
        <p15:guide id="1" pos="3840"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Headline - hel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EC02FFB-74A3-B806-B80C-E3424C345D45}"/>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F49DBEC-528A-4081-B4A8-43C7F8BC3C3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8451A56-4C31-254B-F5E3-55F8B3E41455}"/>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2" name="Titel 1">
            <a:extLst>
              <a:ext uri="{FF2B5EF4-FFF2-40B4-BE49-F238E27FC236}">
                <a16:creationId xmlns:a16="http://schemas.microsoft.com/office/drawing/2014/main" id="{5AEF48E4-B329-D61A-F032-A615AC2139D3}"/>
              </a:ext>
            </a:extLst>
          </p:cNvPr>
          <p:cNvSpPr>
            <a:spLocks noGrp="1"/>
          </p:cNvSpPr>
          <p:nvPr>
            <p:ph type="title"/>
          </p:nvPr>
        </p:nvSpPr>
        <p:spPr>
          <a:xfrm>
            <a:off x="515938" y="788711"/>
            <a:ext cx="11166063" cy="738664"/>
          </a:xfrm>
        </p:spPr>
        <p:txBody>
          <a:bodyPr>
            <a:noAutofit/>
          </a:bodyPr>
          <a:lstStyle>
            <a:lvl1pPr>
              <a:defRPr sz="2400"/>
            </a:lvl1pPr>
          </a:lstStyle>
          <a:p>
            <a:endParaRPr lang="de-DE" dirty="0"/>
          </a:p>
        </p:txBody>
      </p:sp>
    </p:spTree>
    <p:extLst>
      <p:ext uri="{BB962C8B-B14F-4D97-AF65-F5344CB8AC3E}">
        <p14:creationId xmlns:p14="http://schemas.microsoft.com/office/powerpoint/2010/main" val="2464298501"/>
      </p:ext>
    </p:extLst>
  </p:cSld>
  <p:clrMapOvr>
    <a:masterClrMapping/>
  </p:clrMapOvr>
  <p:extLst>
    <p:ext uri="{DCECCB84-F9BA-43D5-87BE-67443E8EF086}">
      <p15:sldGuideLst xmlns:p15="http://schemas.microsoft.com/office/powerpoint/2012/main">
        <p15:guide id="2" orient="horz" pos="1117" userDrawn="1">
          <p15:clr>
            <a:srgbClr val="F26B43"/>
          </p15:clr>
        </p15:guide>
        <p15:guide id="3" orient="horz" pos="958"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Zwei Produktbilder und Text - dunkel">
    <p:bg>
      <p:bgRef idx="1001">
        <a:schemeClr val="bg1"/>
      </p:bgRef>
    </p:bg>
    <p:spTree>
      <p:nvGrpSpPr>
        <p:cNvPr id="1" name=""/>
        <p:cNvGrpSpPr/>
        <p:nvPr/>
      </p:nvGrpSpPr>
      <p:grpSpPr>
        <a:xfrm>
          <a:off x="0" y="0"/>
          <a:ext cx="0" cy="0"/>
          <a:chOff x="0" y="0"/>
          <a:chExt cx="0" cy="0"/>
        </a:xfrm>
      </p:grpSpPr>
      <p:sp>
        <p:nvSpPr>
          <p:cNvPr id="11" name="Inhaltsplatzhalter 7">
            <a:extLst>
              <a:ext uri="{FF2B5EF4-FFF2-40B4-BE49-F238E27FC236}">
                <a16:creationId xmlns:a16="http://schemas.microsoft.com/office/drawing/2014/main" id="{0538ABF3-AAD9-278B-B3E5-0E7DD0DE473C}"/>
              </a:ext>
            </a:extLst>
          </p:cNvPr>
          <p:cNvSpPr>
            <a:spLocks noGrp="1"/>
          </p:cNvSpPr>
          <p:nvPr>
            <p:ph sz="quarter" idx="28"/>
          </p:nvPr>
        </p:nvSpPr>
        <p:spPr>
          <a:xfrm>
            <a:off x="516026" y="765175"/>
            <a:ext cx="5580063" cy="53641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7">
            <a:extLst>
              <a:ext uri="{FF2B5EF4-FFF2-40B4-BE49-F238E27FC236}">
                <a16:creationId xmlns:a16="http://schemas.microsoft.com/office/drawing/2014/main" id="{BCA06240-63AE-4806-A463-D0CC0900D13A}"/>
              </a:ext>
            </a:extLst>
          </p:cNvPr>
          <p:cNvSpPr>
            <a:spLocks noGrp="1"/>
          </p:cNvSpPr>
          <p:nvPr>
            <p:ph sz="quarter" idx="27"/>
          </p:nvPr>
        </p:nvSpPr>
        <p:spPr>
          <a:xfrm>
            <a:off x="6096000" y="765174"/>
            <a:ext cx="5580063" cy="536416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a:extLst>
              <a:ext uri="{FF2B5EF4-FFF2-40B4-BE49-F238E27FC236}">
                <a16:creationId xmlns:a16="http://schemas.microsoft.com/office/drawing/2014/main" id="{F0083194-D988-8A84-C58F-91AA5DD0C533}"/>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C0E766A-6AA6-721B-A4C0-E207F56CBD79}"/>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C2ABEA71-5DDD-D847-A1E0-707423956500}"/>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Textplatzhalter 16">
            <a:extLst>
              <a:ext uri="{FF2B5EF4-FFF2-40B4-BE49-F238E27FC236}">
                <a16:creationId xmlns:a16="http://schemas.microsoft.com/office/drawing/2014/main" id="{A9032785-CB9B-F817-3E21-9B0A2DFCD227}"/>
              </a:ext>
            </a:extLst>
          </p:cNvPr>
          <p:cNvSpPr>
            <a:spLocks noGrp="1"/>
          </p:cNvSpPr>
          <p:nvPr>
            <p:ph type="body" sz="quarter" idx="25" hasCustomPrompt="1"/>
          </p:nvPr>
        </p:nvSpPr>
        <p:spPr>
          <a:xfrm>
            <a:off x="813901" y="4778912"/>
            <a:ext cx="2497335" cy="1107996"/>
          </a:xfrm>
        </p:spPr>
        <p:txBody>
          <a:bodyPr wrap="square" rIns="0" anchor="b" anchorCtr="0">
            <a:noAutofit/>
          </a:bodyPr>
          <a:lstStyle>
            <a:lvl1pPr marL="0" indent="0">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10" name="Textplatzhalter 16">
            <a:extLst>
              <a:ext uri="{FF2B5EF4-FFF2-40B4-BE49-F238E27FC236}">
                <a16:creationId xmlns:a16="http://schemas.microsoft.com/office/drawing/2014/main" id="{81A06E61-F3B4-334A-11DE-120344BA2688}"/>
              </a:ext>
            </a:extLst>
          </p:cNvPr>
          <p:cNvSpPr>
            <a:spLocks noGrp="1"/>
          </p:cNvSpPr>
          <p:nvPr>
            <p:ph type="body" sz="quarter" idx="26" hasCustomPrompt="1"/>
          </p:nvPr>
        </p:nvSpPr>
        <p:spPr>
          <a:xfrm>
            <a:off x="8880764" y="4778912"/>
            <a:ext cx="2497335" cy="1107996"/>
          </a:xfrm>
        </p:spPr>
        <p:txBody>
          <a:bodyPr wrap="square" rIns="0" anchor="b" anchorCtr="0">
            <a:noAutofit/>
          </a:bodyPr>
          <a:lstStyle>
            <a:lvl1pPr marL="0" indent="0" algn="r">
              <a:spcAft>
                <a:spcPts val="0"/>
              </a:spcAft>
              <a:buNone/>
              <a:defRPr sz="2400" b="1">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pic>
        <p:nvPicPr>
          <p:cNvPr id="2" name="Grafik 1">
            <a:extLst>
              <a:ext uri="{FF2B5EF4-FFF2-40B4-BE49-F238E27FC236}">
                <a16:creationId xmlns:a16="http://schemas.microsoft.com/office/drawing/2014/main" id="{5838AF0A-3E83-AEDD-5FDB-F0406723E77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B500A773-0D0B-CBB7-9F9D-F21EFCB6166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7" name="Textplatzhalter 16">
            <a:extLst>
              <a:ext uri="{FF2B5EF4-FFF2-40B4-BE49-F238E27FC236}">
                <a16:creationId xmlns:a16="http://schemas.microsoft.com/office/drawing/2014/main" id="{13A79969-63EB-5256-B129-211173F46490}"/>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363826205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lder Collage und Text - hell">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A3B751E4-07FF-C316-EBB4-A6880EE3C906}"/>
              </a:ext>
            </a:extLst>
          </p:cNvPr>
          <p:cNvSpPr>
            <a:spLocks noGrp="1"/>
          </p:cNvSpPr>
          <p:nvPr>
            <p:ph sz="quarter" idx="28"/>
          </p:nvPr>
        </p:nvSpPr>
        <p:spPr>
          <a:xfrm>
            <a:off x="0" y="0"/>
            <a:ext cx="5124841" cy="68579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6095910" y="1299663"/>
            <a:ext cx="5579974" cy="738664"/>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endParaRPr lang="de-DE" dirty="0"/>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Textplatzhalter 10">
            <a:extLst>
              <a:ext uri="{FF2B5EF4-FFF2-40B4-BE49-F238E27FC236}">
                <a16:creationId xmlns:a16="http://schemas.microsoft.com/office/drawing/2014/main" id="{944B3DFC-05DA-A9FA-290D-1940954C574D}"/>
              </a:ext>
            </a:extLst>
          </p:cNvPr>
          <p:cNvSpPr>
            <a:spLocks noGrp="1"/>
          </p:cNvSpPr>
          <p:nvPr>
            <p:ph type="body" sz="quarter" idx="21"/>
          </p:nvPr>
        </p:nvSpPr>
        <p:spPr>
          <a:xfrm>
            <a:off x="527641" y="6337828"/>
            <a:ext cx="4597200" cy="10800"/>
          </a:xfrm>
          <a:solidFill>
            <a:schemeClr val="bg1"/>
          </a:solidFill>
        </p:spPr>
        <p:txBody>
          <a:bodyPr>
            <a:noAutofit/>
          </a:bodyPr>
          <a:lstStyle>
            <a:lvl1pPr marL="0" indent="0">
              <a:buNone/>
              <a:defRPr sz="100">
                <a:solidFill>
                  <a:schemeClr val="tx1">
                    <a:alpha val="0"/>
                  </a:schemeClr>
                </a:solidFill>
              </a:defRPr>
            </a:lvl1pPr>
          </a:lstStyle>
          <a:p>
            <a:pPr lvl="0"/>
            <a:endParaRPr lang="en-US" dirty="0"/>
          </a:p>
        </p:txBody>
      </p:sp>
      <p:sp>
        <p:nvSpPr>
          <p:cNvPr id="13" name="Inhaltsplatzhalter 7">
            <a:extLst>
              <a:ext uri="{FF2B5EF4-FFF2-40B4-BE49-F238E27FC236}">
                <a16:creationId xmlns:a16="http://schemas.microsoft.com/office/drawing/2014/main" id="{2035FFF9-B3AD-7EB1-3CB3-3F3CB314B050}"/>
              </a:ext>
            </a:extLst>
          </p:cNvPr>
          <p:cNvSpPr>
            <a:spLocks noGrp="1"/>
          </p:cNvSpPr>
          <p:nvPr>
            <p:ph sz="quarter" idx="29"/>
          </p:nvPr>
        </p:nvSpPr>
        <p:spPr>
          <a:xfrm>
            <a:off x="8287655" y="3690871"/>
            <a:ext cx="3904345" cy="243846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Inhaltsplatzhalter 7">
            <a:extLst>
              <a:ext uri="{FF2B5EF4-FFF2-40B4-BE49-F238E27FC236}">
                <a16:creationId xmlns:a16="http://schemas.microsoft.com/office/drawing/2014/main" id="{35DF3D4A-0F49-C839-ADA3-CF5ADF6DD5D7}"/>
              </a:ext>
            </a:extLst>
          </p:cNvPr>
          <p:cNvSpPr>
            <a:spLocks noGrp="1"/>
          </p:cNvSpPr>
          <p:nvPr>
            <p:ph sz="quarter" idx="30"/>
          </p:nvPr>
        </p:nvSpPr>
        <p:spPr>
          <a:xfrm>
            <a:off x="6095910" y="2120096"/>
            <a:ext cx="5579974" cy="1047033"/>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Tree>
    <p:extLst>
      <p:ext uri="{BB962C8B-B14F-4D97-AF65-F5344CB8AC3E}">
        <p14:creationId xmlns:p14="http://schemas.microsoft.com/office/powerpoint/2010/main" val="1630432276"/>
      </p:ext>
    </p:extLst>
  </p:cSld>
  <p:clrMapOvr>
    <a:masterClrMapping/>
  </p:clrMapOvr>
  <p:extLst>
    <p:ext uri="{DCECCB84-F9BA-43D5-87BE-67443E8EF086}">
      <p15:sldGuideLst xmlns:p15="http://schemas.microsoft.com/office/powerpoint/2012/main">
        <p15:guide id="1" pos="3840" userDrawn="1">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lder Collage und Text - dunkel">
    <p:bg>
      <p:bgRef idx="1001">
        <a:schemeClr val="bg1"/>
      </p:bgRef>
    </p:bg>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21C783E5-A074-29FC-813F-F1AF03832D8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13" name="Grafik 12">
            <a:extLst>
              <a:ext uri="{FF2B5EF4-FFF2-40B4-BE49-F238E27FC236}">
                <a16:creationId xmlns:a16="http://schemas.microsoft.com/office/drawing/2014/main" id="{A34FB1F8-A13E-C93F-6307-87A154A574C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6" name="Inhaltsplatzhalter 7">
            <a:extLst>
              <a:ext uri="{FF2B5EF4-FFF2-40B4-BE49-F238E27FC236}">
                <a16:creationId xmlns:a16="http://schemas.microsoft.com/office/drawing/2014/main" id="{6913723F-875A-0A89-7DD5-720E580D4325}"/>
              </a:ext>
            </a:extLst>
          </p:cNvPr>
          <p:cNvSpPr>
            <a:spLocks noGrp="1"/>
          </p:cNvSpPr>
          <p:nvPr>
            <p:ph sz="quarter" idx="28"/>
          </p:nvPr>
        </p:nvSpPr>
        <p:spPr>
          <a:xfrm>
            <a:off x="0" y="0"/>
            <a:ext cx="5124841" cy="68579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Inhaltsplatzhalter 7">
            <a:extLst>
              <a:ext uri="{FF2B5EF4-FFF2-40B4-BE49-F238E27FC236}">
                <a16:creationId xmlns:a16="http://schemas.microsoft.com/office/drawing/2014/main" id="{40D47FEF-6CFF-E094-091C-0E748F5FFA80}"/>
              </a:ext>
            </a:extLst>
          </p:cNvPr>
          <p:cNvSpPr>
            <a:spLocks noGrp="1"/>
          </p:cNvSpPr>
          <p:nvPr>
            <p:ph sz="quarter" idx="29"/>
          </p:nvPr>
        </p:nvSpPr>
        <p:spPr>
          <a:xfrm>
            <a:off x="8287655" y="3690871"/>
            <a:ext cx="3904345" cy="243846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Inhaltsplatzhalter 7">
            <a:extLst>
              <a:ext uri="{FF2B5EF4-FFF2-40B4-BE49-F238E27FC236}">
                <a16:creationId xmlns:a16="http://schemas.microsoft.com/office/drawing/2014/main" id="{4F774B56-CDF4-5DD7-09A3-5C15E76FEC74}"/>
              </a:ext>
            </a:extLst>
          </p:cNvPr>
          <p:cNvSpPr>
            <a:spLocks noGrp="1"/>
          </p:cNvSpPr>
          <p:nvPr>
            <p:ph sz="quarter" idx="30"/>
          </p:nvPr>
        </p:nvSpPr>
        <p:spPr>
          <a:xfrm>
            <a:off x="6095910" y="2120096"/>
            <a:ext cx="5579974" cy="1047033"/>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 name="Titel 1">
            <a:extLst>
              <a:ext uri="{FF2B5EF4-FFF2-40B4-BE49-F238E27FC236}">
                <a16:creationId xmlns:a16="http://schemas.microsoft.com/office/drawing/2014/main" id="{E36A6A2D-D6AC-9500-299D-61F3BDCF62BF}"/>
              </a:ext>
            </a:extLst>
          </p:cNvPr>
          <p:cNvSpPr>
            <a:spLocks noGrp="1"/>
          </p:cNvSpPr>
          <p:nvPr>
            <p:ph type="title"/>
          </p:nvPr>
        </p:nvSpPr>
        <p:spPr>
          <a:xfrm>
            <a:off x="6095910" y="1299663"/>
            <a:ext cx="5579974" cy="738664"/>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endParaRPr lang="de-DE" dirty="0"/>
          </a:p>
        </p:txBody>
      </p:sp>
      <p:sp>
        <p:nvSpPr>
          <p:cNvPr id="3" name="Datumsplatzhalter 2">
            <a:extLst>
              <a:ext uri="{FF2B5EF4-FFF2-40B4-BE49-F238E27FC236}">
                <a16:creationId xmlns:a16="http://schemas.microsoft.com/office/drawing/2014/main" id="{6FCCAC27-A461-5985-41A1-89CBBC44CF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33E367E-E02E-3625-3D11-825BF5F1A9A0}"/>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B76B7A06-17D6-B531-55AB-9E9B8F305532}"/>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9" name="Textplatzhalter 10">
            <a:extLst>
              <a:ext uri="{FF2B5EF4-FFF2-40B4-BE49-F238E27FC236}">
                <a16:creationId xmlns:a16="http://schemas.microsoft.com/office/drawing/2014/main" id="{944B3DFC-05DA-A9FA-290D-1940954C574D}"/>
              </a:ext>
            </a:extLst>
          </p:cNvPr>
          <p:cNvSpPr>
            <a:spLocks noGrp="1"/>
          </p:cNvSpPr>
          <p:nvPr>
            <p:ph type="body" sz="quarter" idx="21"/>
          </p:nvPr>
        </p:nvSpPr>
        <p:spPr>
          <a:xfrm>
            <a:off x="527641" y="6337828"/>
            <a:ext cx="45972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Tree>
    <p:extLst>
      <p:ext uri="{BB962C8B-B14F-4D97-AF65-F5344CB8AC3E}">
        <p14:creationId xmlns:p14="http://schemas.microsoft.com/office/powerpoint/2010/main" val="9591656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oßes Bild quer und Text - hell">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0" y="0"/>
            <a:ext cx="12191980" cy="4042133"/>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p:nvPr>
        </p:nvSpPr>
        <p:spPr>
          <a:xfrm>
            <a:off x="515939" y="4253345"/>
            <a:ext cx="5039734" cy="1880826"/>
          </a:xfrm>
        </p:spPr>
        <p:txBody>
          <a:bodyPr anchor="ctr" anchorCtr="0"/>
          <a:lstStyle/>
          <a:p>
            <a:endParaRPr lang="de-DE" dirty="0"/>
          </a:p>
        </p:txBody>
      </p:sp>
      <p:sp>
        <p:nvSpPr>
          <p:cNvPr id="3" name="Datumsplatzhalter 2">
            <a:extLst>
              <a:ext uri="{FF2B5EF4-FFF2-40B4-BE49-F238E27FC236}">
                <a16:creationId xmlns:a16="http://schemas.microsoft.com/office/drawing/2014/main" id="{299B1685-FFFE-81E2-E58E-D34771F0B03D}"/>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9E3256E1-C117-C74B-D25B-1FDDA154E9AD}"/>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B7E2885-B1B3-7A32-F2F1-092F18B9482A}"/>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8" name="Textplatzhalter 13">
            <a:extLst>
              <a:ext uri="{FF2B5EF4-FFF2-40B4-BE49-F238E27FC236}">
                <a16:creationId xmlns:a16="http://schemas.microsoft.com/office/drawing/2014/main" id="{75A2390F-2D59-95FF-D61C-BFE5275C2D11}"/>
              </a:ext>
            </a:extLst>
          </p:cNvPr>
          <p:cNvSpPr>
            <a:spLocks noGrp="1"/>
          </p:cNvSpPr>
          <p:nvPr>
            <p:ph type="body" sz="quarter" idx="17"/>
          </p:nvPr>
        </p:nvSpPr>
        <p:spPr>
          <a:xfrm>
            <a:off x="527050" y="260350"/>
            <a:ext cx="1010495" cy="252198"/>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
        <p:nvSpPr>
          <p:cNvPr id="10" name="Inhaltsplatzhalter 7">
            <a:extLst>
              <a:ext uri="{FF2B5EF4-FFF2-40B4-BE49-F238E27FC236}">
                <a16:creationId xmlns:a16="http://schemas.microsoft.com/office/drawing/2014/main" id="{F5279B0B-0F41-3B0B-C153-876B9FBE30B0}"/>
              </a:ext>
            </a:extLst>
          </p:cNvPr>
          <p:cNvSpPr>
            <a:spLocks noGrp="1"/>
          </p:cNvSpPr>
          <p:nvPr>
            <p:ph sz="quarter" idx="29"/>
          </p:nvPr>
        </p:nvSpPr>
        <p:spPr>
          <a:xfrm>
            <a:off x="6095911" y="4248512"/>
            <a:ext cx="5580152" cy="1880826"/>
          </a:xfrm>
        </p:spPr>
        <p:txBody>
          <a:bodyPr anchor="ct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292751416"/>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oßes Bild quer und Text - dunkel">
    <p:bg>
      <p:bgRef idx="1001">
        <a:schemeClr val="bg1"/>
      </p:bgRef>
    </p:bg>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0" y="0"/>
            <a:ext cx="12191980" cy="4042133"/>
          </a:xfrm>
          <a:solidFill>
            <a:schemeClr val="accent6"/>
          </a:solidFill>
        </p:spPr>
        <p:txBody>
          <a:bodyPr anchor="ctr" anchorCtr="0">
            <a:normAutofit/>
          </a:bodyPr>
          <a:lstStyle>
            <a:lvl1pPr marL="0" indent="0" algn="ctr">
              <a:buNone/>
              <a:defRPr sz="1200">
                <a:solidFill>
                  <a:schemeClr val="tx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p:nvPr>
        </p:nvSpPr>
        <p:spPr>
          <a:xfrm>
            <a:off x="515939" y="4253345"/>
            <a:ext cx="5039734" cy="1880826"/>
          </a:xfrm>
        </p:spPr>
        <p:txBody>
          <a:bodyPr anchor="ctr" anchorCtr="0"/>
          <a:lstStyle>
            <a:lvl1pPr>
              <a:defRPr>
                <a:solidFill>
                  <a:schemeClr val="tx1"/>
                </a:solidFill>
              </a:defRPr>
            </a:lvl1pPr>
          </a:lstStyle>
          <a:p>
            <a:endParaRPr lang="de-DE" dirty="0"/>
          </a:p>
        </p:txBody>
      </p:sp>
      <p:sp>
        <p:nvSpPr>
          <p:cNvPr id="8" name="Textplatzhalter 13">
            <a:extLst>
              <a:ext uri="{FF2B5EF4-FFF2-40B4-BE49-F238E27FC236}">
                <a16:creationId xmlns:a16="http://schemas.microsoft.com/office/drawing/2014/main" id="{75A2390F-2D59-95FF-D61C-BFE5275C2D11}"/>
              </a:ext>
            </a:extLst>
          </p:cNvPr>
          <p:cNvSpPr>
            <a:spLocks noGrp="1"/>
          </p:cNvSpPr>
          <p:nvPr>
            <p:ph type="body" sz="quarter" idx="17"/>
          </p:nvPr>
        </p:nvSpPr>
        <p:spPr>
          <a:xfrm>
            <a:off x="527050" y="260350"/>
            <a:ext cx="1010495" cy="252198"/>
          </a:xfrm>
          <a:blipFill>
            <a:blip r:embed="rId2" cstate="print">
              <a:lum bright="10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cxnSp>
        <p:nvCxnSpPr>
          <p:cNvPr id="6" name="Gerade Verbindung 5">
            <a:extLst>
              <a:ext uri="{FF2B5EF4-FFF2-40B4-BE49-F238E27FC236}">
                <a16:creationId xmlns:a16="http://schemas.microsoft.com/office/drawing/2014/main" id="{9EDE1CA4-D08E-F6E3-B881-68B2CB82A4C3}"/>
              </a:ext>
            </a:extLst>
          </p:cNvPr>
          <p:cNvCxnSpPr>
            <a:cxnSpLocks/>
          </p:cNvCxnSpPr>
          <p:nvPr userDrawn="1"/>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80FC7F5A-FFF3-FEA2-2858-360074AED60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1" name="Datumsplatzhalter 8">
            <a:extLst>
              <a:ext uri="{FF2B5EF4-FFF2-40B4-BE49-F238E27FC236}">
                <a16:creationId xmlns:a16="http://schemas.microsoft.com/office/drawing/2014/main" id="{973B6D0B-4520-B8CC-13B5-17C6550F60AA}"/>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2" name="Fußzeilenplatzhalter 9">
            <a:extLst>
              <a:ext uri="{FF2B5EF4-FFF2-40B4-BE49-F238E27FC236}">
                <a16:creationId xmlns:a16="http://schemas.microsoft.com/office/drawing/2014/main" id="{C59D111D-8056-4C92-9218-355036C3A0AE}"/>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3" name="Foliennummernplatzhalter 10">
            <a:extLst>
              <a:ext uri="{FF2B5EF4-FFF2-40B4-BE49-F238E27FC236}">
                <a16:creationId xmlns:a16="http://schemas.microsoft.com/office/drawing/2014/main" id="{87DF068E-ADC6-9BE7-DC25-6B30A210CB44}"/>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3" name="Inhaltsplatzhalter 7">
            <a:extLst>
              <a:ext uri="{FF2B5EF4-FFF2-40B4-BE49-F238E27FC236}">
                <a16:creationId xmlns:a16="http://schemas.microsoft.com/office/drawing/2014/main" id="{827D67CD-6A30-06FD-7DE5-87AC4BDD041B}"/>
              </a:ext>
            </a:extLst>
          </p:cNvPr>
          <p:cNvSpPr>
            <a:spLocks noGrp="1"/>
          </p:cNvSpPr>
          <p:nvPr>
            <p:ph sz="quarter" idx="29"/>
          </p:nvPr>
        </p:nvSpPr>
        <p:spPr>
          <a:xfrm>
            <a:off x="6095911" y="4248512"/>
            <a:ext cx="5580152" cy="1880826"/>
          </a:xfrm>
        </p:spPr>
        <p:txBody>
          <a:bodyPr anchor="ct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394974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rei Bilder quer und Text - hell">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CF74D139-6EFB-C706-529A-3F343E76E004}"/>
              </a:ext>
            </a:extLst>
          </p:cNvPr>
          <p:cNvSpPr>
            <a:spLocks noGrp="1"/>
          </p:cNvSpPr>
          <p:nvPr>
            <p:ph sz="quarter" idx="28"/>
          </p:nvPr>
        </p:nvSpPr>
        <p:spPr>
          <a:xfrm>
            <a:off x="515937" y="3428999"/>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1" name="Inhaltsplatzhalter 7">
            <a:extLst>
              <a:ext uri="{FF2B5EF4-FFF2-40B4-BE49-F238E27FC236}">
                <a16:creationId xmlns:a16="http://schemas.microsoft.com/office/drawing/2014/main" id="{65D1F068-9FCE-787C-41AB-85D179C41AEC}"/>
              </a:ext>
            </a:extLst>
          </p:cNvPr>
          <p:cNvSpPr>
            <a:spLocks noGrp="1"/>
          </p:cNvSpPr>
          <p:nvPr>
            <p:ph sz="quarter" idx="30"/>
          </p:nvPr>
        </p:nvSpPr>
        <p:spPr>
          <a:xfrm>
            <a:off x="4312852" y="3429001"/>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7">
            <a:extLst>
              <a:ext uri="{FF2B5EF4-FFF2-40B4-BE49-F238E27FC236}">
                <a16:creationId xmlns:a16="http://schemas.microsoft.com/office/drawing/2014/main" id="{C4937D42-8421-7885-6136-58CD126008C5}"/>
              </a:ext>
            </a:extLst>
          </p:cNvPr>
          <p:cNvSpPr>
            <a:spLocks noGrp="1"/>
          </p:cNvSpPr>
          <p:nvPr>
            <p:ph sz="quarter" idx="31"/>
          </p:nvPr>
        </p:nvSpPr>
        <p:spPr>
          <a:xfrm>
            <a:off x="8109768" y="3429001"/>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Datumsplatzhalter 2">
            <a:extLst>
              <a:ext uri="{FF2B5EF4-FFF2-40B4-BE49-F238E27FC236}">
                <a16:creationId xmlns:a16="http://schemas.microsoft.com/office/drawing/2014/main" id="{299B1685-FFFE-81E2-E58E-D34771F0B03D}"/>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9E3256E1-C117-C74B-D25B-1FDDA154E9AD}"/>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B7E2885-B1B3-7A32-F2F1-092F18B9482A}"/>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0" name="Titel 1">
            <a:extLst>
              <a:ext uri="{FF2B5EF4-FFF2-40B4-BE49-F238E27FC236}">
                <a16:creationId xmlns:a16="http://schemas.microsoft.com/office/drawing/2014/main" id="{531A8B32-FBFE-CD77-8614-AB81CA8F143D}"/>
              </a:ext>
            </a:extLst>
          </p:cNvPr>
          <p:cNvSpPr>
            <a:spLocks noGrp="1"/>
          </p:cNvSpPr>
          <p:nvPr>
            <p:ph type="title"/>
          </p:nvPr>
        </p:nvSpPr>
        <p:spPr>
          <a:xfrm>
            <a:off x="515936" y="1053642"/>
            <a:ext cx="5040314" cy="1880826"/>
          </a:xfrm>
        </p:spPr>
        <p:txBody>
          <a:bodyPr vert="horz" wrap="square" lIns="0" tIns="0" rIns="0" bIns="0" rtlCol="0" anchor="ctr" anchorCtr="0">
            <a:noAutofit/>
          </a:bodyPr>
          <a:lstStyle>
            <a:lvl1pPr>
              <a:defRPr lang="de-DE" dirty="0">
                <a:latin typeface="+mn-lt"/>
                <a:ea typeface="+mn-ea"/>
                <a:cs typeface="+mn-cs"/>
              </a:defRPr>
            </a:lvl1pPr>
          </a:lstStyle>
          <a:p>
            <a:pPr marL="0" lvl="0" indent="0">
              <a:spcBef>
                <a:spcPts val="0"/>
              </a:spcBef>
              <a:spcAft>
                <a:spcPts val="500"/>
              </a:spcAft>
              <a:buFont typeface="Arial" panose="020B0604020202020204" pitchFamily="34" charset="0"/>
              <a:tabLst/>
            </a:pPr>
            <a:endParaRPr lang="de-DE" dirty="0"/>
          </a:p>
        </p:txBody>
      </p:sp>
      <p:sp>
        <p:nvSpPr>
          <p:cNvPr id="6" name="Inhaltsplatzhalter 7">
            <a:extLst>
              <a:ext uri="{FF2B5EF4-FFF2-40B4-BE49-F238E27FC236}">
                <a16:creationId xmlns:a16="http://schemas.microsoft.com/office/drawing/2014/main" id="{E1D3F038-0B86-3E73-5067-713374AF2BE4}"/>
              </a:ext>
            </a:extLst>
          </p:cNvPr>
          <p:cNvSpPr>
            <a:spLocks noGrp="1"/>
          </p:cNvSpPr>
          <p:nvPr>
            <p:ph sz="quarter" idx="29"/>
          </p:nvPr>
        </p:nvSpPr>
        <p:spPr>
          <a:xfrm>
            <a:off x="6095911" y="1053642"/>
            <a:ext cx="5580152" cy="1880826"/>
          </a:xfrm>
        </p:spPr>
        <p:txBody>
          <a:bodyPr anchor="ct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45197852"/>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rei Bilder quer und Text - dunkel">
    <p:bg>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299B1685-FFFE-81E2-E58E-D34771F0B03D}"/>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9E3256E1-C117-C74B-D25B-1FDDA154E9AD}"/>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B7E2885-B1B3-7A32-F2F1-092F18B9482A}"/>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10" name="Titel 1">
            <a:extLst>
              <a:ext uri="{FF2B5EF4-FFF2-40B4-BE49-F238E27FC236}">
                <a16:creationId xmlns:a16="http://schemas.microsoft.com/office/drawing/2014/main" id="{531A8B32-FBFE-CD77-8614-AB81CA8F143D}"/>
              </a:ext>
            </a:extLst>
          </p:cNvPr>
          <p:cNvSpPr>
            <a:spLocks noGrp="1"/>
          </p:cNvSpPr>
          <p:nvPr>
            <p:ph type="title"/>
          </p:nvPr>
        </p:nvSpPr>
        <p:spPr>
          <a:xfrm>
            <a:off x="515936" y="1053642"/>
            <a:ext cx="5040314" cy="1880826"/>
          </a:xfrm>
        </p:spPr>
        <p:txBody>
          <a:bodyPr vert="horz" wrap="square" lIns="0" tIns="0" rIns="0" bIns="0" rtlCol="0" anchor="ctr" anchorCtr="0">
            <a:noAutofit/>
          </a:bodyPr>
          <a:lstStyle>
            <a:lvl1pPr>
              <a:defRPr lang="de-DE" dirty="0">
                <a:latin typeface="+mn-lt"/>
                <a:ea typeface="+mn-ea"/>
                <a:cs typeface="+mn-cs"/>
              </a:defRPr>
            </a:lvl1pPr>
          </a:lstStyle>
          <a:p>
            <a:pPr marL="0" lvl="0" indent="0">
              <a:spcBef>
                <a:spcPts val="0"/>
              </a:spcBef>
              <a:spcAft>
                <a:spcPts val="500"/>
              </a:spcAft>
              <a:buFont typeface="Arial" panose="020B0604020202020204" pitchFamily="34" charset="0"/>
              <a:tabLst/>
            </a:pPr>
            <a:endParaRPr lang="de-DE" dirty="0"/>
          </a:p>
        </p:txBody>
      </p:sp>
      <p:pic>
        <p:nvPicPr>
          <p:cNvPr id="2" name="Grafik 1">
            <a:extLst>
              <a:ext uri="{FF2B5EF4-FFF2-40B4-BE49-F238E27FC236}">
                <a16:creationId xmlns:a16="http://schemas.microsoft.com/office/drawing/2014/main" id="{582CEAFF-DBEF-4894-4374-29395BC8EC9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0BD26BEA-B08F-595A-39B3-E2501AEF5DD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8" name="Inhaltsplatzhalter 7">
            <a:extLst>
              <a:ext uri="{FF2B5EF4-FFF2-40B4-BE49-F238E27FC236}">
                <a16:creationId xmlns:a16="http://schemas.microsoft.com/office/drawing/2014/main" id="{1889BABB-4924-9A48-9FF0-A33C8A5A3E8F}"/>
              </a:ext>
            </a:extLst>
          </p:cNvPr>
          <p:cNvSpPr>
            <a:spLocks noGrp="1"/>
          </p:cNvSpPr>
          <p:nvPr>
            <p:ph sz="quarter" idx="29"/>
          </p:nvPr>
        </p:nvSpPr>
        <p:spPr>
          <a:xfrm>
            <a:off x="6095911" y="1053642"/>
            <a:ext cx="5580152" cy="1880826"/>
          </a:xfrm>
        </p:spPr>
        <p:txBody>
          <a:bodyPr anchor="ct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Inhaltsplatzhalter 7">
            <a:extLst>
              <a:ext uri="{FF2B5EF4-FFF2-40B4-BE49-F238E27FC236}">
                <a16:creationId xmlns:a16="http://schemas.microsoft.com/office/drawing/2014/main" id="{55D2551B-9C74-898E-134C-BCBD94691763}"/>
              </a:ext>
            </a:extLst>
          </p:cNvPr>
          <p:cNvSpPr>
            <a:spLocks noGrp="1"/>
          </p:cNvSpPr>
          <p:nvPr>
            <p:ph sz="quarter" idx="28"/>
          </p:nvPr>
        </p:nvSpPr>
        <p:spPr>
          <a:xfrm>
            <a:off x="515937" y="3428999"/>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Inhaltsplatzhalter 7">
            <a:extLst>
              <a:ext uri="{FF2B5EF4-FFF2-40B4-BE49-F238E27FC236}">
                <a16:creationId xmlns:a16="http://schemas.microsoft.com/office/drawing/2014/main" id="{98E9B0C4-212B-3DE2-E524-048C5355ED8E}"/>
              </a:ext>
            </a:extLst>
          </p:cNvPr>
          <p:cNvSpPr>
            <a:spLocks noGrp="1"/>
          </p:cNvSpPr>
          <p:nvPr>
            <p:ph sz="quarter" idx="30"/>
          </p:nvPr>
        </p:nvSpPr>
        <p:spPr>
          <a:xfrm>
            <a:off x="4312852" y="3429001"/>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Inhaltsplatzhalter 7">
            <a:extLst>
              <a:ext uri="{FF2B5EF4-FFF2-40B4-BE49-F238E27FC236}">
                <a16:creationId xmlns:a16="http://schemas.microsoft.com/office/drawing/2014/main" id="{AB59392F-4E5C-54FE-D8B2-0DDAB16E06F2}"/>
              </a:ext>
            </a:extLst>
          </p:cNvPr>
          <p:cNvSpPr>
            <a:spLocks noGrp="1"/>
          </p:cNvSpPr>
          <p:nvPr>
            <p:ph sz="quarter" idx="31"/>
          </p:nvPr>
        </p:nvSpPr>
        <p:spPr>
          <a:xfrm>
            <a:off x="8109768" y="3429001"/>
            <a:ext cx="3566116" cy="270033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871697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ld im Anschnitt und Text - hell">
    <p:bg>
      <p:bgRef idx="1001">
        <a:schemeClr val="bg1"/>
      </p:bgRef>
    </p:bg>
    <p:spTree>
      <p:nvGrpSpPr>
        <p:cNvPr id="1" name=""/>
        <p:cNvGrpSpPr/>
        <p:nvPr/>
      </p:nvGrpSpPr>
      <p:grpSpPr>
        <a:xfrm>
          <a:off x="0" y="0"/>
          <a:ext cx="0" cy="0"/>
          <a:chOff x="0" y="0"/>
          <a:chExt cx="0" cy="0"/>
        </a:xfrm>
      </p:grpSpPr>
      <p:sp>
        <p:nvSpPr>
          <p:cNvPr id="10" name="Inhaltsplatzhalter 7">
            <a:extLst>
              <a:ext uri="{FF2B5EF4-FFF2-40B4-BE49-F238E27FC236}">
                <a16:creationId xmlns:a16="http://schemas.microsoft.com/office/drawing/2014/main" id="{37DFCDF5-F3D1-3EEB-59C1-2B49427D70A0}"/>
              </a:ext>
            </a:extLst>
          </p:cNvPr>
          <p:cNvSpPr>
            <a:spLocks noGrp="1"/>
          </p:cNvSpPr>
          <p:nvPr>
            <p:ph sz="quarter" idx="30"/>
          </p:nvPr>
        </p:nvSpPr>
        <p:spPr>
          <a:xfrm>
            <a:off x="6096000" y="765175"/>
            <a:ext cx="6096000" cy="609282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itel 1">
            <a:extLst>
              <a:ext uri="{FF2B5EF4-FFF2-40B4-BE49-F238E27FC236}">
                <a16:creationId xmlns:a16="http://schemas.microsoft.com/office/drawing/2014/main" id="{DAA1F1AF-2D39-8978-01B4-D8DFDC20FFB5}"/>
              </a:ext>
            </a:extLst>
          </p:cNvPr>
          <p:cNvSpPr>
            <a:spLocks noGrp="1"/>
          </p:cNvSpPr>
          <p:nvPr>
            <p:ph type="title"/>
          </p:nvPr>
        </p:nvSpPr>
        <p:spPr>
          <a:xfrm>
            <a:off x="510089" y="2763060"/>
            <a:ext cx="5046251" cy="1107996"/>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endParaRPr lang="de-DE" dirty="0"/>
          </a:p>
        </p:txBody>
      </p:sp>
      <p:pic>
        <p:nvPicPr>
          <p:cNvPr id="15" name="Grafik 14">
            <a:extLst>
              <a:ext uri="{FF2B5EF4-FFF2-40B4-BE49-F238E27FC236}">
                <a16:creationId xmlns:a16="http://schemas.microsoft.com/office/drawing/2014/main" id="{B2D6E3F9-8A3B-0FD3-C22E-6DF017A6D4D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16" name="Grafik 15">
            <a:extLst>
              <a:ext uri="{FF2B5EF4-FFF2-40B4-BE49-F238E27FC236}">
                <a16:creationId xmlns:a16="http://schemas.microsoft.com/office/drawing/2014/main" id="{9CB8A193-6EA0-3BF6-C325-72542D21405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2" name="Textplatzhalter 10">
            <a:extLst>
              <a:ext uri="{FF2B5EF4-FFF2-40B4-BE49-F238E27FC236}">
                <a16:creationId xmlns:a16="http://schemas.microsoft.com/office/drawing/2014/main" id="{80B21E6A-7B84-F08A-CB4E-B558064292D6}"/>
              </a:ext>
            </a:extLst>
          </p:cNvPr>
          <p:cNvSpPr>
            <a:spLocks noGrp="1"/>
          </p:cNvSpPr>
          <p:nvPr>
            <p:ph type="body" sz="quarter" idx="14"/>
          </p:nvPr>
        </p:nvSpPr>
        <p:spPr>
          <a:xfrm>
            <a:off x="515937" y="6337828"/>
            <a:ext cx="11160000" cy="10800"/>
          </a:xfrm>
          <a:solidFill>
            <a:schemeClr val="tx1"/>
          </a:solidFill>
        </p:spPr>
        <p:txBody>
          <a:bodyPr>
            <a:noAutofit/>
          </a:bodyPr>
          <a:lstStyle>
            <a:lvl1pPr marL="0" indent="0">
              <a:buNone/>
              <a:defRPr sz="100">
                <a:solidFill>
                  <a:schemeClr val="tx1"/>
                </a:solidFill>
              </a:defRPr>
            </a:lvl1pPr>
          </a:lstStyle>
          <a:p>
            <a:pPr lvl="0"/>
            <a:endParaRPr lang="en-US" dirty="0"/>
          </a:p>
        </p:txBody>
      </p:sp>
      <p:sp>
        <p:nvSpPr>
          <p:cNvPr id="12" name="Datumsplatzhalter 8">
            <a:extLst>
              <a:ext uri="{FF2B5EF4-FFF2-40B4-BE49-F238E27FC236}">
                <a16:creationId xmlns:a16="http://schemas.microsoft.com/office/drawing/2014/main" id="{939423A4-0F00-B842-9ABC-2D96BCA2B9CA}"/>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3" name="Fußzeilenplatzhalter 9">
            <a:extLst>
              <a:ext uri="{FF2B5EF4-FFF2-40B4-BE49-F238E27FC236}">
                <a16:creationId xmlns:a16="http://schemas.microsoft.com/office/drawing/2014/main" id="{F0688743-780F-E00E-AD1C-3C2D6069FBC3}"/>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4" name="Foliennummernplatzhalter 10">
            <a:extLst>
              <a:ext uri="{FF2B5EF4-FFF2-40B4-BE49-F238E27FC236}">
                <a16:creationId xmlns:a16="http://schemas.microsoft.com/office/drawing/2014/main" id="{9D6DE097-E395-A176-99A9-6C7347703731}"/>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6" name="Inhaltsplatzhalter 7">
            <a:extLst>
              <a:ext uri="{FF2B5EF4-FFF2-40B4-BE49-F238E27FC236}">
                <a16:creationId xmlns:a16="http://schemas.microsoft.com/office/drawing/2014/main" id="{4F8AD270-87B5-021D-0F7C-A46509AA0A4C}"/>
              </a:ext>
            </a:extLst>
          </p:cNvPr>
          <p:cNvSpPr>
            <a:spLocks noGrp="1"/>
          </p:cNvSpPr>
          <p:nvPr>
            <p:ph sz="quarter" idx="28"/>
          </p:nvPr>
        </p:nvSpPr>
        <p:spPr>
          <a:xfrm>
            <a:off x="515936" y="4012268"/>
            <a:ext cx="5040313" cy="1107995"/>
          </a:xfrm>
        </p:spPr>
        <p:txBody>
          <a:bodyPr/>
          <a:lstStyle>
            <a:lvl1pPr>
              <a:defRPr>
                <a:solidFill>
                  <a:schemeClr val="tx2"/>
                </a:solidFill>
              </a:defRPr>
            </a:lvl1pPr>
            <a:lvl2pPr>
              <a:defRPr>
                <a:solidFill>
                  <a:schemeClr val="tx2"/>
                </a:solidFill>
              </a:defRPr>
            </a:lvl2pPr>
            <a:lvl3pPr marL="701675" indent="0">
              <a:buNone/>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637959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ld im Anschnitt und Text - dunkel">
    <p:bg>
      <p:bgRef idx="1001">
        <a:schemeClr val="bg1"/>
      </p:bgRef>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DAA1F1AF-2D39-8978-01B4-D8DFDC20FFB5}"/>
              </a:ext>
            </a:extLst>
          </p:cNvPr>
          <p:cNvSpPr>
            <a:spLocks noGrp="1"/>
          </p:cNvSpPr>
          <p:nvPr>
            <p:ph type="title"/>
          </p:nvPr>
        </p:nvSpPr>
        <p:spPr>
          <a:xfrm>
            <a:off x="510089" y="2763060"/>
            <a:ext cx="5046251" cy="1107996"/>
          </a:xfrm>
        </p:spPr>
        <p:txBody>
          <a:bodyPr vert="horz" wrap="square" lIns="0" tIns="0" rIns="0" bIns="0" rtlCol="0" anchor="b" anchorCtr="0">
            <a:noAutofit/>
          </a:bodyPr>
          <a:lstStyle>
            <a:lvl1pPr>
              <a:defRPr lang="de-DE" dirty="0">
                <a:latin typeface="+mn-lt"/>
                <a:ea typeface="+mn-ea"/>
                <a:cs typeface="+mn-cs"/>
              </a:defRPr>
            </a:lvl1pPr>
          </a:lstStyle>
          <a:p>
            <a:pPr marL="0" lvl="0" indent="0">
              <a:spcBef>
                <a:spcPts val="0"/>
              </a:spcBef>
              <a:spcAft>
                <a:spcPts val="0"/>
              </a:spcAft>
              <a:buFont typeface="Arial" panose="020B0604020202020204" pitchFamily="34" charset="0"/>
              <a:tabLst/>
            </a:pPr>
            <a:endParaRPr lang="de-DE" dirty="0"/>
          </a:p>
        </p:txBody>
      </p:sp>
      <p:pic>
        <p:nvPicPr>
          <p:cNvPr id="15" name="Grafik 14">
            <a:extLst>
              <a:ext uri="{FF2B5EF4-FFF2-40B4-BE49-F238E27FC236}">
                <a16:creationId xmlns:a16="http://schemas.microsoft.com/office/drawing/2014/main" id="{B2D6E3F9-8A3B-0FD3-C22E-6DF017A6D4D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16" name="Grafik 15">
            <a:extLst>
              <a:ext uri="{FF2B5EF4-FFF2-40B4-BE49-F238E27FC236}">
                <a16:creationId xmlns:a16="http://schemas.microsoft.com/office/drawing/2014/main" id="{9CB8A193-6EA0-3BF6-C325-72542D21405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2" name="Textplatzhalter 10">
            <a:extLst>
              <a:ext uri="{FF2B5EF4-FFF2-40B4-BE49-F238E27FC236}">
                <a16:creationId xmlns:a16="http://schemas.microsoft.com/office/drawing/2014/main" id="{80B21E6A-7B84-F08A-CB4E-B558064292D6}"/>
              </a:ext>
            </a:extLst>
          </p:cNvPr>
          <p:cNvSpPr>
            <a:spLocks noGrp="1"/>
          </p:cNvSpPr>
          <p:nvPr>
            <p:ph type="body" sz="quarter" idx="14"/>
          </p:nvPr>
        </p:nvSpPr>
        <p:spPr>
          <a:xfrm>
            <a:off x="515937" y="6337828"/>
            <a:ext cx="11160000" cy="10800"/>
          </a:xfrm>
          <a:solidFill>
            <a:schemeClr val="tx1"/>
          </a:solidFill>
        </p:spPr>
        <p:txBody>
          <a:bodyPr>
            <a:noAutofit/>
          </a:bodyPr>
          <a:lstStyle>
            <a:lvl1pPr marL="0" indent="0">
              <a:buNone/>
              <a:defRPr sz="100">
                <a:solidFill>
                  <a:schemeClr val="tx1"/>
                </a:solidFill>
              </a:defRPr>
            </a:lvl1pPr>
          </a:lstStyle>
          <a:p>
            <a:pPr lvl="0"/>
            <a:endParaRPr lang="en-US" dirty="0"/>
          </a:p>
        </p:txBody>
      </p:sp>
      <p:sp>
        <p:nvSpPr>
          <p:cNvPr id="12" name="Datumsplatzhalter 8">
            <a:extLst>
              <a:ext uri="{FF2B5EF4-FFF2-40B4-BE49-F238E27FC236}">
                <a16:creationId xmlns:a16="http://schemas.microsoft.com/office/drawing/2014/main" id="{939423A4-0F00-B842-9ABC-2D96BCA2B9CA}"/>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3" name="Fußzeilenplatzhalter 9">
            <a:extLst>
              <a:ext uri="{FF2B5EF4-FFF2-40B4-BE49-F238E27FC236}">
                <a16:creationId xmlns:a16="http://schemas.microsoft.com/office/drawing/2014/main" id="{F0688743-780F-E00E-AD1C-3C2D6069FBC3}"/>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4" name="Foliennummernplatzhalter 10">
            <a:extLst>
              <a:ext uri="{FF2B5EF4-FFF2-40B4-BE49-F238E27FC236}">
                <a16:creationId xmlns:a16="http://schemas.microsoft.com/office/drawing/2014/main" id="{9D6DE097-E395-A176-99A9-6C7347703731}"/>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3" name="Inhaltsplatzhalter 7">
            <a:extLst>
              <a:ext uri="{FF2B5EF4-FFF2-40B4-BE49-F238E27FC236}">
                <a16:creationId xmlns:a16="http://schemas.microsoft.com/office/drawing/2014/main" id="{CD949B92-5267-F521-9781-D63771E41E76}"/>
              </a:ext>
            </a:extLst>
          </p:cNvPr>
          <p:cNvSpPr>
            <a:spLocks noGrp="1"/>
          </p:cNvSpPr>
          <p:nvPr>
            <p:ph sz="quarter" idx="30"/>
          </p:nvPr>
        </p:nvSpPr>
        <p:spPr>
          <a:xfrm>
            <a:off x="6096000" y="765175"/>
            <a:ext cx="6096000" cy="6092825"/>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Inhaltsplatzhalter 7">
            <a:extLst>
              <a:ext uri="{FF2B5EF4-FFF2-40B4-BE49-F238E27FC236}">
                <a16:creationId xmlns:a16="http://schemas.microsoft.com/office/drawing/2014/main" id="{0CAF06D8-A24E-987E-AD2F-E21B04264B21}"/>
              </a:ext>
            </a:extLst>
          </p:cNvPr>
          <p:cNvSpPr>
            <a:spLocks noGrp="1"/>
          </p:cNvSpPr>
          <p:nvPr>
            <p:ph sz="quarter" idx="28"/>
          </p:nvPr>
        </p:nvSpPr>
        <p:spPr>
          <a:xfrm>
            <a:off x="515936" y="4012268"/>
            <a:ext cx="5040313" cy="1107995"/>
          </a:xfrm>
        </p:spPr>
        <p:txBody>
          <a:bodyPr/>
          <a:lstStyle>
            <a:lvl1pPr>
              <a:defRPr>
                <a:solidFill>
                  <a:schemeClr val="tx2"/>
                </a:solidFill>
              </a:defRPr>
            </a:lvl1pPr>
            <a:lvl2pPr>
              <a:defRPr>
                <a:solidFill>
                  <a:schemeClr val="tx2"/>
                </a:solidFill>
              </a:defRPr>
            </a:lvl2pPr>
            <a:lvl3pPr marL="701675" indent="0">
              <a:buNone/>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p:txBody>
      </p:sp>
    </p:spTree>
    <p:extLst>
      <p:ext uri="{BB962C8B-B14F-4D97-AF65-F5344CB8AC3E}">
        <p14:creationId xmlns:p14="http://schemas.microsoft.com/office/powerpoint/2010/main" val="17410049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lder Collage - hell">
    <p:spTree>
      <p:nvGrpSpPr>
        <p:cNvPr id="1" name=""/>
        <p:cNvGrpSpPr/>
        <p:nvPr/>
      </p:nvGrpSpPr>
      <p:grpSpPr>
        <a:xfrm>
          <a:off x="0" y="0"/>
          <a:ext cx="0" cy="0"/>
          <a:chOff x="0" y="0"/>
          <a:chExt cx="0" cy="0"/>
        </a:xfrm>
      </p:grpSpPr>
      <p:sp>
        <p:nvSpPr>
          <p:cNvPr id="2" name="Inhaltsplatzhalter 7">
            <a:extLst>
              <a:ext uri="{FF2B5EF4-FFF2-40B4-BE49-F238E27FC236}">
                <a16:creationId xmlns:a16="http://schemas.microsoft.com/office/drawing/2014/main" id="{01B68253-BF19-6B0D-D741-D2B901B76127}"/>
              </a:ext>
            </a:extLst>
          </p:cNvPr>
          <p:cNvSpPr>
            <a:spLocks noGrp="1"/>
          </p:cNvSpPr>
          <p:nvPr>
            <p:ph sz="quarter" idx="30"/>
          </p:nvPr>
        </p:nvSpPr>
        <p:spPr>
          <a:xfrm>
            <a:off x="9001157"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3" name="Inhaltsplatzhalter 7">
            <a:extLst>
              <a:ext uri="{FF2B5EF4-FFF2-40B4-BE49-F238E27FC236}">
                <a16:creationId xmlns:a16="http://schemas.microsoft.com/office/drawing/2014/main" id="{E634B68C-8742-B0BF-93C3-59E546B006D6}"/>
              </a:ext>
            </a:extLst>
          </p:cNvPr>
          <p:cNvSpPr>
            <a:spLocks noGrp="1"/>
          </p:cNvSpPr>
          <p:nvPr>
            <p:ph sz="quarter" idx="31"/>
          </p:nvPr>
        </p:nvSpPr>
        <p:spPr>
          <a:xfrm>
            <a:off x="6172750"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4" name="Inhaltsplatzhalter 7">
            <a:extLst>
              <a:ext uri="{FF2B5EF4-FFF2-40B4-BE49-F238E27FC236}">
                <a16:creationId xmlns:a16="http://schemas.microsoft.com/office/drawing/2014/main" id="{5F12A3CF-1289-7AEF-29CA-75EC31894C60}"/>
              </a:ext>
            </a:extLst>
          </p:cNvPr>
          <p:cNvSpPr>
            <a:spLocks noGrp="1"/>
          </p:cNvSpPr>
          <p:nvPr>
            <p:ph sz="quarter" idx="32"/>
          </p:nvPr>
        </p:nvSpPr>
        <p:spPr>
          <a:xfrm>
            <a:off x="3344343"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5" name="Inhaltsplatzhalter 7">
            <a:extLst>
              <a:ext uri="{FF2B5EF4-FFF2-40B4-BE49-F238E27FC236}">
                <a16:creationId xmlns:a16="http://schemas.microsoft.com/office/drawing/2014/main" id="{82D782F7-D4EF-9005-F341-39A2F4E6DF97}"/>
              </a:ext>
            </a:extLst>
          </p:cNvPr>
          <p:cNvSpPr>
            <a:spLocks noGrp="1"/>
          </p:cNvSpPr>
          <p:nvPr>
            <p:ph sz="quarter" idx="33"/>
          </p:nvPr>
        </p:nvSpPr>
        <p:spPr>
          <a:xfrm>
            <a:off x="515936"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7" name="Inhaltsplatzhalter 7">
            <a:extLst>
              <a:ext uri="{FF2B5EF4-FFF2-40B4-BE49-F238E27FC236}">
                <a16:creationId xmlns:a16="http://schemas.microsoft.com/office/drawing/2014/main" id="{75359D19-B9FC-82C7-A9C1-7D8D2147280A}"/>
              </a:ext>
            </a:extLst>
          </p:cNvPr>
          <p:cNvSpPr>
            <a:spLocks noGrp="1"/>
          </p:cNvSpPr>
          <p:nvPr>
            <p:ph sz="quarter" idx="34"/>
          </p:nvPr>
        </p:nvSpPr>
        <p:spPr>
          <a:xfrm>
            <a:off x="9001246"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10" name="Inhaltsplatzhalter 7">
            <a:extLst>
              <a:ext uri="{FF2B5EF4-FFF2-40B4-BE49-F238E27FC236}">
                <a16:creationId xmlns:a16="http://schemas.microsoft.com/office/drawing/2014/main" id="{C82202AE-6EBB-766D-CB1A-95BA77D2BF1E}"/>
              </a:ext>
            </a:extLst>
          </p:cNvPr>
          <p:cNvSpPr>
            <a:spLocks noGrp="1"/>
          </p:cNvSpPr>
          <p:nvPr>
            <p:ph sz="quarter" idx="35"/>
          </p:nvPr>
        </p:nvSpPr>
        <p:spPr>
          <a:xfrm>
            <a:off x="6172839"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1" name="Inhaltsplatzhalter 7">
            <a:extLst>
              <a:ext uri="{FF2B5EF4-FFF2-40B4-BE49-F238E27FC236}">
                <a16:creationId xmlns:a16="http://schemas.microsoft.com/office/drawing/2014/main" id="{BA0ADB53-A41E-DC6F-665D-1792294B5155}"/>
              </a:ext>
            </a:extLst>
          </p:cNvPr>
          <p:cNvSpPr>
            <a:spLocks noGrp="1"/>
          </p:cNvSpPr>
          <p:nvPr>
            <p:ph sz="quarter" idx="36"/>
          </p:nvPr>
        </p:nvSpPr>
        <p:spPr>
          <a:xfrm>
            <a:off x="3344432"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2" name="Inhaltsplatzhalter 7">
            <a:extLst>
              <a:ext uri="{FF2B5EF4-FFF2-40B4-BE49-F238E27FC236}">
                <a16:creationId xmlns:a16="http://schemas.microsoft.com/office/drawing/2014/main" id="{3597C441-3CB3-6592-E283-833ABBD87A14}"/>
              </a:ext>
            </a:extLst>
          </p:cNvPr>
          <p:cNvSpPr>
            <a:spLocks noGrp="1"/>
          </p:cNvSpPr>
          <p:nvPr>
            <p:ph sz="quarter" idx="37"/>
          </p:nvPr>
        </p:nvSpPr>
        <p:spPr>
          <a:xfrm>
            <a:off x="516025"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9" name="Textplatzhalter 6">
            <a:extLst>
              <a:ext uri="{FF2B5EF4-FFF2-40B4-BE49-F238E27FC236}">
                <a16:creationId xmlns:a16="http://schemas.microsoft.com/office/drawing/2014/main" id="{B7F81798-8EAE-F96F-7FB8-80F75F9ADABD}"/>
              </a:ext>
            </a:extLst>
          </p:cNvPr>
          <p:cNvSpPr>
            <a:spLocks noGrp="1"/>
          </p:cNvSpPr>
          <p:nvPr>
            <p:ph type="body" sz="quarter" idx="26"/>
          </p:nvPr>
        </p:nvSpPr>
        <p:spPr>
          <a:xfrm>
            <a:off x="515936" y="2586131"/>
            <a:ext cx="2338100" cy="464331"/>
          </a:xfrm>
          <a:solidFill>
            <a:schemeClr val="tx1">
              <a:alpha val="70000"/>
            </a:schemeClr>
          </a:solidFill>
        </p:spPr>
        <p:txBody>
          <a:bodyPr wrap="square" lIns="108000" tIns="108000" rIns="108000" bIns="108000" anchor="b" anchorCtr="0">
            <a:spAutoFit/>
          </a:bodyPr>
          <a:lstStyle>
            <a:lvl1pPr marL="0" indent="0">
              <a:spcAft>
                <a:spcPts val="0"/>
              </a:spcAft>
              <a:buNone/>
              <a:defRPr sz="1600" b="1">
                <a:solidFill>
                  <a:schemeClr val="bg1"/>
                </a:solidFill>
              </a:defRPr>
            </a:lvl1pPr>
          </a:lstStyle>
          <a:p>
            <a:pPr lvl="0"/>
            <a:endParaRPr lang="de-DE" dirty="0"/>
          </a:p>
        </p:txBody>
      </p:sp>
      <p:sp>
        <p:nvSpPr>
          <p:cNvPr id="13" name="Textplatzhalter 6">
            <a:extLst>
              <a:ext uri="{FF2B5EF4-FFF2-40B4-BE49-F238E27FC236}">
                <a16:creationId xmlns:a16="http://schemas.microsoft.com/office/drawing/2014/main" id="{C835E452-2CAB-1646-FCD3-C3D7C15B787E}"/>
              </a:ext>
            </a:extLst>
          </p:cNvPr>
          <p:cNvSpPr>
            <a:spLocks noGrp="1"/>
          </p:cNvSpPr>
          <p:nvPr>
            <p:ph type="body" sz="quarter" idx="27" hasCustomPrompt="1"/>
          </p:nvPr>
        </p:nvSpPr>
        <p:spPr>
          <a:xfrm>
            <a:off x="6172750" y="5404981"/>
            <a:ext cx="2338100" cy="464331"/>
          </a:xfrm>
          <a:solidFill>
            <a:schemeClr val="tx1">
              <a:alpha val="70000"/>
            </a:schemeClr>
          </a:solidFill>
        </p:spPr>
        <p:txBody>
          <a:bodyPr wrap="square" lIns="108000" tIns="108000" rIns="108000" bIns="108000" anchor="b" anchorCtr="0">
            <a:spAutoFit/>
          </a:bodyPr>
          <a:lstStyle>
            <a:lvl1pPr marL="0" indent="0">
              <a:spcAft>
                <a:spcPts val="0"/>
              </a:spcAft>
              <a:buNone/>
              <a:defRPr sz="1600" b="1">
                <a:solidFill>
                  <a:schemeClr val="bg1"/>
                </a:solidFill>
              </a:defRPr>
            </a:lvl1pPr>
          </a:lstStyle>
          <a:p>
            <a:pPr lvl="0"/>
            <a:r>
              <a:rPr lang="de-DE" dirty="0"/>
              <a:t>Text hinzufügen</a:t>
            </a:r>
          </a:p>
        </p:txBody>
      </p:sp>
      <p:sp>
        <p:nvSpPr>
          <p:cNvPr id="11" name="Datumsplatzhalter 8">
            <a:extLst>
              <a:ext uri="{FF2B5EF4-FFF2-40B4-BE49-F238E27FC236}">
                <a16:creationId xmlns:a16="http://schemas.microsoft.com/office/drawing/2014/main" id="{9CE1835B-FECD-5942-3740-575F3457D33B}"/>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4" name="Fußzeilenplatzhalter 9">
            <a:extLst>
              <a:ext uri="{FF2B5EF4-FFF2-40B4-BE49-F238E27FC236}">
                <a16:creationId xmlns:a16="http://schemas.microsoft.com/office/drawing/2014/main" id="{B86893D0-3CF9-CEFA-FEBB-6A7408E993E1}"/>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20" name="Foliennummernplatzhalter 10">
            <a:extLst>
              <a:ext uri="{FF2B5EF4-FFF2-40B4-BE49-F238E27FC236}">
                <a16:creationId xmlns:a16="http://schemas.microsoft.com/office/drawing/2014/main" id="{2FF8FECE-0426-7BC7-6436-F3CFF7A7B232}"/>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
        <p:nvSpPr>
          <p:cNvPr id="6" name="Textplatzhalter 16">
            <a:extLst>
              <a:ext uri="{FF2B5EF4-FFF2-40B4-BE49-F238E27FC236}">
                <a16:creationId xmlns:a16="http://schemas.microsoft.com/office/drawing/2014/main" id="{41EAA8B4-1122-CAFC-C3CC-7970E72FF665}"/>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55387034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Headline - dunkel">
    <p:bg>
      <p:bgRef idx="1001">
        <a:schemeClr val="bg1"/>
      </p:bgRef>
    </p:bg>
    <p:spTree>
      <p:nvGrpSpPr>
        <p:cNvPr id="1" name=""/>
        <p:cNvGrpSpPr/>
        <p:nvPr/>
      </p:nvGrpSpPr>
      <p:grpSpPr>
        <a:xfrm>
          <a:off x="0" y="0"/>
          <a:ext cx="0" cy="0"/>
          <a:chOff x="0" y="0"/>
          <a:chExt cx="0" cy="0"/>
        </a:xfrm>
      </p:grpSpPr>
      <p:cxnSp>
        <p:nvCxnSpPr>
          <p:cNvPr id="2" name="Gerade Verbindung 1">
            <a:extLst>
              <a:ext uri="{FF2B5EF4-FFF2-40B4-BE49-F238E27FC236}">
                <a16:creationId xmlns:a16="http://schemas.microsoft.com/office/drawing/2014/main" id="{4E8AA74F-54F2-2349-25ED-D261BCAAB986}"/>
              </a:ext>
            </a:extLst>
          </p:cNvPr>
          <p:cNvCxnSpPr>
            <a:cxnSpLocks/>
          </p:cNvCxnSpPr>
          <p:nvPr userDrawn="1"/>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9A84250A-8745-13F3-5563-37EB6484DF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8" name="Grafik 7">
            <a:extLst>
              <a:ext uri="{FF2B5EF4-FFF2-40B4-BE49-F238E27FC236}">
                <a16:creationId xmlns:a16="http://schemas.microsoft.com/office/drawing/2014/main" id="{39EC3745-AA9B-972B-FFBD-BF3246405CA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4" name="Titel 1">
            <a:extLst>
              <a:ext uri="{FF2B5EF4-FFF2-40B4-BE49-F238E27FC236}">
                <a16:creationId xmlns:a16="http://schemas.microsoft.com/office/drawing/2014/main" id="{B86602C7-483F-1088-B91A-EB66006E57F5}"/>
              </a:ext>
            </a:extLst>
          </p:cNvPr>
          <p:cNvSpPr>
            <a:spLocks noGrp="1"/>
          </p:cNvSpPr>
          <p:nvPr>
            <p:ph type="title"/>
          </p:nvPr>
        </p:nvSpPr>
        <p:spPr>
          <a:xfrm>
            <a:off x="515938" y="788711"/>
            <a:ext cx="11166063" cy="738664"/>
          </a:xfrm>
        </p:spPr>
        <p:txBody>
          <a:bodyPr>
            <a:noAutofit/>
          </a:bodyPr>
          <a:lstStyle>
            <a:lvl1pPr>
              <a:defRPr sz="2400"/>
            </a:lvl1pPr>
          </a:lstStyle>
          <a:p>
            <a:endParaRPr lang="de-DE" dirty="0"/>
          </a:p>
        </p:txBody>
      </p:sp>
      <p:sp>
        <p:nvSpPr>
          <p:cNvPr id="15" name="Datumsplatzhalter 8">
            <a:extLst>
              <a:ext uri="{FF2B5EF4-FFF2-40B4-BE49-F238E27FC236}">
                <a16:creationId xmlns:a16="http://schemas.microsoft.com/office/drawing/2014/main" id="{0CD488B2-F7BA-3E81-69AA-7ECBB22D78E0}"/>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6" name="Fußzeilenplatzhalter 9">
            <a:extLst>
              <a:ext uri="{FF2B5EF4-FFF2-40B4-BE49-F238E27FC236}">
                <a16:creationId xmlns:a16="http://schemas.microsoft.com/office/drawing/2014/main" id="{899330DD-8851-E559-ED38-E230C1D3EA97}"/>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7" name="Foliennummernplatzhalter 10">
            <a:extLst>
              <a:ext uri="{FF2B5EF4-FFF2-40B4-BE49-F238E27FC236}">
                <a16:creationId xmlns:a16="http://schemas.microsoft.com/office/drawing/2014/main" id="{085380B2-14AC-311A-73C1-4BDC7666F5D9}"/>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17536211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958" userDrawn="1">
          <p15:clr>
            <a:srgbClr val="F26B43"/>
          </p15:clr>
        </p15:guide>
        <p15:guide id="3" orient="horz" pos="1117"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lder Collage - dunkel">
    <p:bg>
      <p:bgRef idx="1001">
        <a:schemeClr val="bg1"/>
      </p:bgRef>
    </p:bg>
    <p:spTree>
      <p:nvGrpSpPr>
        <p:cNvPr id="1" name=""/>
        <p:cNvGrpSpPr/>
        <p:nvPr/>
      </p:nvGrpSpPr>
      <p:grpSpPr>
        <a:xfrm>
          <a:off x="0" y="0"/>
          <a:ext cx="0" cy="0"/>
          <a:chOff x="0" y="0"/>
          <a:chExt cx="0" cy="0"/>
        </a:xfrm>
      </p:grpSpPr>
      <p:sp>
        <p:nvSpPr>
          <p:cNvPr id="25" name="Inhaltsplatzhalter 7">
            <a:extLst>
              <a:ext uri="{FF2B5EF4-FFF2-40B4-BE49-F238E27FC236}">
                <a16:creationId xmlns:a16="http://schemas.microsoft.com/office/drawing/2014/main" id="{82A7DBCE-975F-F187-9AD9-A5F4C05E38F9}"/>
              </a:ext>
            </a:extLst>
          </p:cNvPr>
          <p:cNvSpPr>
            <a:spLocks noGrp="1"/>
          </p:cNvSpPr>
          <p:nvPr>
            <p:ph sz="quarter" idx="30"/>
          </p:nvPr>
        </p:nvSpPr>
        <p:spPr>
          <a:xfrm>
            <a:off x="9001157"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6" name="Inhaltsplatzhalter 7">
            <a:extLst>
              <a:ext uri="{FF2B5EF4-FFF2-40B4-BE49-F238E27FC236}">
                <a16:creationId xmlns:a16="http://schemas.microsoft.com/office/drawing/2014/main" id="{C0FFCF76-C47A-B2EC-6E55-557D9E69BCBE}"/>
              </a:ext>
            </a:extLst>
          </p:cNvPr>
          <p:cNvSpPr>
            <a:spLocks noGrp="1"/>
          </p:cNvSpPr>
          <p:nvPr>
            <p:ph sz="quarter" idx="31"/>
          </p:nvPr>
        </p:nvSpPr>
        <p:spPr>
          <a:xfrm>
            <a:off x="6172750"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7" name="Inhaltsplatzhalter 7">
            <a:extLst>
              <a:ext uri="{FF2B5EF4-FFF2-40B4-BE49-F238E27FC236}">
                <a16:creationId xmlns:a16="http://schemas.microsoft.com/office/drawing/2014/main" id="{EB987E8A-A35A-7ECA-52F2-131C753B98B0}"/>
              </a:ext>
            </a:extLst>
          </p:cNvPr>
          <p:cNvSpPr>
            <a:spLocks noGrp="1"/>
          </p:cNvSpPr>
          <p:nvPr>
            <p:ph sz="quarter" idx="32"/>
          </p:nvPr>
        </p:nvSpPr>
        <p:spPr>
          <a:xfrm>
            <a:off x="3344343"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8" name="Inhaltsplatzhalter 7">
            <a:extLst>
              <a:ext uri="{FF2B5EF4-FFF2-40B4-BE49-F238E27FC236}">
                <a16:creationId xmlns:a16="http://schemas.microsoft.com/office/drawing/2014/main" id="{348841F8-CE38-3FFE-9E75-EE54AFF383DC}"/>
              </a:ext>
            </a:extLst>
          </p:cNvPr>
          <p:cNvSpPr>
            <a:spLocks noGrp="1"/>
          </p:cNvSpPr>
          <p:nvPr>
            <p:ph sz="quarter" idx="33"/>
          </p:nvPr>
        </p:nvSpPr>
        <p:spPr>
          <a:xfrm>
            <a:off x="515936" y="765176"/>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29" name="Inhaltsplatzhalter 7">
            <a:extLst>
              <a:ext uri="{FF2B5EF4-FFF2-40B4-BE49-F238E27FC236}">
                <a16:creationId xmlns:a16="http://schemas.microsoft.com/office/drawing/2014/main" id="{5F387B4C-2DB6-7C7E-3FF6-42C480BEE564}"/>
              </a:ext>
            </a:extLst>
          </p:cNvPr>
          <p:cNvSpPr>
            <a:spLocks noGrp="1"/>
          </p:cNvSpPr>
          <p:nvPr>
            <p:ph sz="quarter" idx="34"/>
          </p:nvPr>
        </p:nvSpPr>
        <p:spPr>
          <a:xfrm>
            <a:off x="9001246"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30" name="Inhaltsplatzhalter 7">
            <a:extLst>
              <a:ext uri="{FF2B5EF4-FFF2-40B4-BE49-F238E27FC236}">
                <a16:creationId xmlns:a16="http://schemas.microsoft.com/office/drawing/2014/main" id="{D0D074BE-37BD-0613-383A-1FACA6ABF910}"/>
              </a:ext>
            </a:extLst>
          </p:cNvPr>
          <p:cNvSpPr>
            <a:spLocks noGrp="1"/>
          </p:cNvSpPr>
          <p:nvPr>
            <p:ph sz="quarter" idx="35"/>
          </p:nvPr>
        </p:nvSpPr>
        <p:spPr>
          <a:xfrm>
            <a:off x="6172839"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31" name="Inhaltsplatzhalter 7">
            <a:extLst>
              <a:ext uri="{FF2B5EF4-FFF2-40B4-BE49-F238E27FC236}">
                <a16:creationId xmlns:a16="http://schemas.microsoft.com/office/drawing/2014/main" id="{676F24F2-0126-CFAD-F759-23E232B4A1EC}"/>
              </a:ext>
            </a:extLst>
          </p:cNvPr>
          <p:cNvSpPr>
            <a:spLocks noGrp="1"/>
          </p:cNvSpPr>
          <p:nvPr>
            <p:ph sz="quarter" idx="36"/>
          </p:nvPr>
        </p:nvSpPr>
        <p:spPr>
          <a:xfrm>
            <a:off x="3344432"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32" name="Inhaltsplatzhalter 7">
            <a:extLst>
              <a:ext uri="{FF2B5EF4-FFF2-40B4-BE49-F238E27FC236}">
                <a16:creationId xmlns:a16="http://schemas.microsoft.com/office/drawing/2014/main" id="{AEBF7636-5723-0717-9A78-99DB0A9B2CDE}"/>
              </a:ext>
            </a:extLst>
          </p:cNvPr>
          <p:cNvSpPr>
            <a:spLocks noGrp="1"/>
          </p:cNvSpPr>
          <p:nvPr>
            <p:ph sz="quarter" idx="37"/>
          </p:nvPr>
        </p:nvSpPr>
        <p:spPr>
          <a:xfrm>
            <a:off x="516025" y="3584024"/>
            <a:ext cx="2674817" cy="2545314"/>
          </a:xfrm>
        </p:spPr>
        <p:txBody>
          <a:bodyPr/>
          <a:lstStyle>
            <a:lvl1pPr>
              <a:defRPr>
                <a:solidFill>
                  <a:schemeClr val="tx2"/>
                </a:solidFill>
              </a:defRPr>
            </a:lvl1pPr>
            <a:lvl2pPr marL="341312"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p:txBody>
      </p:sp>
      <p:sp>
        <p:nvSpPr>
          <p:cNvPr id="9" name="Textplatzhalter 6">
            <a:extLst>
              <a:ext uri="{FF2B5EF4-FFF2-40B4-BE49-F238E27FC236}">
                <a16:creationId xmlns:a16="http://schemas.microsoft.com/office/drawing/2014/main" id="{B7F81798-8EAE-F96F-7FB8-80F75F9ADABD}"/>
              </a:ext>
            </a:extLst>
          </p:cNvPr>
          <p:cNvSpPr>
            <a:spLocks noGrp="1"/>
          </p:cNvSpPr>
          <p:nvPr>
            <p:ph type="body" sz="quarter" idx="26"/>
          </p:nvPr>
        </p:nvSpPr>
        <p:spPr>
          <a:xfrm>
            <a:off x="515936" y="2586131"/>
            <a:ext cx="2338100" cy="464331"/>
          </a:xfrm>
          <a:solidFill>
            <a:schemeClr val="bg1">
              <a:alpha val="70000"/>
            </a:schemeClr>
          </a:solidFill>
        </p:spPr>
        <p:txBody>
          <a:bodyPr wrap="square" lIns="108000" tIns="108000" rIns="108000" bIns="108000" anchor="b" anchorCtr="0">
            <a:spAutoFit/>
          </a:bodyPr>
          <a:lstStyle>
            <a:lvl1pPr marL="0" indent="0">
              <a:spcAft>
                <a:spcPts val="0"/>
              </a:spcAft>
              <a:buNone/>
              <a:defRPr sz="1600" b="1">
                <a:solidFill>
                  <a:schemeClr val="tx2"/>
                </a:solidFill>
              </a:defRPr>
            </a:lvl1pPr>
          </a:lstStyle>
          <a:p>
            <a:pPr lvl="0"/>
            <a:endParaRPr lang="de-DE" dirty="0"/>
          </a:p>
        </p:txBody>
      </p:sp>
      <p:sp>
        <p:nvSpPr>
          <p:cNvPr id="13" name="Textplatzhalter 6">
            <a:extLst>
              <a:ext uri="{FF2B5EF4-FFF2-40B4-BE49-F238E27FC236}">
                <a16:creationId xmlns:a16="http://schemas.microsoft.com/office/drawing/2014/main" id="{C835E452-2CAB-1646-FCD3-C3D7C15B787E}"/>
              </a:ext>
            </a:extLst>
          </p:cNvPr>
          <p:cNvSpPr>
            <a:spLocks noGrp="1"/>
          </p:cNvSpPr>
          <p:nvPr>
            <p:ph type="body" sz="quarter" idx="27" hasCustomPrompt="1"/>
          </p:nvPr>
        </p:nvSpPr>
        <p:spPr>
          <a:xfrm>
            <a:off x="6172750" y="5404981"/>
            <a:ext cx="2338100" cy="464331"/>
          </a:xfrm>
          <a:solidFill>
            <a:schemeClr val="bg1">
              <a:alpha val="70000"/>
            </a:schemeClr>
          </a:solidFill>
        </p:spPr>
        <p:txBody>
          <a:bodyPr wrap="square" lIns="108000" tIns="108000" rIns="108000" bIns="108000" anchor="b" anchorCtr="0">
            <a:spAutoFit/>
          </a:bodyPr>
          <a:lstStyle>
            <a:lvl1pPr marL="0" indent="0">
              <a:spcAft>
                <a:spcPts val="0"/>
              </a:spcAft>
              <a:buNone/>
              <a:defRPr sz="1600" b="1">
                <a:solidFill>
                  <a:schemeClr val="tx2"/>
                </a:solidFill>
              </a:defRPr>
            </a:lvl1pPr>
          </a:lstStyle>
          <a:p>
            <a:pPr lvl="0"/>
            <a:r>
              <a:rPr lang="de-DE" dirty="0"/>
              <a:t>Text hinzufügen</a:t>
            </a:r>
          </a:p>
        </p:txBody>
      </p:sp>
      <p:sp>
        <p:nvSpPr>
          <p:cNvPr id="11" name="Datumsplatzhalter 8">
            <a:extLst>
              <a:ext uri="{FF2B5EF4-FFF2-40B4-BE49-F238E27FC236}">
                <a16:creationId xmlns:a16="http://schemas.microsoft.com/office/drawing/2014/main" id="{9CE1835B-FECD-5942-3740-575F3457D33B}"/>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4" name="Fußzeilenplatzhalter 9">
            <a:extLst>
              <a:ext uri="{FF2B5EF4-FFF2-40B4-BE49-F238E27FC236}">
                <a16:creationId xmlns:a16="http://schemas.microsoft.com/office/drawing/2014/main" id="{B86893D0-3CF9-CEFA-FEBB-6A7408E993E1}"/>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20" name="Foliennummernplatzhalter 10">
            <a:extLst>
              <a:ext uri="{FF2B5EF4-FFF2-40B4-BE49-F238E27FC236}">
                <a16:creationId xmlns:a16="http://schemas.microsoft.com/office/drawing/2014/main" id="{2FF8FECE-0426-7BC7-6436-F3CFF7A7B232}"/>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pic>
        <p:nvPicPr>
          <p:cNvPr id="2" name="Grafik 1">
            <a:extLst>
              <a:ext uri="{FF2B5EF4-FFF2-40B4-BE49-F238E27FC236}">
                <a16:creationId xmlns:a16="http://schemas.microsoft.com/office/drawing/2014/main" id="{64991212-B55A-1EA4-5B8C-F8910B3245B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3" name="Grafik 2">
            <a:extLst>
              <a:ext uri="{FF2B5EF4-FFF2-40B4-BE49-F238E27FC236}">
                <a16:creationId xmlns:a16="http://schemas.microsoft.com/office/drawing/2014/main" id="{15672FF5-B126-5E73-EFBB-FFFEC0934392}"/>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4" name="Textplatzhalter 16">
            <a:extLst>
              <a:ext uri="{FF2B5EF4-FFF2-40B4-BE49-F238E27FC236}">
                <a16:creationId xmlns:a16="http://schemas.microsoft.com/office/drawing/2014/main" id="{BD1DBE60-411D-0A42-B042-ACEEA16403B1}"/>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16786089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elen Dank Querformat - hell">
    <p:bg>
      <p:bgPr>
        <a:solidFill>
          <a:schemeClr val="bg1"/>
        </a:solidFill>
        <a:effectLst/>
      </p:bgPr>
    </p:bg>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0" y="0"/>
            <a:ext cx="12191980" cy="4042133"/>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hasCustomPrompt="1"/>
          </p:nvPr>
        </p:nvSpPr>
        <p:spPr>
          <a:xfrm>
            <a:off x="515939" y="4253345"/>
            <a:ext cx="11160124" cy="1880826"/>
          </a:xfrm>
        </p:spPr>
        <p:txBody>
          <a:bodyPr anchor="ctr" anchorCtr="0"/>
          <a:lstStyle>
            <a:lvl1pPr algn="ctr">
              <a:defRPr sz="5400">
                <a:solidFill>
                  <a:schemeClr val="tx1"/>
                </a:solidFill>
              </a:defRPr>
            </a:lvl1pPr>
          </a:lstStyle>
          <a:p>
            <a:r>
              <a:rPr lang="de-DE" dirty="0"/>
              <a:t>Vielen Dank!</a:t>
            </a:r>
          </a:p>
        </p:txBody>
      </p:sp>
      <p:sp>
        <p:nvSpPr>
          <p:cNvPr id="8" name="Textplatzhalter 13">
            <a:extLst>
              <a:ext uri="{FF2B5EF4-FFF2-40B4-BE49-F238E27FC236}">
                <a16:creationId xmlns:a16="http://schemas.microsoft.com/office/drawing/2014/main" id="{75A2390F-2D59-95FF-D61C-BFE5275C2D11}"/>
              </a:ext>
            </a:extLst>
          </p:cNvPr>
          <p:cNvSpPr>
            <a:spLocks noGrp="1"/>
          </p:cNvSpPr>
          <p:nvPr>
            <p:ph type="body" sz="quarter" idx="17"/>
          </p:nvPr>
        </p:nvSpPr>
        <p:spPr>
          <a:xfrm>
            <a:off x="527050" y="260350"/>
            <a:ext cx="1010495" cy="252198"/>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spTree>
    <p:extLst>
      <p:ext uri="{BB962C8B-B14F-4D97-AF65-F5344CB8AC3E}">
        <p14:creationId xmlns:p14="http://schemas.microsoft.com/office/powerpoint/2010/main" val="1842009349"/>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elen Dank Querformat - dunkel">
    <p:bg>
      <p:bgPr>
        <a:solidFill>
          <a:schemeClr val="tx1"/>
        </a:solidFill>
        <a:effectLst/>
      </p:bgPr>
    </p:bg>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0" y="0"/>
            <a:ext cx="12191980" cy="4042133"/>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hasCustomPrompt="1"/>
          </p:nvPr>
        </p:nvSpPr>
        <p:spPr>
          <a:xfrm>
            <a:off x="515939" y="4253345"/>
            <a:ext cx="11160124" cy="1880826"/>
          </a:xfrm>
        </p:spPr>
        <p:txBody>
          <a:bodyPr anchor="ctr" anchorCtr="0"/>
          <a:lstStyle>
            <a:lvl1pPr algn="ctr">
              <a:defRPr sz="5400">
                <a:solidFill>
                  <a:schemeClr val="bg1"/>
                </a:solidFill>
              </a:defRPr>
            </a:lvl1pPr>
          </a:lstStyle>
          <a:p>
            <a:r>
              <a:rPr lang="de-DE" dirty="0"/>
              <a:t>Vielen Dank!</a:t>
            </a:r>
          </a:p>
        </p:txBody>
      </p:sp>
      <p:sp>
        <p:nvSpPr>
          <p:cNvPr id="8" name="Textplatzhalter 13">
            <a:extLst>
              <a:ext uri="{FF2B5EF4-FFF2-40B4-BE49-F238E27FC236}">
                <a16:creationId xmlns:a16="http://schemas.microsoft.com/office/drawing/2014/main" id="{75A2390F-2D59-95FF-D61C-BFE5275C2D11}"/>
              </a:ext>
            </a:extLst>
          </p:cNvPr>
          <p:cNvSpPr>
            <a:spLocks noGrp="1"/>
          </p:cNvSpPr>
          <p:nvPr>
            <p:ph type="body" sz="quarter" idx="17"/>
          </p:nvPr>
        </p:nvSpPr>
        <p:spPr>
          <a:xfrm>
            <a:off x="527050" y="260350"/>
            <a:ext cx="1010495" cy="252198"/>
          </a:xfr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normAutofit/>
          </a:bodyPr>
          <a:lstStyle>
            <a:lvl1pPr>
              <a:defRPr sz="500">
                <a:solidFill>
                  <a:schemeClr val="tx1">
                    <a:alpha val="0"/>
                  </a:schemeClr>
                </a:solidFill>
              </a:defRPr>
            </a:lvl1pPr>
          </a:lstStyle>
          <a:p>
            <a:pPr lvl="0"/>
            <a:endParaRPr lang="en-US" dirty="0"/>
          </a:p>
        </p:txBody>
      </p:sp>
      <p:cxnSp>
        <p:nvCxnSpPr>
          <p:cNvPr id="6" name="Gerade Verbindung 5">
            <a:extLst>
              <a:ext uri="{FF2B5EF4-FFF2-40B4-BE49-F238E27FC236}">
                <a16:creationId xmlns:a16="http://schemas.microsoft.com/office/drawing/2014/main" id="{9EDE1CA4-D08E-F6E3-B881-68B2CB82A4C3}"/>
              </a:ext>
            </a:extLst>
          </p:cNvPr>
          <p:cNvCxnSpPr>
            <a:cxnSpLocks/>
          </p:cNvCxnSpPr>
          <p:nvPr userDrawn="1"/>
        </p:nvCxnSpPr>
        <p:spPr>
          <a:xfrm>
            <a:off x="515938" y="6343228"/>
            <a:ext cx="111601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80FC7F5A-FFF3-FEA2-2858-360074AED60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Tree>
    <p:extLst>
      <p:ext uri="{BB962C8B-B14F-4D97-AF65-F5344CB8AC3E}">
        <p14:creationId xmlns:p14="http://schemas.microsoft.com/office/powerpoint/2010/main" val="330802051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Vielen Dank Hochformat - hell">
    <p:bg>
      <p:bgPr>
        <a:solidFill>
          <a:schemeClr val="bg1"/>
        </a:solidFill>
        <a:effectLst/>
      </p:bgPr>
    </p:bg>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6096000" y="0"/>
            <a:ext cx="6095980" cy="6857996"/>
          </a:xfrm>
          <a:solidFill>
            <a:schemeClr val="accent6"/>
          </a:solidFill>
        </p:spPr>
        <p:txBody>
          <a:bodyPr anchor="ctr" anchorCtr="0">
            <a:normAutofit/>
          </a:bodyPr>
          <a:lstStyle>
            <a:lvl1pPr marL="0" indent="0" algn="ctr">
              <a:buNone/>
              <a:defRPr sz="1200">
                <a:solidFill>
                  <a:schemeClr val="bg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hasCustomPrompt="1"/>
          </p:nvPr>
        </p:nvSpPr>
        <p:spPr>
          <a:xfrm>
            <a:off x="515940" y="2182503"/>
            <a:ext cx="5039734" cy="2492990"/>
          </a:xfrm>
        </p:spPr>
        <p:txBody>
          <a:bodyPr anchor="ctr" anchorCtr="0">
            <a:noAutofit/>
          </a:bodyPr>
          <a:lstStyle>
            <a:lvl1pPr algn="l">
              <a:defRPr sz="5400">
                <a:solidFill>
                  <a:schemeClr val="tx1"/>
                </a:solidFill>
              </a:defRPr>
            </a:lvl1pPr>
          </a:lstStyle>
          <a:p>
            <a:r>
              <a:rPr lang="de-DE" dirty="0"/>
              <a:t>Vielen </a:t>
            </a:r>
            <a:br>
              <a:rPr lang="de-DE" dirty="0"/>
            </a:br>
            <a:r>
              <a:rPr lang="de-DE" dirty="0"/>
              <a:t>Dank!</a:t>
            </a:r>
          </a:p>
        </p:txBody>
      </p:sp>
      <p:sp>
        <p:nvSpPr>
          <p:cNvPr id="3" name="Textplatzhalter 10">
            <a:extLst>
              <a:ext uri="{FF2B5EF4-FFF2-40B4-BE49-F238E27FC236}">
                <a16:creationId xmlns:a16="http://schemas.microsoft.com/office/drawing/2014/main" id="{F1025F61-AABB-A0DD-8675-C25CD0744291}"/>
              </a:ext>
            </a:extLst>
          </p:cNvPr>
          <p:cNvSpPr>
            <a:spLocks noGrp="1"/>
          </p:cNvSpPr>
          <p:nvPr>
            <p:ph type="body" sz="quarter" idx="14"/>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Tree>
    <p:extLst>
      <p:ext uri="{BB962C8B-B14F-4D97-AF65-F5344CB8AC3E}">
        <p14:creationId xmlns:p14="http://schemas.microsoft.com/office/powerpoint/2010/main" val="1570426780"/>
      </p:ext>
    </p:extLst>
  </p:cSld>
  <p:clrMapOvr>
    <a:masterClrMapping/>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elen Dank Hochformat - dunkel">
    <p:bg>
      <p:bgRef idx="1001">
        <a:schemeClr val="bg1"/>
      </p:bgRef>
    </p:bg>
    <p:spTree>
      <p:nvGrpSpPr>
        <p:cNvPr id="1" name=""/>
        <p:cNvGrpSpPr/>
        <p:nvPr/>
      </p:nvGrpSpPr>
      <p:grpSpPr>
        <a:xfrm>
          <a:off x="0" y="0"/>
          <a:ext cx="0" cy="0"/>
          <a:chOff x="0" y="0"/>
          <a:chExt cx="0" cy="0"/>
        </a:xfrm>
      </p:grpSpPr>
      <p:sp>
        <p:nvSpPr>
          <p:cNvPr id="7" name="Bildplatzhalter 12">
            <a:extLst>
              <a:ext uri="{FF2B5EF4-FFF2-40B4-BE49-F238E27FC236}">
                <a16:creationId xmlns:a16="http://schemas.microsoft.com/office/drawing/2014/main" id="{38720402-8A14-4050-CDB9-675C7D8A6787}"/>
              </a:ext>
            </a:extLst>
          </p:cNvPr>
          <p:cNvSpPr>
            <a:spLocks noGrp="1"/>
          </p:cNvSpPr>
          <p:nvPr>
            <p:ph type="pic" sz="quarter" idx="16"/>
          </p:nvPr>
        </p:nvSpPr>
        <p:spPr>
          <a:xfrm>
            <a:off x="6096000" y="0"/>
            <a:ext cx="6095980" cy="6857996"/>
          </a:xfrm>
          <a:solidFill>
            <a:schemeClr val="accent6"/>
          </a:solidFill>
        </p:spPr>
        <p:txBody>
          <a:bodyPr anchor="ctr" anchorCtr="0">
            <a:normAutofit/>
          </a:bodyPr>
          <a:lstStyle>
            <a:lvl1pPr marL="0" indent="0" algn="ctr">
              <a:buNone/>
              <a:defRPr sz="1200">
                <a:solidFill>
                  <a:schemeClr val="tx1"/>
                </a:solidFill>
              </a:defRPr>
            </a:lvl1pPr>
          </a:lstStyle>
          <a:p>
            <a:endParaRPr lang="de-DE"/>
          </a:p>
        </p:txBody>
      </p:sp>
      <p:sp>
        <p:nvSpPr>
          <p:cNvPr id="2" name="Titel 1">
            <a:extLst>
              <a:ext uri="{FF2B5EF4-FFF2-40B4-BE49-F238E27FC236}">
                <a16:creationId xmlns:a16="http://schemas.microsoft.com/office/drawing/2014/main" id="{78B67A41-921D-7060-A474-EB379287F0B2}"/>
              </a:ext>
            </a:extLst>
          </p:cNvPr>
          <p:cNvSpPr>
            <a:spLocks noGrp="1"/>
          </p:cNvSpPr>
          <p:nvPr>
            <p:ph type="title" hasCustomPrompt="1"/>
          </p:nvPr>
        </p:nvSpPr>
        <p:spPr>
          <a:xfrm>
            <a:off x="515940" y="2182503"/>
            <a:ext cx="5039734" cy="2492990"/>
          </a:xfrm>
        </p:spPr>
        <p:txBody>
          <a:bodyPr anchor="ctr" anchorCtr="0">
            <a:noAutofit/>
          </a:bodyPr>
          <a:lstStyle>
            <a:lvl1pPr algn="l">
              <a:defRPr sz="5400">
                <a:solidFill>
                  <a:schemeClr val="tx1"/>
                </a:solidFill>
              </a:defRPr>
            </a:lvl1pPr>
          </a:lstStyle>
          <a:p>
            <a:r>
              <a:rPr lang="de-DE" dirty="0"/>
              <a:t>Vielen </a:t>
            </a:r>
            <a:br>
              <a:rPr lang="de-DE" dirty="0"/>
            </a:br>
            <a:r>
              <a:rPr lang="de-DE" dirty="0"/>
              <a:t>Dank!</a:t>
            </a:r>
          </a:p>
        </p:txBody>
      </p:sp>
      <p:pic>
        <p:nvPicPr>
          <p:cNvPr id="10" name="Grafik 9">
            <a:extLst>
              <a:ext uri="{FF2B5EF4-FFF2-40B4-BE49-F238E27FC236}">
                <a16:creationId xmlns:a16="http://schemas.microsoft.com/office/drawing/2014/main" id="{80FC7F5A-FFF3-FEA2-2858-360074AED60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7526" y="6470564"/>
            <a:ext cx="1263592" cy="137847"/>
          </a:xfrm>
          <a:prstGeom prst="rect">
            <a:avLst/>
          </a:prstGeom>
        </p:spPr>
      </p:pic>
      <p:pic>
        <p:nvPicPr>
          <p:cNvPr id="3" name="Grafik 2">
            <a:extLst>
              <a:ext uri="{FF2B5EF4-FFF2-40B4-BE49-F238E27FC236}">
                <a16:creationId xmlns:a16="http://schemas.microsoft.com/office/drawing/2014/main" id="{F7452CFC-F3EB-22B5-4CB6-20E231DE07D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1876" y="259570"/>
            <a:ext cx="1015670" cy="253918"/>
          </a:xfrm>
          <a:prstGeom prst="rect">
            <a:avLst/>
          </a:prstGeom>
        </p:spPr>
      </p:pic>
      <p:sp>
        <p:nvSpPr>
          <p:cNvPr id="4" name="Textplatzhalter 10">
            <a:extLst>
              <a:ext uri="{FF2B5EF4-FFF2-40B4-BE49-F238E27FC236}">
                <a16:creationId xmlns:a16="http://schemas.microsoft.com/office/drawing/2014/main" id="{D4E52450-5C86-C9F9-CC51-FEBB573FB601}"/>
              </a:ext>
            </a:extLst>
          </p:cNvPr>
          <p:cNvSpPr>
            <a:spLocks noGrp="1"/>
          </p:cNvSpPr>
          <p:nvPr>
            <p:ph type="body" sz="quarter" idx="14"/>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Tree>
    <p:extLst>
      <p:ext uri="{BB962C8B-B14F-4D97-AF65-F5344CB8AC3E}">
        <p14:creationId xmlns:p14="http://schemas.microsoft.com/office/powerpoint/2010/main" val="2770810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pos="3500"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 Subheadline - hel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EC02FFB-74A3-B806-B80C-E3424C345D45}"/>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F49DBEC-528A-4081-B4A8-43C7F8BC3C3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88451A56-4C31-254B-F5E3-55F8B3E41455}"/>
              </a:ext>
            </a:extLst>
          </p:cNvPr>
          <p:cNvSpPr>
            <a:spLocks noGrp="1"/>
          </p:cNvSpPr>
          <p:nvPr>
            <p:ph type="sldNum" sz="quarter" idx="12"/>
          </p:nvPr>
        </p:nvSpPr>
        <p:spPr/>
        <p:txBody>
          <a:bodyPr/>
          <a:lstStyle/>
          <a:p>
            <a:fld id="{E84006A6-0E15-460A-BCD4-002C20F8AC9F}" type="slidenum">
              <a:rPr lang="de-DE" smtClean="0"/>
              <a:pPr/>
              <a:t>‹Nr.›</a:t>
            </a:fld>
            <a:endParaRPr lang="de-DE"/>
          </a:p>
        </p:txBody>
      </p:sp>
      <p:sp>
        <p:nvSpPr>
          <p:cNvPr id="2" name="Titel 1">
            <a:extLst>
              <a:ext uri="{FF2B5EF4-FFF2-40B4-BE49-F238E27FC236}">
                <a16:creationId xmlns:a16="http://schemas.microsoft.com/office/drawing/2014/main" id="{5AEF48E4-B329-D61A-F032-A615AC2139D3}"/>
              </a:ext>
            </a:extLst>
          </p:cNvPr>
          <p:cNvSpPr>
            <a:spLocks noGrp="1"/>
          </p:cNvSpPr>
          <p:nvPr>
            <p:ph type="title"/>
          </p:nvPr>
        </p:nvSpPr>
        <p:spPr>
          <a:xfrm>
            <a:off x="515938" y="788711"/>
            <a:ext cx="11166063" cy="738664"/>
          </a:xfrm>
        </p:spPr>
        <p:txBody>
          <a:bodyPr>
            <a:noAutofit/>
          </a:bodyPr>
          <a:lstStyle>
            <a:lvl1pPr>
              <a:defRPr sz="2400"/>
            </a:lvl1pPr>
          </a:lstStyle>
          <a:p>
            <a:endParaRPr lang="de-DE" dirty="0"/>
          </a:p>
        </p:txBody>
      </p:sp>
      <p:sp>
        <p:nvSpPr>
          <p:cNvPr id="7" name="Textplatzhalter 16">
            <a:extLst>
              <a:ext uri="{FF2B5EF4-FFF2-40B4-BE49-F238E27FC236}">
                <a16:creationId xmlns:a16="http://schemas.microsoft.com/office/drawing/2014/main" id="{11E84560-67AD-0655-5EAF-1DBB5B3E3384}"/>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Tree>
    <p:extLst>
      <p:ext uri="{BB962C8B-B14F-4D97-AF65-F5344CB8AC3E}">
        <p14:creationId xmlns:p14="http://schemas.microsoft.com/office/powerpoint/2010/main" val="519132280"/>
      </p:ext>
    </p:extLst>
  </p:cSld>
  <p:clrMapOvr>
    <a:masterClrMapping/>
  </p:clrMapOvr>
  <p:extLst>
    <p:ext uri="{DCECCB84-F9BA-43D5-87BE-67443E8EF086}">
      <p15:sldGuideLst xmlns:p15="http://schemas.microsoft.com/office/powerpoint/2012/main">
        <p15:guide id="1" pos="3840" userDrawn="1">
          <p15:clr>
            <a:srgbClr val="F26B43"/>
          </p15:clr>
        </p15:guide>
        <p15:guide id="2" orient="horz" pos="1117" userDrawn="1">
          <p15:clr>
            <a:srgbClr val="F26B43"/>
          </p15:clr>
        </p15:guide>
        <p15:guide id="3" orient="horz" pos="958"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 Subheadline - dunkel">
    <p:bg>
      <p:bgRef idx="1001">
        <a:schemeClr val="bg1"/>
      </p:bgRef>
    </p:bg>
    <p:spTree>
      <p:nvGrpSpPr>
        <p:cNvPr id="1" name=""/>
        <p:cNvGrpSpPr/>
        <p:nvPr/>
      </p:nvGrpSpPr>
      <p:grpSpPr>
        <a:xfrm>
          <a:off x="0" y="0"/>
          <a:ext cx="0" cy="0"/>
          <a:chOff x="0" y="0"/>
          <a:chExt cx="0" cy="0"/>
        </a:xfrm>
      </p:grpSpPr>
      <p:cxnSp>
        <p:nvCxnSpPr>
          <p:cNvPr id="2" name="Gerade Verbindung 1">
            <a:extLst>
              <a:ext uri="{FF2B5EF4-FFF2-40B4-BE49-F238E27FC236}">
                <a16:creationId xmlns:a16="http://schemas.microsoft.com/office/drawing/2014/main" id="{4E8AA74F-54F2-2349-25ED-D261BCAAB986}"/>
              </a:ext>
            </a:extLst>
          </p:cNvPr>
          <p:cNvCxnSpPr>
            <a:cxnSpLocks/>
          </p:cNvCxnSpPr>
          <p:nvPr userDrawn="1"/>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9A84250A-8745-13F3-5563-37EB6484DF9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8" name="Grafik 7">
            <a:extLst>
              <a:ext uri="{FF2B5EF4-FFF2-40B4-BE49-F238E27FC236}">
                <a16:creationId xmlns:a16="http://schemas.microsoft.com/office/drawing/2014/main" id="{39EC3745-AA9B-972B-FFBD-BF3246405CA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3" name="Textplatzhalter 16">
            <a:extLst>
              <a:ext uri="{FF2B5EF4-FFF2-40B4-BE49-F238E27FC236}">
                <a16:creationId xmlns:a16="http://schemas.microsoft.com/office/drawing/2014/main" id="{535D1C2B-1CCD-F062-2510-B8DC61166065}"/>
              </a:ext>
            </a:extLst>
          </p:cNvPr>
          <p:cNvSpPr>
            <a:spLocks noGrp="1"/>
          </p:cNvSpPr>
          <p:nvPr>
            <p:ph type="body" sz="quarter" idx="16" hasCustomPrompt="1"/>
          </p:nvPr>
        </p:nvSpPr>
        <p:spPr>
          <a:xfrm>
            <a:off x="6095911" y="312888"/>
            <a:ext cx="5580063" cy="248400"/>
          </a:xfrm>
        </p:spPr>
        <p:txBody>
          <a:bodyPr vert="horz" wrap="square" lIns="0" tIns="0" rIns="0" bIns="0" rtlCol="0" anchor="ctr" anchorCtr="0">
            <a:noAutofit/>
          </a:bodyPr>
          <a:lstStyle>
            <a:lvl1pPr marL="0" indent="0">
              <a:buFontTx/>
              <a:buNone/>
              <a:defRPr lang="de-DE" sz="1600" b="1" dirty="0">
                <a:solidFill>
                  <a:schemeClr val="tx1"/>
                </a:solidFill>
                <a:latin typeface="+mj-lt"/>
                <a:ea typeface="+mj-ea"/>
                <a:cs typeface="+mj-cs"/>
              </a:defRPr>
            </a:lvl1pPr>
          </a:lstStyle>
          <a:p>
            <a:pPr marL="223838" lvl="0" indent="-223838">
              <a:spcBef>
                <a:spcPct val="0"/>
              </a:spcBef>
            </a:pPr>
            <a:r>
              <a:rPr lang="de-DE" dirty="0"/>
              <a:t>Headline optional</a:t>
            </a:r>
          </a:p>
        </p:txBody>
      </p:sp>
      <p:sp>
        <p:nvSpPr>
          <p:cNvPr id="14" name="Titel 1">
            <a:extLst>
              <a:ext uri="{FF2B5EF4-FFF2-40B4-BE49-F238E27FC236}">
                <a16:creationId xmlns:a16="http://schemas.microsoft.com/office/drawing/2014/main" id="{B86602C7-483F-1088-B91A-EB66006E57F5}"/>
              </a:ext>
            </a:extLst>
          </p:cNvPr>
          <p:cNvSpPr>
            <a:spLocks noGrp="1"/>
          </p:cNvSpPr>
          <p:nvPr>
            <p:ph type="title"/>
          </p:nvPr>
        </p:nvSpPr>
        <p:spPr>
          <a:xfrm>
            <a:off x="515938" y="788711"/>
            <a:ext cx="11166063" cy="738664"/>
          </a:xfrm>
        </p:spPr>
        <p:txBody>
          <a:bodyPr>
            <a:noAutofit/>
          </a:bodyPr>
          <a:lstStyle>
            <a:lvl1pPr>
              <a:defRPr sz="2400"/>
            </a:lvl1pPr>
          </a:lstStyle>
          <a:p>
            <a:endParaRPr lang="de-DE" dirty="0"/>
          </a:p>
        </p:txBody>
      </p:sp>
      <p:sp>
        <p:nvSpPr>
          <p:cNvPr id="15" name="Datumsplatzhalter 8">
            <a:extLst>
              <a:ext uri="{FF2B5EF4-FFF2-40B4-BE49-F238E27FC236}">
                <a16:creationId xmlns:a16="http://schemas.microsoft.com/office/drawing/2014/main" id="{0CD488B2-F7BA-3E81-69AA-7ECBB22D78E0}"/>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6" name="Fußzeilenplatzhalter 9">
            <a:extLst>
              <a:ext uri="{FF2B5EF4-FFF2-40B4-BE49-F238E27FC236}">
                <a16:creationId xmlns:a16="http://schemas.microsoft.com/office/drawing/2014/main" id="{899330DD-8851-E559-ED38-E230C1D3EA97}"/>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7" name="Foliennummernplatzhalter 10">
            <a:extLst>
              <a:ext uri="{FF2B5EF4-FFF2-40B4-BE49-F238E27FC236}">
                <a16:creationId xmlns:a16="http://schemas.microsoft.com/office/drawing/2014/main" id="{085380B2-14AC-311A-73C1-4BDC7666F5D9}"/>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30876495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orient="horz" pos="958" userDrawn="1">
          <p15:clr>
            <a:srgbClr val="F26B43"/>
          </p15:clr>
        </p15:guide>
        <p15:guide id="3" orient="horz" pos="1117"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hell">
    <p:bg>
      <p:bgPr>
        <a:solidFill>
          <a:schemeClr val="bg1"/>
        </a:solidFill>
        <a:effectLst/>
      </p:bgPr>
    </p:bg>
    <p:spTree>
      <p:nvGrpSpPr>
        <p:cNvPr id="1" name=""/>
        <p:cNvGrpSpPr/>
        <p:nvPr/>
      </p:nvGrpSpPr>
      <p:grpSpPr>
        <a:xfrm>
          <a:off x="0" y="0"/>
          <a:ext cx="0" cy="0"/>
          <a:chOff x="0" y="0"/>
          <a:chExt cx="0" cy="0"/>
        </a:xfrm>
      </p:grpSpPr>
      <p:sp>
        <p:nvSpPr>
          <p:cNvPr id="4" name="Inhaltsplatzhalter 7">
            <a:extLst>
              <a:ext uri="{FF2B5EF4-FFF2-40B4-BE49-F238E27FC236}">
                <a16:creationId xmlns:a16="http://schemas.microsoft.com/office/drawing/2014/main" id="{8A03D6A0-C4E9-CA0B-F911-D4FE8E001122}"/>
              </a:ext>
            </a:extLst>
          </p:cNvPr>
          <p:cNvSpPr>
            <a:spLocks noGrp="1"/>
          </p:cNvSpPr>
          <p:nvPr>
            <p:ph sz="quarter" idx="24"/>
          </p:nvPr>
        </p:nvSpPr>
        <p:spPr>
          <a:xfrm>
            <a:off x="6095999" y="0"/>
            <a:ext cx="6096000" cy="68580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6">
            <a:extLst>
              <a:ext uri="{FF2B5EF4-FFF2-40B4-BE49-F238E27FC236}">
                <a16:creationId xmlns:a16="http://schemas.microsoft.com/office/drawing/2014/main" id="{C8E71270-B45B-BA3D-F83B-DDEB86021E6F}"/>
              </a:ext>
            </a:extLst>
          </p:cNvPr>
          <p:cNvSpPr>
            <a:spLocks noGrp="1"/>
          </p:cNvSpPr>
          <p:nvPr>
            <p:ph type="body" sz="quarter" idx="12" hasCustomPrompt="1"/>
          </p:nvPr>
        </p:nvSpPr>
        <p:spPr>
          <a:xfrm>
            <a:off x="1232493" y="2673922"/>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 name="Titel 1">
            <a:extLst>
              <a:ext uri="{FF2B5EF4-FFF2-40B4-BE49-F238E27FC236}">
                <a16:creationId xmlns:a16="http://schemas.microsoft.com/office/drawing/2014/main" id="{EC34CF67-E5CE-4D9B-9059-D5EEB5FA7B1B}"/>
              </a:ext>
            </a:extLst>
          </p:cNvPr>
          <p:cNvSpPr>
            <a:spLocks noGrp="1"/>
          </p:cNvSpPr>
          <p:nvPr>
            <p:ph type="title"/>
          </p:nvPr>
        </p:nvSpPr>
        <p:spPr>
          <a:xfrm>
            <a:off x="515938" y="1731066"/>
            <a:ext cx="5040311" cy="369332"/>
          </a:xfrm>
        </p:spPr>
        <p:txBody>
          <a:bodyPr anchor="b" anchorCtr="0">
            <a:noAutofit/>
          </a:bodyPr>
          <a:lstStyle>
            <a:lvl1pPr>
              <a:defRPr sz="2400">
                <a:solidFill>
                  <a:schemeClr val="tx1"/>
                </a:solidFill>
              </a:defRPr>
            </a:lvl1pPr>
          </a:lstStyle>
          <a:p>
            <a:endParaRPr lang="de-DE" dirty="0"/>
          </a:p>
        </p:txBody>
      </p:sp>
      <p:sp>
        <p:nvSpPr>
          <p:cNvPr id="17" name="Textplatzhalter 16">
            <a:extLst>
              <a:ext uri="{FF2B5EF4-FFF2-40B4-BE49-F238E27FC236}">
                <a16:creationId xmlns:a16="http://schemas.microsoft.com/office/drawing/2014/main" id="{042DE79E-DC44-1D12-2357-DA3257B30D7B}"/>
              </a:ext>
            </a:extLst>
          </p:cNvPr>
          <p:cNvSpPr>
            <a:spLocks noGrp="1"/>
          </p:cNvSpPr>
          <p:nvPr>
            <p:ph type="body" sz="quarter" idx="11" hasCustomPrompt="1"/>
          </p:nvPr>
        </p:nvSpPr>
        <p:spPr>
          <a:xfrm>
            <a:off x="515938" y="2508145"/>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28" name="Textplatzhalter 16">
            <a:extLst>
              <a:ext uri="{FF2B5EF4-FFF2-40B4-BE49-F238E27FC236}">
                <a16:creationId xmlns:a16="http://schemas.microsoft.com/office/drawing/2014/main" id="{E33F78A6-5750-E823-3B3A-9A5BC022B4B6}"/>
              </a:ext>
            </a:extLst>
          </p:cNvPr>
          <p:cNvSpPr>
            <a:spLocks noGrp="1"/>
          </p:cNvSpPr>
          <p:nvPr>
            <p:ph type="body" sz="quarter" idx="13" hasCustomPrompt="1"/>
          </p:nvPr>
        </p:nvSpPr>
        <p:spPr>
          <a:xfrm>
            <a:off x="1232493" y="3238851"/>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9" name="Textplatzhalter 16">
            <a:extLst>
              <a:ext uri="{FF2B5EF4-FFF2-40B4-BE49-F238E27FC236}">
                <a16:creationId xmlns:a16="http://schemas.microsoft.com/office/drawing/2014/main" id="{350DF736-7B56-D280-DF90-C20E181007E7}"/>
              </a:ext>
            </a:extLst>
          </p:cNvPr>
          <p:cNvSpPr>
            <a:spLocks noGrp="1"/>
          </p:cNvSpPr>
          <p:nvPr>
            <p:ph type="body" sz="quarter" idx="14" hasCustomPrompt="1"/>
          </p:nvPr>
        </p:nvSpPr>
        <p:spPr>
          <a:xfrm>
            <a:off x="515938" y="3073074"/>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0" name="Textplatzhalter 16">
            <a:extLst>
              <a:ext uri="{FF2B5EF4-FFF2-40B4-BE49-F238E27FC236}">
                <a16:creationId xmlns:a16="http://schemas.microsoft.com/office/drawing/2014/main" id="{C1080836-FB50-291B-BA74-6E60CE36A089}"/>
              </a:ext>
            </a:extLst>
          </p:cNvPr>
          <p:cNvSpPr>
            <a:spLocks noGrp="1"/>
          </p:cNvSpPr>
          <p:nvPr>
            <p:ph type="body" sz="quarter" idx="15" hasCustomPrompt="1"/>
          </p:nvPr>
        </p:nvSpPr>
        <p:spPr>
          <a:xfrm>
            <a:off x="1232493" y="3803780"/>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1" name="Textplatzhalter 16">
            <a:extLst>
              <a:ext uri="{FF2B5EF4-FFF2-40B4-BE49-F238E27FC236}">
                <a16:creationId xmlns:a16="http://schemas.microsoft.com/office/drawing/2014/main" id="{165F8A12-0FC3-29F3-BFE1-84FB7C985E17}"/>
              </a:ext>
            </a:extLst>
          </p:cNvPr>
          <p:cNvSpPr>
            <a:spLocks noGrp="1"/>
          </p:cNvSpPr>
          <p:nvPr>
            <p:ph type="body" sz="quarter" idx="16" hasCustomPrompt="1"/>
          </p:nvPr>
        </p:nvSpPr>
        <p:spPr>
          <a:xfrm>
            <a:off x="515938" y="3638003"/>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2" name="Textplatzhalter 16">
            <a:extLst>
              <a:ext uri="{FF2B5EF4-FFF2-40B4-BE49-F238E27FC236}">
                <a16:creationId xmlns:a16="http://schemas.microsoft.com/office/drawing/2014/main" id="{4AC61DDB-A8AF-0696-A80C-A0D597B9CEA8}"/>
              </a:ext>
            </a:extLst>
          </p:cNvPr>
          <p:cNvSpPr>
            <a:spLocks noGrp="1"/>
          </p:cNvSpPr>
          <p:nvPr>
            <p:ph type="body" sz="quarter" idx="17" hasCustomPrompt="1"/>
          </p:nvPr>
        </p:nvSpPr>
        <p:spPr>
          <a:xfrm>
            <a:off x="1232493" y="4368709"/>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3" name="Textplatzhalter 16">
            <a:extLst>
              <a:ext uri="{FF2B5EF4-FFF2-40B4-BE49-F238E27FC236}">
                <a16:creationId xmlns:a16="http://schemas.microsoft.com/office/drawing/2014/main" id="{9857C901-7624-E4AA-5BCE-BAC312834243}"/>
              </a:ext>
            </a:extLst>
          </p:cNvPr>
          <p:cNvSpPr>
            <a:spLocks noGrp="1"/>
          </p:cNvSpPr>
          <p:nvPr>
            <p:ph type="body" sz="quarter" idx="18" hasCustomPrompt="1"/>
          </p:nvPr>
        </p:nvSpPr>
        <p:spPr>
          <a:xfrm>
            <a:off x="515938" y="4202932"/>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4" name="Textplatzhalter 16">
            <a:extLst>
              <a:ext uri="{FF2B5EF4-FFF2-40B4-BE49-F238E27FC236}">
                <a16:creationId xmlns:a16="http://schemas.microsoft.com/office/drawing/2014/main" id="{8B84D10C-EAA8-60F6-9419-2F271B051E6B}"/>
              </a:ext>
            </a:extLst>
          </p:cNvPr>
          <p:cNvSpPr>
            <a:spLocks noGrp="1"/>
          </p:cNvSpPr>
          <p:nvPr>
            <p:ph type="body" sz="quarter" idx="19" hasCustomPrompt="1"/>
          </p:nvPr>
        </p:nvSpPr>
        <p:spPr>
          <a:xfrm>
            <a:off x="1232493" y="4933638"/>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5" name="Textplatzhalter 16">
            <a:extLst>
              <a:ext uri="{FF2B5EF4-FFF2-40B4-BE49-F238E27FC236}">
                <a16:creationId xmlns:a16="http://schemas.microsoft.com/office/drawing/2014/main" id="{51FAEA3B-5080-58D4-7AD4-43E55EAAA153}"/>
              </a:ext>
            </a:extLst>
          </p:cNvPr>
          <p:cNvSpPr>
            <a:spLocks noGrp="1"/>
          </p:cNvSpPr>
          <p:nvPr>
            <p:ph type="body" sz="quarter" idx="20" hasCustomPrompt="1"/>
          </p:nvPr>
        </p:nvSpPr>
        <p:spPr>
          <a:xfrm>
            <a:off x="515938" y="4767861"/>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6" name="Textplatzhalter 16">
            <a:extLst>
              <a:ext uri="{FF2B5EF4-FFF2-40B4-BE49-F238E27FC236}">
                <a16:creationId xmlns:a16="http://schemas.microsoft.com/office/drawing/2014/main" id="{CE34C9F1-E1B5-9FE8-22D7-300CBEE0DC72}"/>
              </a:ext>
            </a:extLst>
          </p:cNvPr>
          <p:cNvSpPr>
            <a:spLocks noGrp="1"/>
          </p:cNvSpPr>
          <p:nvPr>
            <p:ph type="body" sz="quarter" idx="21" hasCustomPrompt="1"/>
          </p:nvPr>
        </p:nvSpPr>
        <p:spPr>
          <a:xfrm>
            <a:off x="1232493" y="5498567"/>
            <a:ext cx="4323757"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7" name="Textplatzhalter 16">
            <a:extLst>
              <a:ext uri="{FF2B5EF4-FFF2-40B4-BE49-F238E27FC236}">
                <a16:creationId xmlns:a16="http://schemas.microsoft.com/office/drawing/2014/main" id="{216197CD-3868-8792-CCB5-E018A4217DFA}"/>
              </a:ext>
            </a:extLst>
          </p:cNvPr>
          <p:cNvSpPr>
            <a:spLocks noGrp="1"/>
          </p:cNvSpPr>
          <p:nvPr>
            <p:ph type="body" sz="quarter" idx="22" hasCustomPrompt="1"/>
          </p:nvPr>
        </p:nvSpPr>
        <p:spPr>
          <a:xfrm>
            <a:off x="515938" y="5332790"/>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 name="Textplatzhalter 10">
            <a:extLst>
              <a:ext uri="{FF2B5EF4-FFF2-40B4-BE49-F238E27FC236}">
                <a16:creationId xmlns:a16="http://schemas.microsoft.com/office/drawing/2014/main" id="{B99EBAC9-C274-7B40-B2AE-494E1AFE87D2}"/>
              </a:ext>
            </a:extLst>
          </p:cNvPr>
          <p:cNvSpPr>
            <a:spLocks noGrp="1"/>
          </p:cNvSpPr>
          <p:nvPr>
            <p:ph type="body" sz="quarter" idx="23"/>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
        <p:nvSpPr>
          <p:cNvPr id="7" name="Datumsplatzhalter 8">
            <a:extLst>
              <a:ext uri="{FF2B5EF4-FFF2-40B4-BE49-F238E27FC236}">
                <a16:creationId xmlns:a16="http://schemas.microsoft.com/office/drawing/2014/main" id="{907F1328-1BC3-E903-80DE-DA9453458022}"/>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8" name="Fußzeilenplatzhalter 9">
            <a:extLst>
              <a:ext uri="{FF2B5EF4-FFF2-40B4-BE49-F238E27FC236}">
                <a16:creationId xmlns:a16="http://schemas.microsoft.com/office/drawing/2014/main" id="{D6D2656A-E246-079D-3B13-74A65D0FAEA5}"/>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9" name="Foliennummernplatzhalter 10">
            <a:extLst>
              <a:ext uri="{FF2B5EF4-FFF2-40B4-BE49-F238E27FC236}">
                <a16:creationId xmlns:a16="http://schemas.microsoft.com/office/drawing/2014/main" id="{C9BB2DDA-5C00-37EF-1D6E-51ECA94D749B}"/>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4317648"/>
      </p:ext>
    </p:extLst>
  </p:cSld>
  <p:clrMapOvr>
    <a:masterClrMapping/>
  </p:clrMapOvr>
  <p:extLst>
    <p:ext uri="{DCECCB84-F9BA-43D5-87BE-67443E8EF086}">
      <p15:sldGuideLst xmlns:p15="http://schemas.microsoft.com/office/powerpoint/2012/main">
        <p15:guide id="1" pos="3840" userDrawn="1">
          <p15:clr>
            <a:srgbClr val="F26B43"/>
          </p15:clr>
        </p15:guide>
        <p15:guide id="2" orient="horz" pos="1275" userDrawn="1">
          <p15:clr>
            <a:srgbClr val="F26B43"/>
          </p15:clr>
        </p15:guide>
        <p15:guide id="3" pos="3500"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 dunkel">
    <p:bg>
      <p:bgRef idx="1001">
        <a:schemeClr val="bg1"/>
      </p:bgRef>
    </p:bg>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F8C013E9-14F2-E013-2368-09ED46AA38FC}"/>
              </a:ext>
            </a:extLst>
          </p:cNvPr>
          <p:cNvSpPr>
            <a:spLocks noGrp="1"/>
          </p:cNvSpPr>
          <p:nvPr>
            <p:ph sz="quarter" idx="24"/>
          </p:nvPr>
        </p:nvSpPr>
        <p:spPr>
          <a:xfrm>
            <a:off x="6095999" y="0"/>
            <a:ext cx="6096000" cy="68580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6">
            <a:extLst>
              <a:ext uri="{FF2B5EF4-FFF2-40B4-BE49-F238E27FC236}">
                <a16:creationId xmlns:a16="http://schemas.microsoft.com/office/drawing/2014/main" id="{C8E71270-B45B-BA3D-F83B-DDEB86021E6F}"/>
              </a:ext>
            </a:extLst>
          </p:cNvPr>
          <p:cNvSpPr>
            <a:spLocks noGrp="1"/>
          </p:cNvSpPr>
          <p:nvPr>
            <p:ph type="body" sz="quarter" idx="12" hasCustomPrompt="1"/>
          </p:nvPr>
        </p:nvSpPr>
        <p:spPr>
          <a:xfrm>
            <a:off x="1232494" y="2673922"/>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 name="Titel 1">
            <a:extLst>
              <a:ext uri="{FF2B5EF4-FFF2-40B4-BE49-F238E27FC236}">
                <a16:creationId xmlns:a16="http://schemas.microsoft.com/office/drawing/2014/main" id="{EC34CF67-E5CE-4D9B-9059-D5EEB5FA7B1B}"/>
              </a:ext>
            </a:extLst>
          </p:cNvPr>
          <p:cNvSpPr>
            <a:spLocks noGrp="1"/>
          </p:cNvSpPr>
          <p:nvPr>
            <p:ph type="title"/>
          </p:nvPr>
        </p:nvSpPr>
        <p:spPr>
          <a:xfrm>
            <a:off x="515939" y="1731066"/>
            <a:ext cx="5040312" cy="369332"/>
          </a:xfrm>
        </p:spPr>
        <p:txBody>
          <a:bodyPr anchor="b" anchorCtr="0">
            <a:noAutofit/>
          </a:bodyPr>
          <a:lstStyle>
            <a:lvl1pPr>
              <a:defRPr sz="2400">
                <a:solidFill>
                  <a:schemeClr val="tx1"/>
                </a:solidFill>
              </a:defRPr>
            </a:lvl1pPr>
          </a:lstStyle>
          <a:p>
            <a:endParaRPr lang="de-DE" dirty="0"/>
          </a:p>
        </p:txBody>
      </p:sp>
      <p:pic>
        <p:nvPicPr>
          <p:cNvPr id="8" name="Grafik 7">
            <a:extLst>
              <a:ext uri="{FF2B5EF4-FFF2-40B4-BE49-F238E27FC236}">
                <a16:creationId xmlns:a16="http://schemas.microsoft.com/office/drawing/2014/main" id="{9A195FCB-2D04-DD49-EE46-2FD85C65B0C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876" y="259570"/>
            <a:ext cx="1015670" cy="253918"/>
          </a:xfrm>
          <a:prstGeom prst="rect">
            <a:avLst/>
          </a:prstGeom>
        </p:spPr>
      </p:pic>
      <p:pic>
        <p:nvPicPr>
          <p:cNvPr id="9" name="Grafik 8">
            <a:extLst>
              <a:ext uri="{FF2B5EF4-FFF2-40B4-BE49-F238E27FC236}">
                <a16:creationId xmlns:a16="http://schemas.microsoft.com/office/drawing/2014/main" id="{AD848970-F4CA-E1E0-BB72-8C9173E1FFD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7526" y="6470564"/>
            <a:ext cx="1263592" cy="137847"/>
          </a:xfrm>
          <a:prstGeom prst="rect">
            <a:avLst/>
          </a:prstGeom>
        </p:spPr>
      </p:pic>
      <p:sp>
        <p:nvSpPr>
          <p:cNvPr id="17" name="Textplatzhalter 16">
            <a:extLst>
              <a:ext uri="{FF2B5EF4-FFF2-40B4-BE49-F238E27FC236}">
                <a16:creationId xmlns:a16="http://schemas.microsoft.com/office/drawing/2014/main" id="{042DE79E-DC44-1D12-2357-DA3257B30D7B}"/>
              </a:ext>
            </a:extLst>
          </p:cNvPr>
          <p:cNvSpPr>
            <a:spLocks noGrp="1"/>
          </p:cNvSpPr>
          <p:nvPr>
            <p:ph type="body" sz="quarter" idx="11" hasCustomPrompt="1"/>
          </p:nvPr>
        </p:nvSpPr>
        <p:spPr>
          <a:xfrm>
            <a:off x="515938" y="2508145"/>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28" name="Textplatzhalter 16">
            <a:extLst>
              <a:ext uri="{FF2B5EF4-FFF2-40B4-BE49-F238E27FC236}">
                <a16:creationId xmlns:a16="http://schemas.microsoft.com/office/drawing/2014/main" id="{E33F78A6-5750-E823-3B3A-9A5BC022B4B6}"/>
              </a:ext>
            </a:extLst>
          </p:cNvPr>
          <p:cNvSpPr>
            <a:spLocks noGrp="1"/>
          </p:cNvSpPr>
          <p:nvPr>
            <p:ph type="body" sz="quarter" idx="13" hasCustomPrompt="1"/>
          </p:nvPr>
        </p:nvSpPr>
        <p:spPr>
          <a:xfrm>
            <a:off x="1232494" y="3238851"/>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29" name="Textplatzhalter 16">
            <a:extLst>
              <a:ext uri="{FF2B5EF4-FFF2-40B4-BE49-F238E27FC236}">
                <a16:creationId xmlns:a16="http://schemas.microsoft.com/office/drawing/2014/main" id="{350DF736-7B56-D280-DF90-C20E181007E7}"/>
              </a:ext>
            </a:extLst>
          </p:cNvPr>
          <p:cNvSpPr>
            <a:spLocks noGrp="1"/>
          </p:cNvSpPr>
          <p:nvPr>
            <p:ph type="body" sz="quarter" idx="14" hasCustomPrompt="1"/>
          </p:nvPr>
        </p:nvSpPr>
        <p:spPr>
          <a:xfrm>
            <a:off x="515938" y="3073074"/>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0" name="Textplatzhalter 16">
            <a:extLst>
              <a:ext uri="{FF2B5EF4-FFF2-40B4-BE49-F238E27FC236}">
                <a16:creationId xmlns:a16="http://schemas.microsoft.com/office/drawing/2014/main" id="{C1080836-FB50-291B-BA74-6E60CE36A089}"/>
              </a:ext>
            </a:extLst>
          </p:cNvPr>
          <p:cNvSpPr>
            <a:spLocks noGrp="1"/>
          </p:cNvSpPr>
          <p:nvPr>
            <p:ph type="body" sz="quarter" idx="15" hasCustomPrompt="1"/>
          </p:nvPr>
        </p:nvSpPr>
        <p:spPr>
          <a:xfrm>
            <a:off x="1232494" y="3803780"/>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1" name="Textplatzhalter 16">
            <a:extLst>
              <a:ext uri="{FF2B5EF4-FFF2-40B4-BE49-F238E27FC236}">
                <a16:creationId xmlns:a16="http://schemas.microsoft.com/office/drawing/2014/main" id="{165F8A12-0FC3-29F3-BFE1-84FB7C985E17}"/>
              </a:ext>
            </a:extLst>
          </p:cNvPr>
          <p:cNvSpPr>
            <a:spLocks noGrp="1"/>
          </p:cNvSpPr>
          <p:nvPr>
            <p:ph type="body" sz="quarter" idx="16" hasCustomPrompt="1"/>
          </p:nvPr>
        </p:nvSpPr>
        <p:spPr>
          <a:xfrm>
            <a:off x="515938" y="3638003"/>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2" name="Textplatzhalter 16">
            <a:extLst>
              <a:ext uri="{FF2B5EF4-FFF2-40B4-BE49-F238E27FC236}">
                <a16:creationId xmlns:a16="http://schemas.microsoft.com/office/drawing/2014/main" id="{4AC61DDB-A8AF-0696-A80C-A0D597B9CEA8}"/>
              </a:ext>
            </a:extLst>
          </p:cNvPr>
          <p:cNvSpPr>
            <a:spLocks noGrp="1"/>
          </p:cNvSpPr>
          <p:nvPr>
            <p:ph type="body" sz="quarter" idx="17" hasCustomPrompt="1"/>
          </p:nvPr>
        </p:nvSpPr>
        <p:spPr>
          <a:xfrm>
            <a:off x="1232494" y="4368709"/>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3" name="Textplatzhalter 16">
            <a:extLst>
              <a:ext uri="{FF2B5EF4-FFF2-40B4-BE49-F238E27FC236}">
                <a16:creationId xmlns:a16="http://schemas.microsoft.com/office/drawing/2014/main" id="{9857C901-7624-E4AA-5BCE-BAC312834243}"/>
              </a:ext>
            </a:extLst>
          </p:cNvPr>
          <p:cNvSpPr>
            <a:spLocks noGrp="1"/>
          </p:cNvSpPr>
          <p:nvPr>
            <p:ph type="body" sz="quarter" idx="18" hasCustomPrompt="1"/>
          </p:nvPr>
        </p:nvSpPr>
        <p:spPr>
          <a:xfrm>
            <a:off x="515938" y="4202932"/>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4" name="Textplatzhalter 16">
            <a:extLst>
              <a:ext uri="{FF2B5EF4-FFF2-40B4-BE49-F238E27FC236}">
                <a16:creationId xmlns:a16="http://schemas.microsoft.com/office/drawing/2014/main" id="{8B84D10C-EAA8-60F6-9419-2F271B051E6B}"/>
              </a:ext>
            </a:extLst>
          </p:cNvPr>
          <p:cNvSpPr>
            <a:spLocks noGrp="1"/>
          </p:cNvSpPr>
          <p:nvPr>
            <p:ph type="body" sz="quarter" idx="19" hasCustomPrompt="1"/>
          </p:nvPr>
        </p:nvSpPr>
        <p:spPr>
          <a:xfrm>
            <a:off x="1232494" y="4933638"/>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5" name="Textplatzhalter 16">
            <a:extLst>
              <a:ext uri="{FF2B5EF4-FFF2-40B4-BE49-F238E27FC236}">
                <a16:creationId xmlns:a16="http://schemas.microsoft.com/office/drawing/2014/main" id="{51FAEA3B-5080-58D4-7AD4-43E55EAAA153}"/>
              </a:ext>
            </a:extLst>
          </p:cNvPr>
          <p:cNvSpPr>
            <a:spLocks noGrp="1"/>
          </p:cNvSpPr>
          <p:nvPr>
            <p:ph type="body" sz="quarter" idx="20" hasCustomPrompt="1"/>
          </p:nvPr>
        </p:nvSpPr>
        <p:spPr>
          <a:xfrm>
            <a:off x="515938" y="4767861"/>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6" name="Textplatzhalter 16">
            <a:extLst>
              <a:ext uri="{FF2B5EF4-FFF2-40B4-BE49-F238E27FC236}">
                <a16:creationId xmlns:a16="http://schemas.microsoft.com/office/drawing/2014/main" id="{CE34C9F1-E1B5-9FE8-22D7-300CBEE0DC72}"/>
              </a:ext>
            </a:extLst>
          </p:cNvPr>
          <p:cNvSpPr>
            <a:spLocks noGrp="1"/>
          </p:cNvSpPr>
          <p:nvPr>
            <p:ph type="body" sz="quarter" idx="21" hasCustomPrompt="1"/>
          </p:nvPr>
        </p:nvSpPr>
        <p:spPr>
          <a:xfrm>
            <a:off x="1232494" y="5498567"/>
            <a:ext cx="4323756" cy="246221"/>
          </a:xfrm>
        </p:spPr>
        <p:txBody>
          <a:bodyPr wrap="square" rIns="0" anchor="t" anchorCtr="0">
            <a:noAutofit/>
          </a:bodyPr>
          <a:lstStyle>
            <a:lvl1pPr marL="0" indent="0">
              <a:spcAft>
                <a:spcPts val="0"/>
              </a:spcAft>
              <a:buNone/>
              <a:defRPr sz="1600" b="0">
                <a:solidFill>
                  <a:schemeClr val="tx1"/>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Text hinzufügen</a:t>
            </a:r>
          </a:p>
        </p:txBody>
      </p:sp>
      <p:sp>
        <p:nvSpPr>
          <p:cNvPr id="37" name="Textplatzhalter 16">
            <a:extLst>
              <a:ext uri="{FF2B5EF4-FFF2-40B4-BE49-F238E27FC236}">
                <a16:creationId xmlns:a16="http://schemas.microsoft.com/office/drawing/2014/main" id="{216197CD-3868-8792-CCB5-E018A4217DFA}"/>
              </a:ext>
            </a:extLst>
          </p:cNvPr>
          <p:cNvSpPr>
            <a:spLocks noGrp="1"/>
          </p:cNvSpPr>
          <p:nvPr>
            <p:ph type="body" sz="quarter" idx="22" hasCustomPrompt="1"/>
          </p:nvPr>
        </p:nvSpPr>
        <p:spPr>
          <a:xfrm>
            <a:off x="515938" y="5332790"/>
            <a:ext cx="565376" cy="461665"/>
          </a:xfrm>
        </p:spPr>
        <p:txBody>
          <a:bodyPr wrap="square" rIns="0" anchor="ctr" anchorCtr="0">
            <a:noAutofit/>
          </a:bodyPr>
          <a:lstStyle>
            <a:lvl1pPr marL="0" indent="0">
              <a:spcAft>
                <a:spcPts val="0"/>
              </a:spcAft>
              <a:buNone/>
              <a:defRPr sz="3000" b="1">
                <a:solidFill>
                  <a:schemeClr val="accent3"/>
                </a:solidFill>
              </a:defRPr>
            </a:lvl1pPr>
            <a:lvl2pPr marL="342000" indent="0">
              <a:spcAft>
                <a:spcPts val="0"/>
              </a:spcAft>
              <a:buNone/>
              <a:defRPr b="1">
                <a:solidFill>
                  <a:schemeClr val="accent3"/>
                </a:solidFill>
              </a:defRPr>
            </a:lvl2pPr>
            <a:lvl3pPr marL="702000" indent="0">
              <a:spcAft>
                <a:spcPts val="0"/>
              </a:spcAft>
              <a:buNone/>
              <a:defRPr b="1">
                <a:solidFill>
                  <a:schemeClr val="accent3"/>
                </a:solidFill>
              </a:defRPr>
            </a:lvl3pPr>
            <a:lvl4pPr marL="1062000" indent="0">
              <a:spcAft>
                <a:spcPts val="0"/>
              </a:spcAft>
              <a:buNone/>
              <a:defRPr b="1">
                <a:solidFill>
                  <a:schemeClr val="accent3"/>
                </a:solidFill>
              </a:defRPr>
            </a:lvl4pPr>
            <a:lvl5pPr marL="1422000" indent="0">
              <a:spcAft>
                <a:spcPts val="0"/>
              </a:spcAft>
              <a:buNone/>
              <a:defRPr b="1">
                <a:solidFill>
                  <a:schemeClr val="accent3"/>
                </a:solidFill>
              </a:defRPr>
            </a:lvl5pPr>
          </a:lstStyle>
          <a:p>
            <a:pPr lvl="0"/>
            <a:r>
              <a:rPr lang="de-DE" dirty="0"/>
              <a:t>00</a:t>
            </a:r>
          </a:p>
        </p:txBody>
      </p:sp>
      <p:sp>
        <p:nvSpPr>
          <p:cNvPr id="3" name="Textplatzhalter 10">
            <a:extLst>
              <a:ext uri="{FF2B5EF4-FFF2-40B4-BE49-F238E27FC236}">
                <a16:creationId xmlns:a16="http://schemas.microsoft.com/office/drawing/2014/main" id="{FEB8FC6F-A414-7D9C-E034-89E8A41547B7}"/>
              </a:ext>
            </a:extLst>
          </p:cNvPr>
          <p:cNvSpPr>
            <a:spLocks noGrp="1"/>
          </p:cNvSpPr>
          <p:nvPr>
            <p:ph type="body" sz="quarter" idx="23"/>
          </p:nvPr>
        </p:nvSpPr>
        <p:spPr>
          <a:xfrm>
            <a:off x="515937" y="6337828"/>
            <a:ext cx="11160000" cy="10800"/>
          </a:xfrm>
          <a:solidFill>
            <a:schemeClr val="tx1"/>
          </a:solidFill>
        </p:spPr>
        <p:txBody>
          <a:bodyPr>
            <a:noAutofit/>
          </a:bodyPr>
          <a:lstStyle>
            <a:lvl1pPr marL="0" indent="0">
              <a:buNone/>
              <a:defRPr sz="100">
                <a:solidFill>
                  <a:schemeClr val="tx1">
                    <a:alpha val="0"/>
                  </a:schemeClr>
                </a:solidFill>
              </a:defRPr>
            </a:lvl1pPr>
          </a:lstStyle>
          <a:p>
            <a:pPr lvl="0"/>
            <a:endParaRPr lang="en-US" dirty="0"/>
          </a:p>
        </p:txBody>
      </p:sp>
      <p:sp>
        <p:nvSpPr>
          <p:cNvPr id="7" name="Datumsplatzhalter 8">
            <a:extLst>
              <a:ext uri="{FF2B5EF4-FFF2-40B4-BE49-F238E27FC236}">
                <a16:creationId xmlns:a16="http://schemas.microsoft.com/office/drawing/2014/main" id="{6DC00D25-E1F9-71E7-7345-679B77B43E5D}"/>
              </a:ext>
            </a:extLst>
          </p:cNvPr>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0" name="Fußzeilenplatzhalter 9">
            <a:extLst>
              <a:ext uri="{FF2B5EF4-FFF2-40B4-BE49-F238E27FC236}">
                <a16:creationId xmlns:a16="http://schemas.microsoft.com/office/drawing/2014/main" id="{D5062F93-313B-27BD-5D43-AFBC50C042B4}"/>
              </a:ext>
            </a:extLst>
          </p:cNvPr>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1" name="Foliennummernplatzhalter 10">
            <a:extLst>
              <a:ext uri="{FF2B5EF4-FFF2-40B4-BE49-F238E27FC236}">
                <a16:creationId xmlns:a16="http://schemas.microsoft.com/office/drawing/2014/main" id="{0992EBEB-DB85-DCD1-0FC7-DC5F7863FE49}"/>
              </a:ext>
            </a:extLst>
          </p:cNvPr>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spTree>
    <p:extLst>
      <p:ext uri="{BB962C8B-B14F-4D97-AF65-F5344CB8AC3E}">
        <p14:creationId xmlns:p14="http://schemas.microsoft.com/office/powerpoint/2010/main" val="23663715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26B43"/>
          </p15:clr>
        </p15:guide>
        <p15:guide id="2" orient="horz" pos="1275" userDrawn="1">
          <p15:clr>
            <a:srgbClr val="F26B43"/>
          </p15:clr>
        </p15:guide>
        <p15:guide id="3" pos="3500" userDrawn="1">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3.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4.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15938" y="787432"/>
            <a:ext cx="11166063" cy="738664"/>
          </a:xfrm>
          <a:prstGeom prst="rect">
            <a:avLst/>
          </a:prstGeom>
        </p:spPr>
        <p:txBody>
          <a:bodyPr vert="horz" lIns="0" tIns="0" rIns="0" bIns="0" rtlCol="0" anchor="t" anchorCtr="0">
            <a:noAutofit/>
          </a:bodyPr>
          <a:lstStyle/>
          <a:p>
            <a:endParaRPr lang="en-US" dirty="0"/>
          </a:p>
        </p:txBody>
      </p:sp>
      <p:sp>
        <p:nvSpPr>
          <p:cNvPr id="3" name="Textplatzhalter 2"/>
          <p:cNvSpPr>
            <a:spLocks noGrp="1"/>
          </p:cNvSpPr>
          <p:nvPr>
            <p:ph type="body" idx="1"/>
          </p:nvPr>
        </p:nvSpPr>
        <p:spPr>
          <a:xfrm>
            <a:off x="515938" y="1773238"/>
            <a:ext cx="11160125" cy="4356095"/>
          </a:xfrm>
          <a:prstGeom prst="rect">
            <a:avLst/>
          </a:prstGeom>
        </p:spPr>
        <p:txBody>
          <a:bodyPr vert="horz" lIns="0" tIns="0" rIns="0" bIns="0" rtlCol="0" anchor="t" anchorCtr="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Datumsplatzhalter 8"/>
          <p:cNvSpPr>
            <a:spLocks noGrp="1"/>
          </p:cNvSpPr>
          <p:nvPr>
            <p:ph type="dt" sz="half" idx="2"/>
          </p:nvPr>
        </p:nvSpPr>
        <p:spPr>
          <a:xfrm>
            <a:off x="10103961" y="6461687"/>
            <a:ext cx="1069249" cy="153888"/>
          </a:xfrm>
          <a:prstGeom prst="rect">
            <a:avLst/>
          </a:prstGeom>
          <a:noFill/>
        </p:spPr>
        <p:txBody>
          <a:bodyPr vert="horz" lIns="91440" tIns="0" rIns="91440" bIns="0" rtlCol="0" anchor="ctr">
            <a:noAutofit/>
          </a:bodyPr>
          <a:lstStyle>
            <a:lvl1pPr algn="l">
              <a:defRPr sz="1000">
                <a:solidFill>
                  <a:schemeClr val="tx1"/>
                </a:solidFill>
              </a:defRPr>
            </a:lvl1pPr>
          </a:lstStyle>
          <a:p>
            <a:r>
              <a:rPr lang="de-DE"/>
              <a:t>02.08.2024</a:t>
            </a:r>
            <a:endParaRPr lang="de-DE" dirty="0"/>
          </a:p>
        </p:txBody>
      </p:sp>
      <p:sp>
        <p:nvSpPr>
          <p:cNvPr id="10" name="Fußzeilenplatzhalter 9"/>
          <p:cNvSpPr>
            <a:spLocks noGrp="1"/>
          </p:cNvSpPr>
          <p:nvPr>
            <p:ph type="ftr" sz="quarter" idx="3"/>
          </p:nvPr>
        </p:nvSpPr>
        <p:spPr>
          <a:xfrm>
            <a:off x="6343974" y="6461687"/>
            <a:ext cx="3759988" cy="153888"/>
          </a:xfrm>
          <a:prstGeom prst="rect">
            <a:avLst/>
          </a:prstGeom>
          <a:noFill/>
        </p:spPr>
        <p:txBody>
          <a:bodyPr vert="horz" wrap="square" lIns="91440" tIns="0" rIns="91440" bIns="0" rtlCol="0" anchor="ctr">
            <a:noAutofit/>
          </a:bodyPr>
          <a:lstStyle>
            <a:lvl1pPr algn="r">
              <a:defRPr sz="1000">
                <a:solidFill>
                  <a:schemeClr val="tx1"/>
                </a:solidFill>
              </a:defRPr>
            </a:lvl1pPr>
          </a:lstStyle>
          <a:p>
            <a:r>
              <a:rPr lang="de-DE" dirty="0"/>
              <a:t>PowerPoint Folienmaster</a:t>
            </a:r>
          </a:p>
        </p:txBody>
      </p:sp>
      <p:sp>
        <p:nvSpPr>
          <p:cNvPr id="11" name="Foliennummernplatzhalter 10"/>
          <p:cNvSpPr>
            <a:spLocks noGrp="1"/>
          </p:cNvSpPr>
          <p:nvPr>
            <p:ph type="sldNum" sz="quarter" idx="4"/>
          </p:nvPr>
        </p:nvSpPr>
        <p:spPr>
          <a:xfrm>
            <a:off x="11330367" y="6461687"/>
            <a:ext cx="345607" cy="153888"/>
          </a:xfrm>
          <a:prstGeom prst="rect">
            <a:avLst/>
          </a:prstGeom>
          <a:noFill/>
        </p:spPr>
        <p:txBody>
          <a:bodyPr vert="horz" wrap="none" lIns="91440" tIns="0" rIns="0" bIns="0" rtlCol="0" anchor="ctr">
            <a:noAutofit/>
          </a:bodyPr>
          <a:lstStyle>
            <a:lvl1pPr algn="r">
              <a:defRPr sz="1000">
                <a:solidFill>
                  <a:schemeClr val="tx1"/>
                </a:solidFill>
              </a:defRPr>
            </a:lvl1pPr>
          </a:lstStyle>
          <a:p>
            <a:fld id="{E84006A6-0E15-460A-BCD4-002C20F8AC9F}" type="slidenum">
              <a:rPr lang="de-DE" smtClean="0"/>
              <a:pPr/>
              <a:t>‹Nr.›</a:t>
            </a:fld>
            <a:endParaRPr lang="de-DE"/>
          </a:p>
        </p:txBody>
      </p:sp>
      <p:cxnSp>
        <p:nvCxnSpPr>
          <p:cNvPr id="13" name="Gerade Verbindung 12"/>
          <p:cNvCxnSpPr>
            <a:cxnSpLocks/>
          </p:cNvCxnSpPr>
          <p:nvPr/>
        </p:nvCxnSpPr>
        <p:spPr>
          <a:xfrm>
            <a:off x="515938" y="6343228"/>
            <a:ext cx="11160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C415E567-B66A-0044-9DD0-32A3167C7E0F}"/>
              </a:ext>
            </a:extLst>
          </p:cNvPr>
          <p:cNvPicPr>
            <a:picLocks noChangeAspect="1"/>
          </p:cNvPicPr>
          <p:nvPr userDrawn="1"/>
        </p:nvPicPr>
        <p:blipFill>
          <a:blip r:embed="rId56" cstate="print">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521876" y="259570"/>
            <a:ext cx="1015670" cy="253918"/>
          </a:xfrm>
          <a:prstGeom prst="rect">
            <a:avLst/>
          </a:prstGeom>
        </p:spPr>
      </p:pic>
      <p:pic>
        <p:nvPicPr>
          <p:cNvPr id="6" name="Grafik 5">
            <a:extLst>
              <a:ext uri="{FF2B5EF4-FFF2-40B4-BE49-F238E27FC236}">
                <a16:creationId xmlns:a16="http://schemas.microsoft.com/office/drawing/2014/main" id="{F552C78F-430D-AD50-0E0C-30CF870DE046}"/>
              </a:ext>
            </a:extLst>
          </p:cNvPr>
          <p:cNvPicPr>
            <a:picLocks noChangeAspect="1"/>
          </p:cNvPicPr>
          <p:nvPr userDrawn="1"/>
        </p:nvPicPr>
        <p:blipFill>
          <a:blip r:embed="rId58" cstate="print">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517526" y="6470564"/>
            <a:ext cx="1263592" cy="137847"/>
          </a:xfrm>
          <a:prstGeom prst="rect">
            <a:avLst/>
          </a:prstGeom>
        </p:spPr>
      </p:pic>
    </p:spTree>
    <p:extLst>
      <p:ext uri="{BB962C8B-B14F-4D97-AF65-F5344CB8AC3E}">
        <p14:creationId xmlns:p14="http://schemas.microsoft.com/office/powerpoint/2010/main" val="3492417476"/>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713" r:id="rId3"/>
    <p:sldLayoutId id="2147483711" r:id="rId4"/>
    <p:sldLayoutId id="2147483712" r:id="rId5"/>
    <p:sldLayoutId id="2147483716" r:id="rId6"/>
    <p:sldLayoutId id="2147483717" r:id="rId7"/>
    <p:sldLayoutId id="2147483677" r:id="rId8"/>
    <p:sldLayoutId id="2147483676" r:id="rId9"/>
    <p:sldLayoutId id="2147483678" r:id="rId10"/>
    <p:sldLayoutId id="2147483679" r:id="rId11"/>
    <p:sldLayoutId id="2147483680" r:id="rId12"/>
    <p:sldLayoutId id="2147483681" r:id="rId13"/>
    <p:sldLayoutId id="2147483682" r:id="rId14"/>
    <p:sldLayoutId id="2147483718" r:id="rId15"/>
    <p:sldLayoutId id="2147483683" r:id="rId16"/>
    <p:sldLayoutId id="2147483719" r:id="rId17"/>
    <p:sldLayoutId id="2147483684" r:id="rId18"/>
    <p:sldLayoutId id="2147483720" r:id="rId19"/>
    <p:sldLayoutId id="2147483685" r:id="rId20"/>
    <p:sldLayoutId id="2147483721" r:id="rId21"/>
    <p:sldLayoutId id="2147483686" r:id="rId22"/>
    <p:sldLayoutId id="2147483687" r:id="rId23"/>
    <p:sldLayoutId id="2147483722" r:id="rId24"/>
    <p:sldLayoutId id="2147483688" r:id="rId25"/>
    <p:sldLayoutId id="2147483691" r:id="rId26"/>
    <p:sldLayoutId id="2147483692" r:id="rId27"/>
    <p:sldLayoutId id="2147483695" r:id="rId28"/>
    <p:sldLayoutId id="2147483723" r:id="rId29"/>
    <p:sldLayoutId id="2147483696" r:id="rId30"/>
    <p:sldLayoutId id="2147483724" r:id="rId31"/>
    <p:sldLayoutId id="2147483698" r:id="rId32"/>
    <p:sldLayoutId id="2147483699" r:id="rId33"/>
    <p:sldLayoutId id="2147483725" r:id="rId34"/>
    <p:sldLayoutId id="2147483700" r:id="rId35"/>
    <p:sldLayoutId id="2147483726" r:id="rId36"/>
    <p:sldLayoutId id="2147483701" r:id="rId37"/>
    <p:sldLayoutId id="2147483727" r:id="rId38"/>
    <p:sldLayoutId id="2147483702" r:id="rId39"/>
    <p:sldLayoutId id="2147483728" r:id="rId40"/>
    <p:sldLayoutId id="2147483703" r:id="rId41"/>
    <p:sldLayoutId id="2147483729" r:id="rId42"/>
    <p:sldLayoutId id="2147483704" r:id="rId43"/>
    <p:sldLayoutId id="2147483705" r:id="rId44"/>
    <p:sldLayoutId id="2147483706" r:id="rId45"/>
    <p:sldLayoutId id="2147483730" r:id="rId46"/>
    <p:sldLayoutId id="2147483707" r:id="rId47"/>
    <p:sldLayoutId id="2147483731" r:id="rId48"/>
    <p:sldLayoutId id="2147483708" r:id="rId49"/>
    <p:sldLayoutId id="2147483732" r:id="rId50"/>
    <p:sldLayoutId id="2147483714" r:id="rId51"/>
    <p:sldLayoutId id="2147483709" r:id="rId52"/>
    <p:sldLayoutId id="2147483715" r:id="rId53"/>
    <p:sldLayoutId id="2147483710" r:id="rId54"/>
  </p:sldLayoutIdLst>
  <p:hf hdr="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223838" indent="-223838"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4" orient="horz" pos="318" userDrawn="1">
          <p15:clr>
            <a:srgbClr val="F26B43"/>
          </p15:clr>
        </p15:guide>
        <p15:guide id="5" orient="horz" pos="3861" userDrawn="1">
          <p15:clr>
            <a:srgbClr val="F26B43"/>
          </p15:clr>
        </p15:guide>
        <p15:guide id="6" orient="horz" pos="164" userDrawn="1">
          <p15:clr>
            <a:srgbClr val="F26B43"/>
          </p15:clr>
        </p15:guide>
        <p15:guide id="7" orient="horz" pos="482" userDrawn="1">
          <p15:clr>
            <a:srgbClr val="F26B43"/>
          </p15:clr>
        </p15:guide>
        <p15:guide id="8" orient="horz" pos="4075" userDrawn="1">
          <p15:clr>
            <a:srgbClr val="F26B43"/>
          </p15:clr>
        </p15:guide>
        <p15:guide id="9" orient="horz" pos="4160" userDrawn="1">
          <p15:clr>
            <a:srgbClr val="F26B43"/>
          </p15:clr>
        </p15:guide>
        <p15:guide id="10" pos="3840" userDrawn="1">
          <p15:clr>
            <a:srgbClr val="F26B43"/>
          </p15:clr>
        </p15:guide>
        <p15:guide id="11" orient="horz" pos="216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10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4.xml"/><Relationship Id="rId5" Type="http://schemas.openxmlformats.org/officeDocument/2006/relationships/image" Target="../media/image95.jpeg"/><Relationship Id="rId4" Type="http://schemas.openxmlformats.org/officeDocument/2006/relationships/image" Target="../media/image94.jpeg"/></Relationships>
</file>

<file path=ppt/slides/_rels/slide101.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4.xml"/><Relationship Id="rId5" Type="http://schemas.openxmlformats.org/officeDocument/2006/relationships/image" Target="../media/image95.jpeg"/><Relationship Id="rId4" Type="http://schemas.openxmlformats.org/officeDocument/2006/relationships/image" Target="../media/image94.jpe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slideLayout" Target="../slideLayouts/slideLayout4.xm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 Id="rId9" Type="http://schemas.openxmlformats.org/officeDocument/2006/relationships/image" Target="../media/image83.svg"/></Relationships>
</file>

<file path=ppt/slides/_rels/slide10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Layout" Target="../slideLayouts/slideLayout4.xml"/><Relationship Id="rId4" Type="http://schemas.openxmlformats.org/officeDocument/2006/relationships/image" Target="../media/image99.jpeg"/></Relationships>
</file>

<file path=ppt/slides/_rels/slide10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100.png"/><Relationship Id="rId1" Type="http://schemas.openxmlformats.org/officeDocument/2006/relationships/slideLayout" Target="../slideLayouts/slideLayout4.xml"/><Relationship Id="rId5" Type="http://schemas.openxmlformats.org/officeDocument/2006/relationships/image" Target="../media/image101.png"/><Relationship Id="rId4" Type="http://schemas.openxmlformats.org/officeDocument/2006/relationships/image" Target="../media/image83.svg"/></Relationships>
</file>

<file path=ppt/slides/_rels/slide10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02.jpeg"/><Relationship Id="rId1" Type="http://schemas.openxmlformats.org/officeDocument/2006/relationships/slideLayout" Target="../slideLayouts/slideLayout4.xml"/><Relationship Id="rId4" Type="http://schemas.openxmlformats.org/officeDocument/2006/relationships/image" Target="../media/image79.svg"/></Relationships>
</file>

<file path=ppt/slides/_rels/slide10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4.xml"/><Relationship Id="rId5" Type="http://schemas.openxmlformats.org/officeDocument/2006/relationships/image" Target="../media/image106.jpeg"/><Relationship Id="rId4" Type="http://schemas.openxmlformats.org/officeDocument/2006/relationships/image" Target="../media/image105.jpe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0.xml"/><Relationship Id="rId5" Type="http://schemas.openxmlformats.org/officeDocument/2006/relationships/image" Target="../media/image22.png"/><Relationship Id="rId4" Type="http://schemas.openxmlformats.org/officeDocument/2006/relationships/image" Target="../media/image21.svg"/></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Layout" Target="../slideLayouts/slideLayout21.xml"/><Relationship Id="rId5" Type="http://schemas.openxmlformats.org/officeDocument/2006/relationships/image" Target="../media/image21.sv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2.xml"/><Relationship Id="rId5" Type="http://schemas.openxmlformats.org/officeDocument/2006/relationships/image" Target="../media/image22.png"/><Relationship Id="rId4" Type="http://schemas.openxmlformats.org/officeDocument/2006/relationships/image" Target="../media/image21.svg"/></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23.xml"/><Relationship Id="rId4" Type="http://schemas.openxmlformats.org/officeDocument/2006/relationships/image" Target="../media/image23.jpeg"/></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9.jpeg"/><Relationship Id="rId1" Type="http://schemas.openxmlformats.org/officeDocument/2006/relationships/slideLayout" Target="../slideLayouts/slideLayout24.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25.xml"/><Relationship Id="rId4" Type="http://schemas.openxmlformats.org/officeDocument/2006/relationships/image" Target="../media/image25.jpeg"/></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3.xml"/><Relationship Id="rId4" Type="http://schemas.openxmlformats.org/officeDocument/2006/relationships/image" Target="../media/image33.jpeg"/></Relationships>
</file>

<file path=ppt/slides/_rels/slide3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4.xml"/><Relationship Id="rId4" Type="http://schemas.openxmlformats.org/officeDocument/2006/relationships/image" Target="../media/image33.jpeg"/></Relationships>
</file>

<file path=ppt/slides/_rels/slide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9.jpeg"/><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19.jpeg"/><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3.xml"/></Relationships>
</file>

<file path=ppt/slides/_rels/slide4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5.xml"/></Relationships>
</file>

<file path=ppt/slides/_rels/slide4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6.xml"/></Relationships>
</file>

<file path=ppt/slides/_rels/slide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7.xml"/></Relationships>
</file>

<file path=ppt/slides/_rels/slide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1.xml"/></Relationships>
</file>

<file path=ppt/slides/_rels/slide5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3.xml"/></Relationships>
</file>

<file path=ppt/slides/_rels/slide5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jpg"/><Relationship Id="rId1" Type="http://schemas.openxmlformats.org/officeDocument/2006/relationships/slideLayout" Target="../slideLayouts/slideLayout4.xml"/><Relationship Id="rId6" Type="http://schemas.openxmlformats.org/officeDocument/2006/relationships/image" Target="../media/image12.svg"/><Relationship Id="rId5" Type="http://schemas.openxmlformats.org/officeDocument/2006/relationships/image" Target="../media/image7.png"/><Relationship Id="rId4" Type="http://schemas.openxmlformats.org/officeDocument/2006/relationships/image" Target="../media/image11.svg"/></Relationships>
</file>

<file path=ppt/slides/_rels/slide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0.jpeg"/><Relationship Id="rId1" Type="http://schemas.openxmlformats.org/officeDocument/2006/relationships/slideLayout" Target="../slideLayouts/slideLayout4.xml"/><Relationship Id="rId4" Type="http://schemas.openxmlformats.org/officeDocument/2006/relationships/image" Target="../media/image11.svg"/></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0.jpeg"/><Relationship Id="rId1" Type="http://schemas.openxmlformats.org/officeDocument/2006/relationships/slideLayout" Target="../slideLayouts/slideLayout4.xml"/><Relationship Id="rId4" Type="http://schemas.openxmlformats.org/officeDocument/2006/relationships/image" Target="../media/image11.svg"/></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0.jpeg"/><Relationship Id="rId1" Type="http://schemas.openxmlformats.org/officeDocument/2006/relationships/slideLayout" Target="../slideLayouts/slideLayout4.xml"/><Relationship Id="rId4" Type="http://schemas.openxmlformats.org/officeDocument/2006/relationships/image" Target="../media/image11.sv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 Id="rId9" Type="http://schemas.openxmlformats.org/officeDocument/2006/relationships/image" Target="../media/image4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4.xml"/><Relationship Id="rId5" Type="http://schemas.openxmlformats.org/officeDocument/2006/relationships/image" Target="../media/image53.svg"/><Relationship Id="rId4" Type="http://schemas.openxmlformats.org/officeDocument/2006/relationships/image" Target="../media/image52.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45.svg"/><Relationship Id="rId5" Type="http://schemas.openxmlformats.org/officeDocument/2006/relationships/image" Target="../media/image44.png"/><Relationship Id="rId10" Type="http://schemas.openxmlformats.org/officeDocument/2006/relationships/image" Target="../media/image11.svg"/><Relationship Id="rId4" Type="http://schemas.openxmlformats.org/officeDocument/2006/relationships/image" Target="../media/image43.svg"/><Relationship Id="rId9" Type="http://schemas.openxmlformats.org/officeDocument/2006/relationships/image" Target="../media/image5.png"/></Relationships>
</file>

<file path=ppt/slides/_rels/slide89.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61.jpeg"/><Relationship Id="rId2"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9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1.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svg"/><Relationship Id="rId3" Type="http://schemas.openxmlformats.org/officeDocument/2006/relationships/image" Target="../media/image65.svg"/><Relationship Id="rId7" Type="http://schemas.openxmlformats.org/officeDocument/2006/relationships/image" Target="../media/image69.svg"/><Relationship Id="rId12" Type="http://schemas.openxmlformats.org/officeDocument/2006/relationships/image" Target="../media/image74.png"/><Relationship Id="rId2" Type="http://schemas.openxmlformats.org/officeDocument/2006/relationships/image" Target="../media/image64.png"/><Relationship Id="rId1" Type="http://schemas.openxmlformats.org/officeDocument/2006/relationships/slideLayout" Target="../slideLayouts/slideLayout4.xml"/><Relationship Id="rId6" Type="http://schemas.openxmlformats.org/officeDocument/2006/relationships/image" Target="../media/image68.png"/><Relationship Id="rId11" Type="http://schemas.openxmlformats.org/officeDocument/2006/relationships/image" Target="../media/image73.svg"/><Relationship Id="rId5" Type="http://schemas.openxmlformats.org/officeDocument/2006/relationships/image" Target="../media/image67.sv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svg"/></Relationships>
</file>

<file path=ppt/slides/_rels/slide99.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svg"/><Relationship Id="rId3" Type="http://schemas.openxmlformats.org/officeDocument/2006/relationships/image" Target="../media/image77.svg"/><Relationship Id="rId7" Type="http://schemas.openxmlformats.org/officeDocument/2006/relationships/image" Target="../media/image81.svg"/><Relationship Id="rId12" Type="http://schemas.openxmlformats.org/officeDocument/2006/relationships/image" Target="../media/image86.png"/><Relationship Id="rId17" Type="http://schemas.openxmlformats.org/officeDocument/2006/relationships/image" Target="../media/image91.svg"/><Relationship Id="rId2" Type="http://schemas.openxmlformats.org/officeDocument/2006/relationships/image" Target="../media/image76.png"/><Relationship Id="rId16" Type="http://schemas.openxmlformats.org/officeDocument/2006/relationships/image" Target="../media/image90.png"/><Relationship Id="rId1" Type="http://schemas.openxmlformats.org/officeDocument/2006/relationships/slideLayout" Target="../slideLayouts/slideLayout4.xml"/><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image" Target="../media/image79.svg"/><Relationship Id="rId15" Type="http://schemas.openxmlformats.org/officeDocument/2006/relationships/image" Target="../media/image89.sv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svg"/><Relationship Id="rId14" Type="http://schemas.openxmlformats.org/officeDocument/2006/relationships/image" Target="../media/image8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9F27FE-D9C2-B87B-CA35-4D059E80D432}"/>
              </a:ext>
            </a:extLst>
          </p:cNvPr>
          <p:cNvSpPr>
            <a:spLocks noGrp="1"/>
          </p:cNvSpPr>
          <p:nvPr>
            <p:ph type="title"/>
          </p:nvPr>
        </p:nvSpPr>
        <p:spPr/>
        <p:txBody>
          <a:bodyPr/>
          <a:lstStyle/>
          <a:p>
            <a:r>
              <a:rPr lang="de-DE" dirty="0"/>
              <a:t>Hier steht der Titel der Präsentation.</a:t>
            </a:r>
          </a:p>
        </p:txBody>
      </p:sp>
      <p:sp>
        <p:nvSpPr>
          <p:cNvPr id="3" name="Textplatzhalter 2">
            <a:extLst>
              <a:ext uri="{FF2B5EF4-FFF2-40B4-BE49-F238E27FC236}">
                <a16:creationId xmlns:a16="http://schemas.microsoft.com/office/drawing/2014/main" id="{C3D56D6C-635C-018F-5ED9-108384865E64}"/>
              </a:ext>
            </a:extLst>
          </p:cNvPr>
          <p:cNvSpPr>
            <a:spLocks noGrp="1"/>
          </p:cNvSpPr>
          <p:nvPr>
            <p:ph type="body" sz="quarter" idx="12"/>
          </p:nvPr>
        </p:nvSpPr>
        <p:spPr/>
        <p:txBody>
          <a:bodyPr/>
          <a:lstStyle/>
          <a:p>
            <a:r>
              <a:rPr lang="de-DE" dirty="0"/>
              <a:t>Hier stehen weitere Informationen wie z.B. </a:t>
            </a:r>
            <a:r>
              <a:rPr lang="de-DE" dirty="0" err="1"/>
              <a:t>Subtitel</a:t>
            </a:r>
            <a:r>
              <a:rPr lang="de-DE" dirty="0"/>
              <a:t>, Name, Datum</a:t>
            </a:r>
          </a:p>
        </p:txBody>
      </p:sp>
    </p:spTree>
    <p:extLst>
      <p:ext uri="{BB962C8B-B14F-4D97-AF65-F5344CB8AC3E}">
        <p14:creationId xmlns:p14="http://schemas.microsoft.com/office/powerpoint/2010/main" val="1389012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B071E5A6-90EC-9D1C-94E7-D3BA8727F737}"/>
              </a:ext>
            </a:extLst>
          </p:cNvPr>
          <p:cNvSpPr>
            <a:spLocks noGrp="1"/>
          </p:cNvSpPr>
          <p:nvPr>
            <p:ph type="title"/>
          </p:nvPr>
        </p:nvSpPr>
        <p:spPr/>
        <p:txBody>
          <a:bodyPr/>
          <a:lstStyle/>
          <a:p>
            <a:r>
              <a:rPr lang="de-DE" dirty="0"/>
              <a:t>Hier steht der Kapitelname.</a:t>
            </a:r>
          </a:p>
        </p:txBody>
      </p:sp>
      <p:pic>
        <p:nvPicPr>
          <p:cNvPr id="24" name="Inhaltsplatzhalter 83">
            <a:extLst>
              <a:ext uri="{FF2B5EF4-FFF2-40B4-BE49-F238E27FC236}">
                <a16:creationId xmlns:a16="http://schemas.microsoft.com/office/drawing/2014/main" id="{0415387A-FB79-6977-4FD5-00533490826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a:ext>
            </a:extLst>
          </a:blip>
          <a:srcRect t="12509" b="12509"/>
          <a:stretch/>
        </p:blipFill>
        <p:spPr/>
      </p:pic>
      <p:sp>
        <p:nvSpPr>
          <p:cNvPr id="22" name="Textplatzhalter 21">
            <a:extLst>
              <a:ext uri="{FF2B5EF4-FFF2-40B4-BE49-F238E27FC236}">
                <a16:creationId xmlns:a16="http://schemas.microsoft.com/office/drawing/2014/main" id="{CD8CAAA1-9612-36EB-F13E-B5C33C388B7D}"/>
              </a:ext>
            </a:extLst>
          </p:cNvPr>
          <p:cNvSpPr>
            <a:spLocks noGrp="1"/>
          </p:cNvSpPr>
          <p:nvPr>
            <p:ph type="body" sz="quarter" idx="11"/>
          </p:nvPr>
        </p:nvSpPr>
        <p:spPr/>
        <p:txBody>
          <a:bodyPr/>
          <a:lstStyle/>
          <a:p>
            <a:r>
              <a:rPr lang="de-DE" dirty="0">
                <a:solidFill>
                  <a:schemeClr val="bg1"/>
                </a:solidFill>
              </a:rPr>
              <a:t>1</a:t>
            </a:r>
          </a:p>
        </p:txBody>
      </p:sp>
      <p:sp>
        <p:nvSpPr>
          <p:cNvPr id="31" name="Textplatzhalter 30">
            <a:extLst>
              <a:ext uri="{FF2B5EF4-FFF2-40B4-BE49-F238E27FC236}">
                <a16:creationId xmlns:a16="http://schemas.microsoft.com/office/drawing/2014/main" id="{9E0DBBDD-7394-0FEA-EE2D-71BE40E2DACF}"/>
              </a:ext>
            </a:extLst>
          </p:cNvPr>
          <p:cNvSpPr>
            <a:spLocks noGrp="1"/>
          </p:cNvSpPr>
          <p:nvPr>
            <p:ph type="body" sz="quarter" idx="23"/>
          </p:nvPr>
        </p:nvSpPr>
        <p:spPr/>
        <p:txBody>
          <a:bodyPr/>
          <a:lstStyle/>
          <a:p>
            <a:endParaRPr lang="de-DE"/>
          </a:p>
        </p:txBody>
      </p:sp>
      <p:sp>
        <p:nvSpPr>
          <p:cNvPr id="17" name="Datumsplatzhalter 16">
            <a:extLst>
              <a:ext uri="{FF2B5EF4-FFF2-40B4-BE49-F238E27FC236}">
                <a16:creationId xmlns:a16="http://schemas.microsoft.com/office/drawing/2014/main" id="{5ADB983C-A65B-E96A-212A-2FF0BA826087}"/>
              </a:ext>
            </a:extLst>
          </p:cNvPr>
          <p:cNvSpPr>
            <a:spLocks noGrp="1"/>
          </p:cNvSpPr>
          <p:nvPr>
            <p:ph type="dt" sz="half" idx="2"/>
          </p:nvPr>
        </p:nvSpPr>
        <p:spPr/>
        <p:txBody>
          <a:bodyPr/>
          <a:lstStyle/>
          <a:p>
            <a:r>
              <a:rPr lang="de-DE"/>
              <a:t>02.08.2024</a:t>
            </a:r>
            <a:endParaRPr lang="de-DE" dirty="0"/>
          </a:p>
        </p:txBody>
      </p:sp>
      <p:sp>
        <p:nvSpPr>
          <p:cNvPr id="18" name="Fußzeilenplatzhalter 17">
            <a:extLst>
              <a:ext uri="{FF2B5EF4-FFF2-40B4-BE49-F238E27FC236}">
                <a16:creationId xmlns:a16="http://schemas.microsoft.com/office/drawing/2014/main" id="{84EC6AD6-304F-3E59-1B20-79651653292D}"/>
              </a:ext>
            </a:extLst>
          </p:cNvPr>
          <p:cNvSpPr>
            <a:spLocks noGrp="1"/>
          </p:cNvSpPr>
          <p:nvPr>
            <p:ph type="ftr" sz="quarter" idx="3"/>
          </p:nvPr>
        </p:nvSpPr>
        <p:spPr/>
        <p:txBody>
          <a:bodyPr/>
          <a:lstStyle/>
          <a:p>
            <a:r>
              <a:rPr lang="de-DE"/>
              <a:t>PowerPoint Folienmaster</a:t>
            </a:r>
            <a:endParaRPr lang="de-DE" dirty="0"/>
          </a:p>
        </p:txBody>
      </p:sp>
      <p:sp>
        <p:nvSpPr>
          <p:cNvPr id="19" name="Foliennummernplatzhalter 18">
            <a:extLst>
              <a:ext uri="{FF2B5EF4-FFF2-40B4-BE49-F238E27FC236}">
                <a16:creationId xmlns:a16="http://schemas.microsoft.com/office/drawing/2014/main" id="{9FB7B4FE-A7D5-7C11-5696-E47DA370B15A}"/>
              </a:ext>
            </a:extLst>
          </p:cNvPr>
          <p:cNvSpPr>
            <a:spLocks noGrp="1"/>
          </p:cNvSpPr>
          <p:nvPr>
            <p:ph type="sldNum" sz="quarter" idx="4"/>
          </p:nvPr>
        </p:nvSpPr>
        <p:spPr/>
        <p:txBody>
          <a:bodyPr/>
          <a:lstStyle/>
          <a:p>
            <a:fld id="{E84006A6-0E15-460A-BCD4-002C20F8AC9F}" type="slidenum">
              <a:rPr lang="de-DE" smtClean="0"/>
              <a:pPr/>
              <a:t>10</a:t>
            </a:fld>
            <a:endParaRPr lang="de-DE"/>
          </a:p>
        </p:txBody>
      </p:sp>
    </p:spTree>
    <p:extLst>
      <p:ext uri="{BB962C8B-B14F-4D97-AF65-F5344CB8AC3E}">
        <p14:creationId xmlns:p14="http://schemas.microsoft.com/office/powerpoint/2010/main" val="4194160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585E88C-B950-C645-F870-CC3CFD554108}"/>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08D1F56-83B0-FA65-A42A-2F8FFD71080D}"/>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0083C02-8E1C-AAE8-4236-5E3A39DCEF49}"/>
              </a:ext>
            </a:extLst>
          </p:cNvPr>
          <p:cNvSpPr>
            <a:spLocks noGrp="1"/>
          </p:cNvSpPr>
          <p:nvPr>
            <p:ph type="sldNum" sz="quarter" idx="12"/>
          </p:nvPr>
        </p:nvSpPr>
        <p:spPr/>
        <p:txBody>
          <a:bodyPr/>
          <a:lstStyle/>
          <a:p>
            <a:fld id="{E84006A6-0E15-460A-BCD4-002C20F8AC9F}" type="slidenum">
              <a:rPr lang="de-DE" smtClean="0"/>
              <a:pPr/>
              <a:t>100</a:t>
            </a:fld>
            <a:endParaRPr lang="de-DE"/>
          </a:p>
        </p:txBody>
      </p:sp>
      <p:sp>
        <p:nvSpPr>
          <p:cNvPr id="5" name="Titel 4">
            <a:extLst>
              <a:ext uri="{FF2B5EF4-FFF2-40B4-BE49-F238E27FC236}">
                <a16:creationId xmlns:a16="http://schemas.microsoft.com/office/drawing/2014/main" id="{893FB59D-5611-71BC-5BF3-85980CEAD51D}"/>
              </a:ext>
            </a:extLst>
          </p:cNvPr>
          <p:cNvSpPr>
            <a:spLocks noGrp="1"/>
          </p:cNvSpPr>
          <p:nvPr>
            <p:ph type="title"/>
          </p:nvPr>
        </p:nvSpPr>
        <p:spPr/>
        <p:txBody>
          <a:bodyPr/>
          <a:lstStyle/>
          <a:p>
            <a:r>
              <a:rPr lang="de-DE" dirty="0"/>
              <a:t>4 Fokusbereiche Bilder und Icons</a:t>
            </a:r>
          </a:p>
        </p:txBody>
      </p:sp>
      <p:sp>
        <p:nvSpPr>
          <p:cNvPr id="27" name="Freihandform 26">
            <a:extLst>
              <a:ext uri="{FF2B5EF4-FFF2-40B4-BE49-F238E27FC236}">
                <a16:creationId xmlns:a16="http://schemas.microsoft.com/office/drawing/2014/main" id="{7AB3D00D-39C6-6ECB-A6FE-C830F58E551F}"/>
              </a:ext>
            </a:extLst>
          </p:cNvPr>
          <p:cNvSpPr/>
          <p:nvPr/>
        </p:nvSpPr>
        <p:spPr>
          <a:xfrm>
            <a:off x="9341420" y="2104602"/>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5"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5"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32" name="Freihandform 31">
            <a:extLst>
              <a:ext uri="{FF2B5EF4-FFF2-40B4-BE49-F238E27FC236}">
                <a16:creationId xmlns:a16="http://schemas.microsoft.com/office/drawing/2014/main" id="{A15E8AAE-90AC-B91E-B628-E0C0A729A4D9}"/>
              </a:ext>
            </a:extLst>
          </p:cNvPr>
          <p:cNvSpPr/>
          <p:nvPr/>
        </p:nvSpPr>
        <p:spPr>
          <a:xfrm>
            <a:off x="7177806" y="2104567"/>
            <a:ext cx="1998233" cy="1891844"/>
          </a:xfrm>
          <a:custGeom>
            <a:avLst/>
            <a:gdLst>
              <a:gd name="connsiteX0" fmla="*/ 159670 w 1998233"/>
              <a:gd name="connsiteY0" fmla="*/ 370456 h 1891844"/>
              <a:gd name="connsiteX1" fmla="*/ 0 w 1998233"/>
              <a:gd name="connsiteY1" fmla="*/ 627941 h 1891844"/>
              <a:gd name="connsiteX2" fmla="*/ 0 w 1998233"/>
              <a:gd name="connsiteY2" fmla="*/ 1263939 h 1891844"/>
              <a:gd name="connsiteX3" fmla="*/ 159670 w 1998233"/>
              <a:gd name="connsiteY3" fmla="*/ 1521424 h 1891844"/>
              <a:gd name="connsiteX4" fmla="*/ 839447 w 1998233"/>
              <a:gd name="connsiteY4" fmla="*/ 1859007 h 1891844"/>
              <a:gd name="connsiteX5" fmla="*/ 1158787 w 1998233"/>
              <a:gd name="connsiteY5" fmla="*/ 1859007 h 1891844"/>
              <a:gd name="connsiteX6" fmla="*/ 1838564 w 1998233"/>
              <a:gd name="connsiteY6" fmla="*/ 1521424 h 1891844"/>
              <a:gd name="connsiteX7" fmla="*/ 1998234 w 1998233"/>
              <a:gd name="connsiteY7" fmla="*/ 1263939 h 1891844"/>
              <a:gd name="connsiteX8" fmla="*/ 1998234 w 1998233"/>
              <a:gd name="connsiteY8" fmla="*/ 627941 h 1891844"/>
              <a:gd name="connsiteX9" fmla="*/ 1838564 w 1998233"/>
              <a:gd name="connsiteY9" fmla="*/ 370456 h 1891844"/>
              <a:gd name="connsiteX10" fmla="*/ 1158822 w 1998233"/>
              <a:gd name="connsiteY10" fmla="*/ 32837 h 1891844"/>
              <a:gd name="connsiteX11" fmla="*/ 839482 w 1998233"/>
              <a:gd name="connsiteY11" fmla="*/ 32837 h 1891844"/>
              <a:gd name="connsiteX12" fmla="*/ 159705 w 1998233"/>
              <a:gd name="connsiteY12" fmla="*/ 370421 h 1891844"/>
              <a:gd name="connsiteX13" fmla="*/ 159670 w 1998233"/>
              <a:gd name="connsiteY13" fmla="*/ 370456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44">
                <a:moveTo>
                  <a:pt x="159670" y="370456"/>
                </a:moveTo>
                <a:cubicBezTo>
                  <a:pt x="71481" y="414239"/>
                  <a:pt x="0" y="529526"/>
                  <a:pt x="0" y="627941"/>
                </a:cubicBezTo>
                <a:lnTo>
                  <a:pt x="0" y="1263939"/>
                </a:lnTo>
                <a:cubicBezTo>
                  <a:pt x="0" y="1362354"/>
                  <a:pt x="71481" y="1477641"/>
                  <a:pt x="159670" y="1521424"/>
                </a:cubicBezTo>
                <a:lnTo>
                  <a:pt x="839447" y="1859007"/>
                </a:lnTo>
                <a:cubicBezTo>
                  <a:pt x="927635" y="1902790"/>
                  <a:pt x="1070598" y="1902790"/>
                  <a:pt x="1158787" y="1859007"/>
                </a:cubicBezTo>
                <a:lnTo>
                  <a:pt x="1838564" y="1521424"/>
                </a:lnTo>
                <a:cubicBezTo>
                  <a:pt x="1926752" y="1477641"/>
                  <a:pt x="1998234" y="1362354"/>
                  <a:pt x="1998234" y="1263939"/>
                </a:cubicBezTo>
                <a:lnTo>
                  <a:pt x="1998234" y="627941"/>
                </a:lnTo>
                <a:cubicBezTo>
                  <a:pt x="1998234" y="529526"/>
                  <a:pt x="1926752" y="414239"/>
                  <a:pt x="1838564" y="370456"/>
                </a:cubicBezTo>
                <a:lnTo>
                  <a:pt x="1158822" y="32837"/>
                </a:lnTo>
                <a:cubicBezTo>
                  <a:pt x="1070633" y="-10946"/>
                  <a:pt x="927671" y="-10946"/>
                  <a:pt x="839482" y="32837"/>
                </a:cubicBezTo>
                <a:lnTo>
                  <a:pt x="159705" y="370421"/>
                </a:lnTo>
                <a:lnTo>
                  <a:pt x="159670" y="370456"/>
                </a:lnTo>
                <a:close/>
              </a:path>
            </a:pathLst>
          </a:custGeom>
          <a:solidFill>
            <a:srgbClr val="50936E"/>
          </a:solidFill>
          <a:ln w="3521" cap="flat">
            <a:noFill/>
            <a:prstDash val="solid"/>
            <a:miter/>
          </a:ln>
        </p:spPr>
        <p:txBody>
          <a:bodyPr rtlCol="0" anchor="ctr"/>
          <a:lstStyle/>
          <a:p>
            <a:endParaRPr lang="de-DE"/>
          </a:p>
        </p:txBody>
      </p:sp>
      <p:sp>
        <p:nvSpPr>
          <p:cNvPr id="33" name="Freihandform 32">
            <a:extLst>
              <a:ext uri="{FF2B5EF4-FFF2-40B4-BE49-F238E27FC236}">
                <a16:creationId xmlns:a16="http://schemas.microsoft.com/office/drawing/2014/main" id="{38EEF33C-1EC8-D4B2-E3B9-9FD32D50534F}"/>
              </a:ext>
            </a:extLst>
          </p:cNvPr>
          <p:cNvSpPr/>
          <p:nvPr/>
        </p:nvSpPr>
        <p:spPr>
          <a:xfrm>
            <a:off x="8259613" y="3729645"/>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2"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34" name="Freihandform 33">
            <a:extLst>
              <a:ext uri="{FF2B5EF4-FFF2-40B4-BE49-F238E27FC236}">
                <a16:creationId xmlns:a16="http://schemas.microsoft.com/office/drawing/2014/main" id="{492627DC-BF5F-BEE4-10E7-9350A172FD96}"/>
              </a:ext>
            </a:extLst>
          </p:cNvPr>
          <p:cNvSpPr/>
          <p:nvPr/>
        </p:nvSpPr>
        <p:spPr>
          <a:xfrm>
            <a:off x="6096000" y="3729680"/>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68" name="Gruppieren 67">
            <a:extLst>
              <a:ext uri="{FF2B5EF4-FFF2-40B4-BE49-F238E27FC236}">
                <a16:creationId xmlns:a16="http://schemas.microsoft.com/office/drawing/2014/main" id="{1733B568-B26A-CF59-87C5-1A8CC8C90524}"/>
              </a:ext>
            </a:extLst>
          </p:cNvPr>
          <p:cNvGrpSpPr/>
          <p:nvPr/>
        </p:nvGrpSpPr>
        <p:grpSpPr>
          <a:xfrm>
            <a:off x="9680110" y="2394677"/>
            <a:ext cx="1210954" cy="1210144"/>
            <a:chOff x="9680110" y="2394677"/>
            <a:chExt cx="1210954" cy="1210144"/>
          </a:xfrm>
        </p:grpSpPr>
        <p:sp>
          <p:nvSpPr>
            <p:cNvPr id="36" name="Freihandform 35">
              <a:extLst>
                <a:ext uri="{FF2B5EF4-FFF2-40B4-BE49-F238E27FC236}">
                  <a16:creationId xmlns:a16="http://schemas.microsoft.com/office/drawing/2014/main" id="{37E8E11D-B746-941C-F6C6-2601452ECB53}"/>
                </a:ext>
              </a:extLst>
            </p:cNvPr>
            <p:cNvSpPr/>
            <p:nvPr/>
          </p:nvSpPr>
          <p:spPr>
            <a:xfrm>
              <a:off x="9680110" y="2961604"/>
              <a:ext cx="1210954" cy="643217"/>
            </a:xfrm>
            <a:custGeom>
              <a:avLst/>
              <a:gdLst>
                <a:gd name="connsiteX0" fmla="*/ 180431 w 1210954"/>
                <a:gd name="connsiteY0" fmla="*/ 150791 h 643217"/>
                <a:gd name="connsiteX1" fmla="*/ 438652 w 1210954"/>
                <a:gd name="connsiteY1" fmla="*/ 525289 h 643217"/>
                <a:gd name="connsiteX2" fmla="*/ 291353 w 1210954"/>
                <a:gd name="connsiteY2" fmla="*/ 643217 h 643217"/>
                <a:gd name="connsiteX3" fmla="*/ 251277 w 1210954"/>
                <a:gd name="connsiteY3" fmla="*/ 593235 h 643217"/>
                <a:gd name="connsiteX4" fmla="*/ 352049 w 1210954"/>
                <a:gd name="connsiteY4" fmla="*/ 512538 h 643217"/>
                <a:gd name="connsiteX5" fmla="*/ 162912 w 1210954"/>
                <a:gd name="connsiteY5" fmla="*/ 238251 h 643217"/>
                <a:gd name="connsiteX6" fmla="*/ 34754 w 1210954"/>
                <a:gd name="connsiteY6" fmla="*/ 320921 h 643217"/>
                <a:gd name="connsiteX7" fmla="*/ 0 w 1210954"/>
                <a:gd name="connsiteY7" fmla="*/ 267099 h 643217"/>
                <a:gd name="connsiteX8" fmla="*/ 180430 w 1210954"/>
                <a:gd name="connsiteY8" fmla="*/ 150755 h 643217"/>
                <a:gd name="connsiteX9" fmla="*/ 180430 w 1210954"/>
                <a:gd name="connsiteY9" fmla="*/ 150791 h 643217"/>
                <a:gd name="connsiteX10" fmla="*/ 672340 w 1210954"/>
                <a:gd name="connsiteY10" fmla="*/ 90593 h 643217"/>
                <a:gd name="connsiteX11" fmla="*/ 593069 w 1210954"/>
                <a:gd name="connsiteY11" fmla="*/ 65902 h 643217"/>
                <a:gd name="connsiteX12" fmla="*/ 388671 w 1210954"/>
                <a:gd name="connsiteY12" fmla="*/ 71643 h 643217"/>
                <a:gd name="connsiteX13" fmla="*/ 268196 w 1210954"/>
                <a:gd name="connsiteY13" fmla="*/ 162344 h 643217"/>
                <a:gd name="connsiteX14" fmla="*/ 247329 w 1210954"/>
                <a:gd name="connsiteY14" fmla="*/ 179216 h 643217"/>
                <a:gd name="connsiteX15" fmla="*/ 283634 w 1210954"/>
                <a:gd name="connsiteY15" fmla="*/ 232263 h 643217"/>
                <a:gd name="connsiteX16" fmla="*/ 308519 w 1210954"/>
                <a:gd name="connsiteY16" fmla="*/ 212115 h 643217"/>
                <a:gd name="connsiteX17" fmla="*/ 423883 w 1210954"/>
                <a:gd name="connsiteY17" fmla="*/ 125113 h 643217"/>
                <a:gd name="connsiteX18" fmla="*/ 571110 w 1210954"/>
                <a:gd name="connsiteY18" fmla="*/ 126064 h 643217"/>
                <a:gd name="connsiteX19" fmla="*/ 654893 w 1210954"/>
                <a:gd name="connsiteY19" fmla="*/ 152200 h 643217"/>
                <a:gd name="connsiteX20" fmla="*/ 745619 w 1210954"/>
                <a:gd name="connsiteY20" fmla="*/ 197814 h 643217"/>
                <a:gd name="connsiteX21" fmla="*/ 740262 w 1210954"/>
                <a:gd name="connsiteY21" fmla="*/ 228036 h 643217"/>
                <a:gd name="connsiteX22" fmla="*/ 676711 w 1210954"/>
                <a:gd name="connsiteY22" fmla="*/ 244133 h 643217"/>
                <a:gd name="connsiteX23" fmla="*/ 517041 w 1210954"/>
                <a:gd name="connsiteY23" fmla="*/ 209051 h 643217"/>
                <a:gd name="connsiteX24" fmla="*/ 485988 w 1210954"/>
                <a:gd name="connsiteY24" fmla="*/ 201125 h 643217"/>
                <a:gd name="connsiteX25" fmla="*/ 470091 w 1210954"/>
                <a:gd name="connsiteY25" fmla="*/ 263154 h 643217"/>
                <a:gd name="connsiteX26" fmla="*/ 501145 w 1210954"/>
                <a:gd name="connsiteY26" fmla="*/ 271079 h 643217"/>
                <a:gd name="connsiteX27" fmla="*/ 672200 w 1210954"/>
                <a:gd name="connsiteY27" fmla="*/ 307994 h 643217"/>
                <a:gd name="connsiteX28" fmla="*/ 688942 w 1210954"/>
                <a:gd name="connsiteY28" fmla="*/ 308593 h 643217"/>
                <a:gd name="connsiteX29" fmla="*/ 789608 w 1210954"/>
                <a:gd name="connsiteY29" fmla="*/ 268860 h 643217"/>
                <a:gd name="connsiteX30" fmla="*/ 807584 w 1210954"/>
                <a:gd name="connsiteY30" fmla="*/ 181470 h 643217"/>
                <a:gd name="connsiteX31" fmla="*/ 672270 w 1210954"/>
                <a:gd name="connsiteY31" fmla="*/ 90593 h 643217"/>
                <a:gd name="connsiteX32" fmla="*/ 1197946 w 1210954"/>
                <a:gd name="connsiteY32" fmla="*/ 43323 h 643217"/>
                <a:gd name="connsiteX33" fmla="*/ 993160 w 1210954"/>
                <a:gd name="connsiteY33" fmla="*/ 51002 h 643217"/>
                <a:gd name="connsiteX34" fmla="*/ 961720 w 1210954"/>
                <a:gd name="connsiteY34" fmla="*/ 67557 h 643217"/>
                <a:gd name="connsiteX35" fmla="*/ 962002 w 1210954"/>
                <a:gd name="connsiteY35" fmla="*/ 68121 h 643217"/>
                <a:gd name="connsiteX36" fmla="*/ 855485 w 1210954"/>
                <a:gd name="connsiteY36" fmla="*/ 126662 h 643217"/>
                <a:gd name="connsiteX37" fmla="*/ 834054 w 1210954"/>
                <a:gd name="connsiteY37" fmla="*/ 138674 h 643217"/>
                <a:gd name="connsiteX38" fmla="*/ 857600 w 1210954"/>
                <a:gd name="connsiteY38" fmla="*/ 199012 h 643217"/>
                <a:gd name="connsiteX39" fmla="*/ 886820 w 1210954"/>
                <a:gd name="connsiteY39" fmla="*/ 182527 h 643217"/>
                <a:gd name="connsiteX40" fmla="*/ 989918 w 1210954"/>
                <a:gd name="connsiteY40" fmla="*/ 125077 h 643217"/>
                <a:gd name="connsiteX41" fmla="*/ 991363 w 1210954"/>
                <a:gd name="connsiteY41" fmla="*/ 124338 h 643217"/>
                <a:gd name="connsiteX42" fmla="*/ 1023227 w 1210954"/>
                <a:gd name="connsiteY42" fmla="*/ 107536 h 643217"/>
                <a:gd name="connsiteX43" fmla="*/ 1143172 w 1210954"/>
                <a:gd name="connsiteY43" fmla="*/ 76539 h 643217"/>
                <a:gd name="connsiteX44" fmla="*/ 1114622 w 1210954"/>
                <a:gd name="connsiteY44" fmla="*/ 148043 h 643217"/>
                <a:gd name="connsiteX45" fmla="*/ 808677 w 1210954"/>
                <a:gd name="connsiteY45" fmla="*/ 359773 h 643217"/>
                <a:gd name="connsiteX46" fmla="*/ 690035 w 1210954"/>
                <a:gd name="connsiteY46" fmla="*/ 412643 h 643217"/>
                <a:gd name="connsiteX47" fmla="*/ 521976 w 1210954"/>
                <a:gd name="connsiteY47" fmla="*/ 375024 h 643217"/>
                <a:gd name="connsiteX48" fmla="*/ 511014 w 1210954"/>
                <a:gd name="connsiteY48" fmla="*/ 372171 h 643217"/>
                <a:gd name="connsiteX49" fmla="*/ 411264 w 1210954"/>
                <a:gd name="connsiteY49" fmla="*/ 416518 h 643217"/>
                <a:gd name="connsiteX50" fmla="*/ 448133 w 1210954"/>
                <a:gd name="connsiteY50" fmla="*/ 470692 h 643217"/>
                <a:gd name="connsiteX51" fmla="*/ 516759 w 1210954"/>
                <a:gd name="connsiteY51" fmla="*/ 439836 h 643217"/>
                <a:gd name="connsiteX52" fmla="*/ 683020 w 1210954"/>
                <a:gd name="connsiteY52" fmla="*/ 476328 h 643217"/>
                <a:gd name="connsiteX53" fmla="*/ 699375 w 1210954"/>
                <a:gd name="connsiteY53" fmla="*/ 477243 h 643217"/>
                <a:gd name="connsiteX54" fmla="*/ 846532 w 1210954"/>
                <a:gd name="connsiteY54" fmla="*/ 411446 h 643217"/>
                <a:gd name="connsiteX55" fmla="*/ 1148600 w 1210954"/>
                <a:gd name="connsiteY55" fmla="*/ 202323 h 643217"/>
                <a:gd name="connsiteX56" fmla="*/ 1197876 w 1210954"/>
                <a:gd name="connsiteY56" fmla="*/ 43323 h 64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10954" h="643217">
                  <a:moveTo>
                    <a:pt x="180431" y="150791"/>
                  </a:moveTo>
                  <a:lnTo>
                    <a:pt x="438652" y="525289"/>
                  </a:lnTo>
                  <a:lnTo>
                    <a:pt x="291353" y="643217"/>
                  </a:lnTo>
                  <a:lnTo>
                    <a:pt x="251277" y="593235"/>
                  </a:lnTo>
                  <a:lnTo>
                    <a:pt x="352049" y="512538"/>
                  </a:lnTo>
                  <a:lnTo>
                    <a:pt x="162912" y="238251"/>
                  </a:lnTo>
                  <a:lnTo>
                    <a:pt x="34754" y="320921"/>
                  </a:lnTo>
                  <a:lnTo>
                    <a:pt x="0" y="267099"/>
                  </a:lnTo>
                  <a:lnTo>
                    <a:pt x="180430" y="150755"/>
                  </a:lnTo>
                  <a:lnTo>
                    <a:pt x="180430" y="150791"/>
                  </a:lnTo>
                  <a:close/>
                  <a:moveTo>
                    <a:pt x="672340" y="90593"/>
                  </a:moveTo>
                  <a:cubicBezTo>
                    <a:pt x="648513" y="83866"/>
                    <a:pt x="621514" y="76257"/>
                    <a:pt x="593069" y="65902"/>
                  </a:cubicBezTo>
                  <a:cubicBezTo>
                    <a:pt x="500017" y="32052"/>
                    <a:pt x="446512" y="33566"/>
                    <a:pt x="388671" y="71643"/>
                  </a:cubicBezTo>
                  <a:cubicBezTo>
                    <a:pt x="344083" y="100985"/>
                    <a:pt x="271298" y="159878"/>
                    <a:pt x="268196" y="162344"/>
                  </a:cubicBezTo>
                  <a:lnTo>
                    <a:pt x="247329" y="179216"/>
                  </a:lnTo>
                  <a:lnTo>
                    <a:pt x="283634" y="232263"/>
                  </a:lnTo>
                  <a:lnTo>
                    <a:pt x="308519" y="212115"/>
                  </a:lnTo>
                  <a:cubicBezTo>
                    <a:pt x="309259" y="211516"/>
                    <a:pt x="381903" y="152728"/>
                    <a:pt x="423883" y="125113"/>
                  </a:cubicBezTo>
                  <a:cubicBezTo>
                    <a:pt x="454971" y="104648"/>
                    <a:pt x="482005" y="93693"/>
                    <a:pt x="571110" y="126064"/>
                  </a:cubicBezTo>
                  <a:cubicBezTo>
                    <a:pt x="601775" y="137230"/>
                    <a:pt x="630008" y="145190"/>
                    <a:pt x="654893" y="152200"/>
                  </a:cubicBezTo>
                  <a:cubicBezTo>
                    <a:pt x="710760" y="167945"/>
                    <a:pt x="740191" y="177138"/>
                    <a:pt x="745619" y="197814"/>
                  </a:cubicBezTo>
                  <a:cubicBezTo>
                    <a:pt x="747064" y="203239"/>
                    <a:pt x="749391" y="217011"/>
                    <a:pt x="740262" y="228036"/>
                  </a:cubicBezTo>
                  <a:cubicBezTo>
                    <a:pt x="729864" y="240576"/>
                    <a:pt x="707341" y="246247"/>
                    <a:pt x="676711" y="244133"/>
                  </a:cubicBezTo>
                  <a:cubicBezTo>
                    <a:pt x="654012" y="242548"/>
                    <a:pt x="566740" y="221766"/>
                    <a:pt x="517041" y="209051"/>
                  </a:cubicBezTo>
                  <a:lnTo>
                    <a:pt x="485988" y="201125"/>
                  </a:lnTo>
                  <a:lnTo>
                    <a:pt x="470091" y="263154"/>
                  </a:lnTo>
                  <a:lnTo>
                    <a:pt x="501145" y="271079"/>
                  </a:lnTo>
                  <a:cubicBezTo>
                    <a:pt x="514891" y="274602"/>
                    <a:pt x="636318" y="305493"/>
                    <a:pt x="672200" y="307994"/>
                  </a:cubicBezTo>
                  <a:cubicBezTo>
                    <a:pt x="678015" y="308417"/>
                    <a:pt x="683584" y="308593"/>
                    <a:pt x="688942" y="308593"/>
                  </a:cubicBezTo>
                  <a:cubicBezTo>
                    <a:pt x="744421" y="308593"/>
                    <a:pt x="774170" y="287494"/>
                    <a:pt x="789608" y="268860"/>
                  </a:cubicBezTo>
                  <a:cubicBezTo>
                    <a:pt x="809417" y="244979"/>
                    <a:pt x="815938" y="213101"/>
                    <a:pt x="807584" y="181470"/>
                  </a:cubicBezTo>
                  <a:cubicBezTo>
                    <a:pt x="792533" y="124479"/>
                    <a:pt x="736808" y="108769"/>
                    <a:pt x="672270" y="90593"/>
                  </a:cubicBezTo>
                  <a:moveTo>
                    <a:pt x="1197946" y="43323"/>
                  </a:moveTo>
                  <a:cubicBezTo>
                    <a:pt x="1151526" y="-33077"/>
                    <a:pt x="1078141" y="5881"/>
                    <a:pt x="993160" y="51002"/>
                  </a:cubicBezTo>
                  <a:cubicBezTo>
                    <a:pt x="983221" y="56286"/>
                    <a:pt x="972752" y="61851"/>
                    <a:pt x="961720" y="67557"/>
                  </a:cubicBezTo>
                  <a:lnTo>
                    <a:pt x="962002" y="68121"/>
                  </a:lnTo>
                  <a:cubicBezTo>
                    <a:pt x="949172" y="74250"/>
                    <a:pt x="922137" y="89361"/>
                    <a:pt x="855485" y="126662"/>
                  </a:cubicBezTo>
                  <a:lnTo>
                    <a:pt x="834054" y="138674"/>
                  </a:lnTo>
                  <a:lnTo>
                    <a:pt x="857600" y="199012"/>
                  </a:lnTo>
                  <a:lnTo>
                    <a:pt x="886820" y="182527"/>
                  </a:lnTo>
                  <a:cubicBezTo>
                    <a:pt x="922702" y="162450"/>
                    <a:pt x="980401" y="130220"/>
                    <a:pt x="989918" y="125077"/>
                  </a:cubicBezTo>
                  <a:lnTo>
                    <a:pt x="991363" y="124338"/>
                  </a:lnTo>
                  <a:cubicBezTo>
                    <a:pt x="1002537" y="118526"/>
                    <a:pt x="1013146" y="112890"/>
                    <a:pt x="1023227" y="107536"/>
                  </a:cubicBezTo>
                  <a:cubicBezTo>
                    <a:pt x="1118464" y="56955"/>
                    <a:pt x="1131012" y="56497"/>
                    <a:pt x="1143172" y="76539"/>
                  </a:cubicBezTo>
                  <a:cubicBezTo>
                    <a:pt x="1148142" y="84746"/>
                    <a:pt x="1153711" y="123528"/>
                    <a:pt x="1114622" y="148043"/>
                  </a:cubicBezTo>
                  <a:cubicBezTo>
                    <a:pt x="1091606" y="162450"/>
                    <a:pt x="845721" y="332650"/>
                    <a:pt x="808677" y="359773"/>
                  </a:cubicBezTo>
                  <a:cubicBezTo>
                    <a:pt x="749461" y="403168"/>
                    <a:pt x="720629" y="415990"/>
                    <a:pt x="690035" y="412643"/>
                  </a:cubicBezTo>
                  <a:cubicBezTo>
                    <a:pt x="656092" y="408910"/>
                    <a:pt x="557188" y="384218"/>
                    <a:pt x="521976" y="375024"/>
                  </a:cubicBezTo>
                  <a:lnTo>
                    <a:pt x="511014" y="372171"/>
                  </a:lnTo>
                  <a:lnTo>
                    <a:pt x="411264" y="416518"/>
                  </a:lnTo>
                  <a:lnTo>
                    <a:pt x="448133" y="470692"/>
                  </a:lnTo>
                  <a:lnTo>
                    <a:pt x="516759" y="439836"/>
                  </a:lnTo>
                  <a:cubicBezTo>
                    <a:pt x="549398" y="448184"/>
                    <a:pt x="644742" y="472101"/>
                    <a:pt x="683020" y="476328"/>
                  </a:cubicBezTo>
                  <a:cubicBezTo>
                    <a:pt x="688554" y="476926"/>
                    <a:pt x="693982" y="477243"/>
                    <a:pt x="699375" y="477243"/>
                  </a:cubicBezTo>
                  <a:cubicBezTo>
                    <a:pt x="747100" y="477243"/>
                    <a:pt x="789220" y="453467"/>
                    <a:pt x="846532" y="411446"/>
                  </a:cubicBezTo>
                  <a:cubicBezTo>
                    <a:pt x="886009" y="382492"/>
                    <a:pt x="1130060" y="213947"/>
                    <a:pt x="1148600" y="202323"/>
                  </a:cubicBezTo>
                  <a:cubicBezTo>
                    <a:pt x="1217544" y="159104"/>
                    <a:pt x="1221526" y="82210"/>
                    <a:pt x="1197876" y="43323"/>
                  </a:cubicBezTo>
                </a:path>
              </a:pathLst>
            </a:custGeom>
            <a:solidFill>
              <a:srgbClr val="FFFFFF"/>
            </a:solidFill>
            <a:ln w="3521" cap="flat">
              <a:noFill/>
              <a:prstDash val="solid"/>
              <a:miter/>
            </a:ln>
          </p:spPr>
          <p:txBody>
            <a:bodyPr rtlCol="0" anchor="ctr"/>
            <a:lstStyle/>
            <a:p>
              <a:endParaRPr lang="de-DE"/>
            </a:p>
          </p:txBody>
        </p:sp>
        <p:sp>
          <p:nvSpPr>
            <p:cNvPr id="37" name="Freihandform 36">
              <a:extLst>
                <a:ext uri="{FF2B5EF4-FFF2-40B4-BE49-F238E27FC236}">
                  <a16:creationId xmlns:a16="http://schemas.microsoft.com/office/drawing/2014/main" id="{E4977C4B-8976-60F1-A9B6-7331DAB502C3}"/>
                </a:ext>
              </a:extLst>
            </p:cNvPr>
            <p:cNvSpPr/>
            <p:nvPr/>
          </p:nvSpPr>
          <p:spPr>
            <a:xfrm>
              <a:off x="10318269" y="2574424"/>
              <a:ext cx="319787" cy="441951"/>
            </a:xfrm>
            <a:custGeom>
              <a:avLst/>
              <a:gdLst>
                <a:gd name="connsiteX0" fmla="*/ 301531 w 319787"/>
                <a:gd name="connsiteY0" fmla="*/ 353540 h 441951"/>
                <a:gd name="connsiteX1" fmla="*/ 248872 w 319787"/>
                <a:gd name="connsiteY1" fmla="*/ 286227 h 441951"/>
                <a:gd name="connsiteX2" fmla="*/ 215669 w 319787"/>
                <a:gd name="connsiteY2" fmla="*/ 189891 h 441951"/>
                <a:gd name="connsiteX3" fmla="*/ 215669 w 319787"/>
                <a:gd name="connsiteY3" fmla="*/ 34167 h 441951"/>
                <a:gd name="connsiteX4" fmla="*/ 219723 w 319787"/>
                <a:gd name="connsiteY4" fmla="*/ 34167 h 441951"/>
                <a:gd name="connsiteX5" fmla="*/ 236817 w 319787"/>
                <a:gd name="connsiteY5" fmla="*/ 17083 h 441951"/>
                <a:gd name="connsiteX6" fmla="*/ 219723 w 319787"/>
                <a:gd name="connsiteY6" fmla="*/ 0 h 441951"/>
                <a:gd name="connsiteX7" fmla="*/ 99670 w 319787"/>
                <a:gd name="connsiteY7" fmla="*/ 0 h 441951"/>
                <a:gd name="connsiteX8" fmla="*/ 82575 w 319787"/>
                <a:gd name="connsiteY8" fmla="*/ 17083 h 441951"/>
                <a:gd name="connsiteX9" fmla="*/ 99670 w 319787"/>
                <a:gd name="connsiteY9" fmla="*/ 34167 h 441951"/>
                <a:gd name="connsiteX10" fmla="*/ 109011 w 319787"/>
                <a:gd name="connsiteY10" fmla="*/ 34167 h 441951"/>
                <a:gd name="connsiteX11" fmla="*/ 109011 w 319787"/>
                <a:gd name="connsiteY11" fmla="*/ 181331 h 441951"/>
                <a:gd name="connsiteX12" fmla="*/ 70345 w 319787"/>
                <a:gd name="connsiteY12" fmla="*/ 292673 h 441951"/>
                <a:gd name="connsiteX13" fmla="*/ 16663 w 319787"/>
                <a:gd name="connsiteY13" fmla="*/ 360655 h 441951"/>
                <a:gd name="connsiteX14" fmla="*/ 3587 w 319787"/>
                <a:gd name="connsiteY14" fmla="*/ 418422 h 441951"/>
                <a:gd name="connsiteX15" fmla="*/ 56105 w 319787"/>
                <a:gd name="connsiteY15" fmla="*/ 441951 h 441951"/>
                <a:gd name="connsiteX16" fmla="*/ 258459 w 319787"/>
                <a:gd name="connsiteY16" fmla="*/ 441951 h 441951"/>
                <a:gd name="connsiteX17" fmla="*/ 315877 w 319787"/>
                <a:gd name="connsiteY17" fmla="*/ 416590 h 441951"/>
                <a:gd name="connsiteX18" fmla="*/ 301601 w 319787"/>
                <a:gd name="connsiteY18" fmla="*/ 353505 h 441951"/>
                <a:gd name="connsiteX19" fmla="*/ 181479 w 319787"/>
                <a:gd name="connsiteY19" fmla="*/ 34202 h 441951"/>
                <a:gd name="connsiteX20" fmla="*/ 181479 w 319787"/>
                <a:gd name="connsiteY20" fmla="*/ 189926 h 441951"/>
                <a:gd name="connsiteX21" fmla="*/ 201746 w 319787"/>
                <a:gd name="connsiteY21" fmla="*/ 274251 h 441951"/>
                <a:gd name="connsiteX22" fmla="*/ 121206 w 319787"/>
                <a:gd name="connsiteY22" fmla="*/ 274251 h 441951"/>
                <a:gd name="connsiteX23" fmla="*/ 143130 w 319787"/>
                <a:gd name="connsiteY23" fmla="*/ 181402 h 441951"/>
                <a:gd name="connsiteX24" fmla="*/ 143130 w 319787"/>
                <a:gd name="connsiteY24" fmla="*/ 34237 h 441951"/>
                <a:gd name="connsiteX25" fmla="*/ 181479 w 319787"/>
                <a:gd name="connsiteY25" fmla="*/ 34237 h 441951"/>
                <a:gd name="connsiteX26" fmla="*/ 181479 w 319787"/>
                <a:gd name="connsiteY26" fmla="*/ 34202 h 441951"/>
                <a:gd name="connsiteX27" fmla="*/ 285071 w 319787"/>
                <a:gd name="connsiteY27" fmla="*/ 401690 h 441951"/>
                <a:gd name="connsiteX28" fmla="*/ 258389 w 319787"/>
                <a:gd name="connsiteY28" fmla="*/ 407855 h 441951"/>
                <a:gd name="connsiteX29" fmla="*/ 56034 w 319787"/>
                <a:gd name="connsiteY29" fmla="*/ 407855 h 441951"/>
                <a:gd name="connsiteX30" fmla="*/ 34287 w 319787"/>
                <a:gd name="connsiteY30" fmla="*/ 403593 h 441951"/>
                <a:gd name="connsiteX31" fmla="*/ 43451 w 319787"/>
                <a:gd name="connsiteY31" fmla="*/ 381895 h 441951"/>
                <a:gd name="connsiteX32" fmla="*/ 97133 w 319787"/>
                <a:gd name="connsiteY32" fmla="*/ 313913 h 441951"/>
                <a:gd name="connsiteX33" fmla="*/ 101151 w 319787"/>
                <a:gd name="connsiteY33" fmla="*/ 308418 h 441951"/>
                <a:gd name="connsiteX34" fmla="*/ 219687 w 319787"/>
                <a:gd name="connsiteY34" fmla="*/ 308418 h 441951"/>
                <a:gd name="connsiteX35" fmla="*/ 222577 w 319787"/>
                <a:gd name="connsiteY35" fmla="*/ 308136 h 441951"/>
                <a:gd name="connsiteX36" fmla="*/ 274567 w 319787"/>
                <a:gd name="connsiteY36" fmla="*/ 374603 h 441951"/>
                <a:gd name="connsiteX37" fmla="*/ 285071 w 319787"/>
                <a:gd name="connsiteY37" fmla="*/ 401726 h 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9787" h="441951">
                  <a:moveTo>
                    <a:pt x="301531" y="353540"/>
                  </a:moveTo>
                  <a:lnTo>
                    <a:pt x="248872" y="286227"/>
                  </a:lnTo>
                  <a:cubicBezTo>
                    <a:pt x="216304" y="244593"/>
                    <a:pt x="215669" y="190384"/>
                    <a:pt x="215669" y="189891"/>
                  </a:cubicBezTo>
                  <a:lnTo>
                    <a:pt x="215669" y="34167"/>
                  </a:lnTo>
                  <a:lnTo>
                    <a:pt x="219723" y="34167"/>
                  </a:lnTo>
                  <a:cubicBezTo>
                    <a:pt x="229169" y="34167"/>
                    <a:pt x="236817" y="26523"/>
                    <a:pt x="236817" y="17083"/>
                  </a:cubicBezTo>
                  <a:cubicBezTo>
                    <a:pt x="236817" y="7644"/>
                    <a:pt x="229169" y="0"/>
                    <a:pt x="219723" y="0"/>
                  </a:cubicBezTo>
                  <a:lnTo>
                    <a:pt x="99670" y="0"/>
                  </a:lnTo>
                  <a:cubicBezTo>
                    <a:pt x="90224" y="0"/>
                    <a:pt x="82575" y="7644"/>
                    <a:pt x="82575" y="17083"/>
                  </a:cubicBezTo>
                  <a:cubicBezTo>
                    <a:pt x="82575" y="26523"/>
                    <a:pt x="90224" y="34167"/>
                    <a:pt x="99670" y="34167"/>
                  </a:cubicBezTo>
                  <a:lnTo>
                    <a:pt x="109011" y="34167"/>
                  </a:lnTo>
                  <a:lnTo>
                    <a:pt x="109011" y="181331"/>
                  </a:lnTo>
                  <a:cubicBezTo>
                    <a:pt x="109011" y="181965"/>
                    <a:pt x="108588" y="244276"/>
                    <a:pt x="70345" y="292673"/>
                  </a:cubicBezTo>
                  <a:lnTo>
                    <a:pt x="16663" y="360655"/>
                  </a:lnTo>
                  <a:cubicBezTo>
                    <a:pt x="12434" y="366044"/>
                    <a:pt x="-8186" y="394117"/>
                    <a:pt x="3587" y="418422"/>
                  </a:cubicBezTo>
                  <a:cubicBezTo>
                    <a:pt x="11164" y="434026"/>
                    <a:pt x="28823" y="441951"/>
                    <a:pt x="56105" y="441951"/>
                  </a:cubicBezTo>
                  <a:lnTo>
                    <a:pt x="258459" y="441951"/>
                  </a:lnTo>
                  <a:cubicBezTo>
                    <a:pt x="288348" y="441951"/>
                    <a:pt x="307664" y="433427"/>
                    <a:pt x="315877" y="416590"/>
                  </a:cubicBezTo>
                  <a:cubicBezTo>
                    <a:pt x="328707" y="390313"/>
                    <a:pt x="306254" y="359422"/>
                    <a:pt x="301601" y="353505"/>
                  </a:cubicBezTo>
                  <a:moveTo>
                    <a:pt x="181479" y="34202"/>
                  </a:moveTo>
                  <a:lnTo>
                    <a:pt x="181479" y="189926"/>
                  </a:lnTo>
                  <a:cubicBezTo>
                    <a:pt x="181479" y="192039"/>
                    <a:pt x="181831" y="232229"/>
                    <a:pt x="201746" y="274251"/>
                  </a:cubicBezTo>
                  <a:lnTo>
                    <a:pt x="121206" y="274251"/>
                  </a:lnTo>
                  <a:cubicBezTo>
                    <a:pt x="142742" y="227721"/>
                    <a:pt x="143130" y="183762"/>
                    <a:pt x="143130" y="181402"/>
                  </a:cubicBezTo>
                  <a:lnTo>
                    <a:pt x="143130" y="34237"/>
                  </a:lnTo>
                  <a:lnTo>
                    <a:pt x="181479" y="34237"/>
                  </a:lnTo>
                  <a:lnTo>
                    <a:pt x="181479" y="34202"/>
                  </a:lnTo>
                  <a:close/>
                  <a:moveTo>
                    <a:pt x="285071" y="401690"/>
                  </a:moveTo>
                  <a:cubicBezTo>
                    <a:pt x="284013" y="403839"/>
                    <a:pt x="277105" y="407855"/>
                    <a:pt x="258389" y="407855"/>
                  </a:cubicBezTo>
                  <a:lnTo>
                    <a:pt x="56034" y="407855"/>
                  </a:lnTo>
                  <a:cubicBezTo>
                    <a:pt x="38023" y="407855"/>
                    <a:pt x="34322" y="403628"/>
                    <a:pt x="34287" y="403593"/>
                  </a:cubicBezTo>
                  <a:cubicBezTo>
                    <a:pt x="32948" y="400951"/>
                    <a:pt x="37177" y="389961"/>
                    <a:pt x="43451" y="381895"/>
                  </a:cubicBezTo>
                  <a:lnTo>
                    <a:pt x="97133" y="313913"/>
                  </a:lnTo>
                  <a:cubicBezTo>
                    <a:pt x="98543" y="312117"/>
                    <a:pt x="99812" y="310250"/>
                    <a:pt x="101151" y="308418"/>
                  </a:cubicBezTo>
                  <a:lnTo>
                    <a:pt x="219687" y="308418"/>
                  </a:lnTo>
                  <a:cubicBezTo>
                    <a:pt x="220674" y="308418"/>
                    <a:pt x="221626" y="308277"/>
                    <a:pt x="222577" y="308136"/>
                  </a:cubicBezTo>
                  <a:lnTo>
                    <a:pt x="274567" y="374603"/>
                  </a:lnTo>
                  <a:cubicBezTo>
                    <a:pt x="281158" y="383128"/>
                    <a:pt x="287326" y="397147"/>
                    <a:pt x="285071" y="401726"/>
                  </a:cubicBezTo>
                </a:path>
              </a:pathLst>
            </a:custGeom>
            <a:solidFill>
              <a:srgbClr val="FFFFFF"/>
            </a:solidFill>
            <a:ln w="3521" cap="flat">
              <a:noFill/>
              <a:prstDash val="solid"/>
              <a:miter/>
            </a:ln>
          </p:spPr>
          <p:txBody>
            <a:bodyPr rtlCol="0" anchor="ctr"/>
            <a:lstStyle/>
            <a:p>
              <a:endParaRPr lang="de-DE"/>
            </a:p>
          </p:txBody>
        </p:sp>
        <p:sp>
          <p:nvSpPr>
            <p:cNvPr id="38" name="Freihandform 37">
              <a:extLst>
                <a:ext uri="{FF2B5EF4-FFF2-40B4-BE49-F238E27FC236}">
                  <a16:creationId xmlns:a16="http://schemas.microsoft.com/office/drawing/2014/main" id="{F7B94B03-D8AF-03F3-4E44-7855FFD35E51}"/>
                </a:ext>
              </a:extLst>
            </p:cNvPr>
            <p:cNvSpPr/>
            <p:nvPr/>
          </p:nvSpPr>
          <p:spPr>
            <a:xfrm>
              <a:off x="10438242" y="2508591"/>
              <a:ext cx="39653" cy="39626"/>
            </a:xfrm>
            <a:custGeom>
              <a:avLst/>
              <a:gdLst>
                <a:gd name="connsiteX0" fmla="*/ 0 w 39653"/>
                <a:gd name="connsiteY0" fmla="*/ 19831 h 39626"/>
                <a:gd name="connsiteX1" fmla="*/ 19809 w 39653"/>
                <a:gd name="connsiteY1" fmla="*/ 39627 h 39626"/>
                <a:gd name="connsiteX2" fmla="*/ 39653 w 39653"/>
                <a:gd name="connsiteY2" fmla="*/ 19831 h 39626"/>
                <a:gd name="connsiteX3" fmla="*/ 19809 w 39653"/>
                <a:gd name="connsiteY3" fmla="*/ 0 h 39626"/>
                <a:gd name="connsiteX4" fmla="*/ 0 w 39653"/>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0" y="19831"/>
                  </a:moveTo>
                  <a:cubicBezTo>
                    <a:pt x="0" y="30750"/>
                    <a:pt x="8882" y="39627"/>
                    <a:pt x="19809" y="39627"/>
                  </a:cubicBezTo>
                  <a:cubicBezTo>
                    <a:pt x="30735" y="39627"/>
                    <a:pt x="39653" y="30750"/>
                    <a:pt x="39653" y="19831"/>
                  </a:cubicBezTo>
                  <a:cubicBezTo>
                    <a:pt x="39653" y="8912"/>
                    <a:pt x="30771" y="0"/>
                    <a:pt x="19809" y="0"/>
                  </a:cubicBezTo>
                  <a:cubicBezTo>
                    <a:pt x="8847" y="0"/>
                    <a:pt x="0" y="8876"/>
                    <a:pt x="0" y="19831"/>
                  </a:cubicBezTo>
                </a:path>
              </a:pathLst>
            </a:custGeom>
            <a:solidFill>
              <a:srgbClr val="FFFFFF"/>
            </a:solidFill>
            <a:ln w="3521" cap="flat">
              <a:noFill/>
              <a:prstDash val="solid"/>
              <a:miter/>
            </a:ln>
          </p:spPr>
          <p:txBody>
            <a:bodyPr rtlCol="0" anchor="ctr"/>
            <a:lstStyle/>
            <a:p>
              <a:endParaRPr lang="de-DE"/>
            </a:p>
          </p:txBody>
        </p:sp>
        <p:sp>
          <p:nvSpPr>
            <p:cNvPr id="39" name="Freihandform 38">
              <a:extLst>
                <a:ext uri="{FF2B5EF4-FFF2-40B4-BE49-F238E27FC236}">
                  <a16:creationId xmlns:a16="http://schemas.microsoft.com/office/drawing/2014/main" id="{59E9EC64-409F-0D9F-303F-554C2008C5FE}"/>
                </a:ext>
              </a:extLst>
            </p:cNvPr>
            <p:cNvSpPr/>
            <p:nvPr/>
          </p:nvSpPr>
          <p:spPr>
            <a:xfrm>
              <a:off x="10430488" y="2434269"/>
              <a:ext cx="39653" cy="39661"/>
            </a:xfrm>
            <a:custGeom>
              <a:avLst/>
              <a:gdLst>
                <a:gd name="connsiteX0" fmla="*/ 19809 w 39653"/>
                <a:gd name="connsiteY0" fmla="*/ 39662 h 39661"/>
                <a:gd name="connsiteX1" fmla="*/ 39653 w 39653"/>
                <a:gd name="connsiteY1" fmla="*/ 19831 h 39661"/>
                <a:gd name="connsiteX2" fmla="*/ 19809 w 39653"/>
                <a:gd name="connsiteY2" fmla="*/ 0 h 39661"/>
                <a:gd name="connsiteX3" fmla="*/ 0 w 39653"/>
                <a:gd name="connsiteY3" fmla="*/ 19831 h 39661"/>
                <a:gd name="connsiteX4" fmla="*/ 19809 w 39653"/>
                <a:gd name="connsiteY4" fmla="*/ 39662 h 3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61">
                  <a:moveTo>
                    <a:pt x="19809" y="39662"/>
                  </a:moveTo>
                  <a:cubicBezTo>
                    <a:pt x="30771" y="39662"/>
                    <a:pt x="39653" y="30785"/>
                    <a:pt x="39653" y="19831"/>
                  </a:cubicBezTo>
                  <a:cubicBezTo>
                    <a:pt x="39653" y="8876"/>
                    <a:pt x="30771" y="0"/>
                    <a:pt x="19809" y="0"/>
                  </a:cubicBezTo>
                  <a:cubicBezTo>
                    <a:pt x="8847" y="0"/>
                    <a:pt x="0" y="8876"/>
                    <a:pt x="0" y="19831"/>
                  </a:cubicBezTo>
                  <a:cubicBezTo>
                    <a:pt x="0" y="30785"/>
                    <a:pt x="8882" y="39662"/>
                    <a:pt x="19809" y="39662"/>
                  </a:cubicBezTo>
                </a:path>
              </a:pathLst>
            </a:custGeom>
            <a:solidFill>
              <a:srgbClr val="FFFFFF"/>
            </a:solidFill>
            <a:ln w="3521" cap="flat">
              <a:noFill/>
              <a:prstDash val="solid"/>
              <a:miter/>
            </a:ln>
          </p:spPr>
          <p:txBody>
            <a:bodyPr rtlCol="0" anchor="ctr"/>
            <a:lstStyle/>
            <a:p>
              <a:endParaRPr lang="de-DE"/>
            </a:p>
          </p:txBody>
        </p:sp>
        <p:sp>
          <p:nvSpPr>
            <p:cNvPr id="40" name="Freihandform 39">
              <a:extLst>
                <a:ext uri="{FF2B5EF4-FFF2-40B4-BE49-F238E27FC236}">
                  <a16:creationId xmlns:a16="http://schemas.microsoft.com/office/drawing/2014/main" id="{C70C3849-55DD-9498-CACA-A3B2D2EB02A2}"/>
                </a:ext>
              </a:extLst>
            </p:cNvPr>
            <p:cNvSpPr/>
            <p:nvPr/>
          </p:nvSpPr>
          <p:spPr>
            <a:xfrm>
              <a:off x="10487482" y="2470760"/>
              <a:ext cx="39688" cy="39626"/>
            </a:xfrm>
            <a:custGeom>
              <a:avLst/>
              <a:gdLst>
                <a:gd name="connsiteX0" fmla="*/ 0 w 39688"/>
                <a:gd name="connsiteY0" fmla="*/ 19831 h 39626"/>
                <a:gd name="connsiteX1" fmla="*/ 19844 w 39688"/>
                <a:gd name="connsiteY1" fmla="*/ 39627 h 39626"/>
                <a:gd name="connsiteX2" fmla="*/ 39688 w 39688"/>
                <a:gd name="connsiteY2" fmla="*/ 19831 h 39626"/>
                <a:gd name="connsiteX3" fmla="*/ 19844 w 39688"/>
                <a:gd name="connsiteY3" fmla="*/ 0 h 39626"/>
                <a:gd name="connsiteX4" fmla="*/ 0 w 39688"/>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88" h="39626">
                  <a:moveTo>
                    <a:pt x="0" y="19831"/>
                  </a:moveTo>
                  <a:cubicBezTo>
                    <a:pt x="0" y="30750"/>
                    <a:pt x="8882" y="39627"/>
                    <a:pt x="19844" y="39627"/>
                  </a:cubicBezTo>
                  <a:cubicBezTo>
                    <a:pt x="30806" y="39627"/>
                    <a:pt x="39688" y="30750"/>
                    <a:pt x="39688" y="19831"/>
                  </a:cubicBezTo>
                  <a:cubicBezTo>
                    <a:pt x="39688" y="8912"/>
                    <a:pt x="30806" y="0"/>
                    <a:pt x="19844" y="0"/>
                  </a:cubicBezTo>
                  <a:cubicBezTo>
                    <a:pt x="8882" y="0"/>
                    <a:pt x="0" y="8876"/>
                    <a:pt x="0" y="19831"/>
                  </a:cubicBezTo>
                </a:path>
              </a:pathLst>
            </a:custGeom>
            <a:solidFill>
              <a:srgbClr val="FFFFFF"/>
            </a:solidFill>
            <a:ln w="3521" cap="flat">
              <a:noFill/>
              <a:prstDash val="solid"/>
              <a:miter/>
            </a:ln>
          </p:spPr>
          <p:txBody>
            <a:bodyPr rtlCol="0" anchor="ctr"/>
            <a:lstStyle/>
            <a:p>
              <a:endParaRPr lang="de-DE"/>
            </a:p>
          </p:txBody>
        </p:sp>
        <p:sp>
          <p:nvSpPr>
            <p:cNvPr id="41" name="Freihandform 40">
              <a:extLst>
                <a:ext uri="{FF2B5EF4-FFF2-40B4-BE49-F238E27FC236}">
                  <a16:creationId xmlns:a16="http://schemas.microsoft.com/office/drawing/2014/main" id="{76FEF10F-81E5-1875-7873-5BDB7896FEAE}"/>
                </a:ext>
              </a:extLst>
            </p:cNvPr>
            <p:cNvSpPr/>
            <p:nvPr/>
          </p:nvSpPr>
          <p:spPr>
            <a:xfrm>
              <a:off x="10477930" y="2394677"/>
              <a:ext cx="39653" cy="39626"/>
            </a:xfrm>
            <a:custGeom>
              <a:avLst/>
              <a:gdLst>
                <a:gd name="connsiteX0" fmla="*/ 19809 w 39653"/>
                <a:gd name="connsiteY0" fmla="*/ 39627 h 39626"/>
                <a:gd name="connsiteX1" fmla="*/ 39653 w 39653"/>
                <a:gd name="connsiteY1" fmla="*/ 19831 h 39626"/>
                <a:gd name="connsiteX2" fmla="*/ 19809 w 39653"/>
                <a:gd name="connsiteY2" fmla="*/ 0 h 39626"/>
                <a:gd name="connsiteX3" fmla="*/ 0 w 39653"/>
                <a:gd name="connsiteY3" fmla="*/ 19831 h 39626"/>
                <a:gd name="connsiteX4" fmla="*/ 19809 w 39653"/>
                <a:gd name="connsiteY4" fmla="*/ 39627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19809" y="39627"/>
                  </a:moveTo>
                  <a:cubicBezTo>
                    <a:pt x="30771" y="39627"/>
                    <a:pt x="39653" y="30750"/>
                    <a:pt x="39653" y="19831"/>
                  </a:cubicBezTo>
                  <a:cubicBezTo>
                    <a:pt x="39653" y="8912"/>
                    <a:pt x="30771" y="0"/>
                    <a:pt x="19809" y="0"/>
                  </a:cubicBezTo>
                  <a:cubicBezTo>
                    <a:pt x="8847" y="0"/>
                    <a:pt x="0" y="8876"/>
                    <a:pt x="0" y="19831"/>
                  </a:cubicBezTo>
                  <a:cubicBezTo>
                    <a:pt x="0" y="30785"/>
                    <a:pt x="8882" y="39627"/>
                    <a:pt x="19809" y="39627"/>
                  </a:cubicBezTo>
                </a:path>
              </a:pathLst>
            </a:custGeom>
            <a:solidFill>
              <a:srgbClr val="FFFFFF"/>
            </a:solidFill>
            <a:ln w="3521" cap="flat">
              <a:noFill/>
              <a:prstDash val="solid"/>
              <a:miter/>
            </a:ln>
          </p:spPr>
          <p:txBody>
            <a:bodyPr rtlCol="0" anchor="ctr"/>
            <a:lstStyle/>
            <a:p>
              <a:endParaRPr lang="de-DE"/>
            </a:p>
          </p:txBody>
        </p:sp>
      </p:grpSp>
      <p:grpSp>
        <p:nvGrpSpPr>
          <p:cNvPr id="71" name="Gruppieren 70">
            <a:extLst>
              <a:ext uri="{FF2B5EF4-FFF2-40B4-BE49-F238E27FC236}">
                <a16:creationId xmlns:a16="http://schemas.microsoft.com/office/drawing/2014/main" id="{9C86C5B4-FA5E-EB23-609E-3D1859B59202}"/>
              </a:ext>
            </a:extLst>
          </p:cNvPr>
          <p:cNvGrpSpPr/>
          <p:nvPr/>
        </p:nvGrpSpPr>
        <p:grpSpPr>
          <a:xfrm>
            <a:off x="7516497" y="2609745"/>
            <a:ext cx="1210989" cy="995110"/>
            <a:chOff x="7516497" y="2609745"/>
            <a:chExt cx="1210989" cy="995110"/>
          </a:xfrm>
        </p:grpSpPr>
        <p:sp>
          <p:nvSpPr>
            <p:cNvPr id="42" name="Freihandform 41">
              <a:extLst>
                <a:ext uri="{FF2B5EF4-FFF2-40B4-BE49-F238E27FC236}">
                  <a16:creationId xmlns:a16="http://schemas.microsoft.com/office/drawing/2014/main" id="{04F7E1DD-6E8B-0C35-9674-17C67D74257F}"/>
                </a:ext>
              </a:extLst>
            </p:cNvPr>
            <p:cNvSpPr/>
            <p:nvPr/>
          </p:nvSpPr>
          <p:spPr>
            <a:xfrm>
              <a:off x="7962934" y="2609745"/>
              <a:ext cx="637639" cy="368694"/>
            </a:xfrm>
            <a:custGeom>
              <a:avLst/>
              <a:gdLst>
                <a:gd name="connsiteX0" fmla="*/ 203133 w 637639"/>
                <a:gd name="connsiteY0" fmla="*/ 325862 h 368694"/>
                <a:gd name="connsiteX1" fmla="*/ 333195 w 637639"/>
                <a:gd name="connsiteY1" fmla="*/ 174225 h 368694"/>
                <a:gd name="connsiteX2" fmla="*/ 424062 w 637639"/>
                <a:gd name="connsiteY2" fmla="*/ 45236 h 368694"/>
                <a:gd name="connsiteX3" fmla="*/ 571607 w 637639"/>
                <a:gd name="connsiteY3" fmla="*/ 80248 h 368694"/>
                <a:gd name="connsiteX4" fmla="*/ 578410 w 637639"/>
                <a:gd name="connsiteY4" fmla="*/ 248300 h 368694"/>
                <a:gd name="connsiteX5" fmla="*/ 498575 w 637639"/>
                <a:gd name="connsiteY5" fmla="*/ 298529 h 368694"/>
                <a:gd name="connsiteX6" fmla="*/ 399107 w 637639"/>
                <a:gd name="connsiteY6" fmla="*/ 270209 h 368694"/>
                <a:gd name="connsiteX7" fmla="*/ 462764 w 637639"/>
                <a:gd name="connsiteY7" fmla="*/ 257317 h 368694"/>
                <a:gd name="connsiteX8" fmla="*/ 455926 w 637639"/>
                <a:gd name="connsiteY8" fmla="*/ 223784 h 368694"/>
                <a:gd name="connsiteX9" fmla="*/ 366433 w 637639"/>
                <a:gd name="connsiteY9" fmla="*/ 241960 h 368694"/>
                <a:gd name="connsiteX10" fmla="*/ 366081 w 637639"/>
                <a:gd name="connsiteY10" fmla="*/ 241607 h 368694"/>
                <a:gd name="connsiteX11" fmla="*/ 365552 w 637639"/>
                <a:gd name="connsiteY11" fmla="*/ 242136 h 368694"/>
                <a:gd name="connsiteX12" fmla="*/ 335380 w 637639"/>
                <a:gd name="connsiteY12" fmla="*/ 248265 h 368694"/>
                <a:gd name="connsiteX13" fmla="*/ 359912 w 637639"/>
                <a:gd name="connsiteY13" fmla="*/ 368694 h 368694"/>
                <a:gd name="connsiteX14" fmla="*/ 393468 w 637639"/>
                <a:gd name="connsiteY14" fmla="*/ 361861 h 368694"/>
                <a:gd name="connsiteX15" fmla="*/ 380532 w 637639"/>
                <a:gd name="connsiteY15" fmla="*/ 298282 h 368694"/>
                <a:gd name="connsiteX16" fmla="*/ 488071 w 637639"/>
                <a:gd name="connsiteY16" fmla="*/ 332731 h 368694"/>
                <a:gd name="connsiteX17" fmla="*/ 501712 w 637639"/>
                <a:gd name="connsiteY17" fmla="*/ 332097 h 368694"/>
                <a:gd name="connsiteX18" fmla="*/ 606325 w 637639"/>
                <a:gd name="connsiteY18" fmla="*/ 267356 h 368694"/>
                <a:gd name="connsiteX19" fmla="*/ 597655 w 637639"/>
                <a:gd name="connsiteY19" fmla="*/ 58550 h 368694"/>
                <a:gd name="connsiteX20" fmla="*/ 410351 w 637639"/>
                <a:gd name="connsiteY20" fmla="*/ 14309 h 368694"/>
                <a:gd name="connsiteX21" fmla="*/ 300591 w 637639"/>
                <a:gd name="connsiteY21" fmla="*/ 165278 h 368694"/>
                <a:gd name="connsiteX22" fmla="*/ 194039 w 637639"/>
                <a:gd name="connsiteY22" fmla="*/ 293280 h 368694"/>
                <a:gd name="connsiteX23" fmla="*/ 67537 w 637639"/>
                <a:gd name="connsiteY23" fmla="*/ 257317 h 368694"/>
                <a:gd name="connsiteX24" fmla="*/ 45860 w 637639"/>
                <a:gd name="connsiteY24" fmla="*/ 107687 h 368694"/>
                <a:gd name="connsiteX25" fmla="*/ 136868 w 637639"/>
                <a:gd name="connsiteY25" fmla="*/ 37874 h 368694"/>
                <a:gd name="connsiteX26" fmla="*/ 255228 w 637639"/>
                <a:gd name="connsiteY26" fmla="*/ 63129 h 368694"/>
                <a:gd name="connsiteX27" fmla="*/ 268023 w 637639"/>
                <a:gd name="connsiteY27" fmla="*/ 74189 h 368694"/>
                <a:gd name="connsiteX28" fmla="*/ 290158 w 637639"/>
                <a:gd name="connsiteY28" fmla="*/ 48652 h 368694"/>
                <a:gd name="connsiteX29" fmla="*/ 277399 w 637639"/>
                <a:gd name="connsiteY29" fmla="*/ 37592 h 368694"/>
                <a:gd name="connsiteX30" fmla="*/ 129678 w 637639"/>
                <a:gd name="connsiteY30" fmla="*/ 4869 h 368694"/>
                <a:gd name="connsiteX31" fmla="*/ 15089 w 637639"/>
                <a:gd name="connsiteY31" fmla="*/ 93668 h 368694"/>
                <a:gd name="connsiteX32" fmla="*/ 41842 w 637639"/>
                <a:gd name="connsiteY32" fmla="*/ 279297 h 368694"/>
                <a:gd name="connsiteX33" fmla="*/ 203168 w 637639"/>
                <a:gd name="connsiteY33" fmla="*/ 325827 h 36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7639" h="368694">
                  <a:moveTo>
                    <a:pt x="203133" y="325862"/>
                  </a:moveTo>
                  <a:cubicBezTo>
                    <a:pt x="299111" y="298987"/>
                    <a:pt x="317228" y="232696"/>
                    <a:pt x="333195" y="174225"/>
                  </a:cubicBezTo>
                  <a:cubicBezTo>
                    <a:pt x="347364" y="122411"/>
                    <a:pt x="360723" y="73485"/>
                    <a:pt x="424062" y="45236"/>
                  </a:cubicBezTo>
                  <a:cubicBezTo>
                    <a:pt x="487754" y="16880"/>
                    <a:pt x="542035" y="44707"/>
                    <a:pt x="571607" y="80248"/>
                  </a:cubicBezTo>
                  <a:cubicBezTo>
                    <a:pt x="602519" y="117374"/>
                    <a:pt x="622856" y="183629"/>
                    <a:pt x="578410" y="248300"/>
                  </a:cubicBezTo>
                  <a:cubicBezTo>
                    <a:pt x="557543" y="278663"/>
                    <a:pt x="530685" y="295570"/>
                    <a:pt x="498575" y="298529"/>
                  </a:cubicBezTo>
                  <a:cubicBezTo>
                    <a:pt x="461248" y="301945"/>
                    <a:pt x="423992" y="286518"/>
                    <a:pt x="399107" y="270209"/>
                  </a:cubicBezTo>
                  <a:lnTo>
                    <a:pt x="462764" y="257317"/>
                  </a:lnTo>
                  <a:lnTo>
                    <a:pt x="455926" y="223784"/>
                  </a:lnTo>
                  <a:lnTo>
                    <a:pt x="366433" y="241960"/>
                  </a:lnTo>
                  <a:lnTo>
                    <a:pt x="366081" y="241607"/>
                  </a:lnTo>
                  <a:lnTo>
                    <a:pt x="365552" y="242136"/>
                  </a:lnTo>
                  <a:lnTo>
                    <a:pt x="335380" y="248265"/>
                  </a:lnTo>
                  <a:lnTo>
                    <a:pt x="359912" y="368694"/>
                  </a:lnTo>
                  <a:lnTo>
                    <a:pt x="393468" y="361861"/>
                  </a:lnTo>
                  <a:lnTo>
                    <a:pt x="380532" y="298282"/>
                  </a:lnTo>
                  <a:cubicBezTo>
                    <a:pt x="407919" y="316211"/>
                    <a:pt x="446938" y="332731"/>
                    <a:pt x="488071" y="332731"/>
                  </a:cubicBezTo>
                  <a:cubicBezTo>
                    <a:pt x="492583" y="332731"/>
                    <a:pt x="497130" y="332520"/>
                    <a:pt x="501712" y="332097"/>
                  </a:cubicBezTo>
                  <a:cubicBezTo>
                    <a:pt x="543691" y="328222"/>
                    <a:pt x="579890" y="305855"/>
                    <a:pt x="606325" y="267356"/>
                  </a:cubicBezTo>
                  <a:cubicBezTo>
                    <a:pt x="657927" y="192259"/>
                    <a:pt x="639141" y="108356"/>
                    <a:pt x="597655" y="58550"/>
                  </a:cubicBezTo>
                  <a:cubicBezTo>
                    <a:pt x="550529" y="1981"/>
                    <a:pt x="477004" y="-15384"/>
                    <a:pt x="410351" y="14309"/>
                  </a:cubicBezTo>
                  <a:cubicBezTo>
                    <a:pt x="332349" y="49075"/>
                    <a:pt x="315501" y="110787"/>
                    <a:pt x="300591" y="165278"/>
                  </a:cubicBezTo>
                  <a:cubicBezTo>
                    <a:pt x="285012" y="222305"/>
                    <a:pt x="271548" y="271583"/>
                    <a:pt x="194039" y="293280"/>
                  </a:cubicBezTo>
                  <a:cubicBezTo>
                    <a:pt x="145010" y="307053"/>
                    <a:pt x="98907" y="293914"/>
                    <a:pt x="67537" y="257317"/>
                  </a:cubicBezTo>
                  <a:cubicBezTo>
                    <a:pt x="32431" y="216317"/>
                    <a:pt x="23725" y="156190"/>
                    <a:pt x="45860" y="107687"/>
                  </a:cubicBezTo>
                  <a:cubicBezTo>
                    <a:pt x="61968" y="72393"/>
                    <a:pt x="95135" y="46961"/>
                    <a:pt x="136868" y="37874"/>
                  </a:cubicBezTo>
                  <a:cubicBezTo>
                    <a:pt x="180857" y="28328"/>
                    <a:pt x="226220" y="37979"/>
                    <a:pt x="255228" y="63129"/>
                  </a:cubicBezTo>
                  <a:lnTo>
                    <a:pt x="268023" y="74189"/>
                  </a:lnTo>
                  <a:lnTo>
                    <a:pt x="290158" y="48652"/>
                  </a:lnTo>
                  <a:lnTo>
                    <a:pt x="277399" y="37592"/>
                  </a:lnTo>
                  <a:cubicBezTo>
                    <a:pt x="240460" y="5609"/>
                    <a:pt x="183888" y="-6931"/>
                    <a:pt x="129678" y="4869"/>
                  </a:cubicBezTo>
                  <a:cubicBezTo>
                    <a:pt x="77406" y="16246"/>
                    <a:pt x="35638" y="48617"/>
                    <a:pt x="15089" y="93668"/>
                  </a:cubicBezTo>
                  <a:cubicBezTo>
                    <a:pt x="-12404" y="153936"/>
                    <a:pt x="-1653" y="228504"/>
                    <a:pt x="41842" y="279297"/>
                  </a:cubicBezTo>
                  <a:cubicBezTo>
                    <a:pt x="82129" y="326320"/>
                    <a:pt x="140886" y="343263"/>
                    <a:pt x="203168" y="325827"/>
                  </a:cubicBezTo>
                </a:path>
              </a:pathLst>
            </a:custGeom>
            <a:solidFill>
              <a:srgbClr val="FFFFFF"/>
            </a:solidFill>
            <a:ln w="3521" cap="flat">
              <a:noFill/>
              <a:prstDash val="solid"/>
              <a:miter/>
            </a:ln>
          </p:spPr>
          <p:txBody>
            <a:bodyPr rtlCol="0" anchor="ctr"/>
            <a:lstStyle/>
            <a:p>
              <a:endParaRPr lang="de-DE"/>
            </a:p>
          </p:txBody>
        </p:sp>
        <p:sp>
          <p:nvSpPr>
            <p:cNvPr id="43" name="Freihandform 42">
              <a:extLst>
                <a:ext uri="{FF2B5EF4-FFF2-40B4-BE49-F238E27FC236}">
                  <a16:creationId xmlns:a16="http://schemas.microsoft.com/office/drawing/2014/main" id="{237DC6C6-B4C7-7485-3036-A4C8B9A0CCB8}"/>
                </a:ext>
              </a:extLst>
            </p:cNvPr>
            <p:cNvSpPr/>
            <p:nvPr/>
          </p:nvSpPr>
          <p:spPr>
            <a:xfrm>
              <a:off x="7516497" y="3112394"/>
              <a:ext cx="438651" cy="492461"/>
            </a:xfrm>
            <a:custGeom>
              <a:avLst/>
              <a:gdLst>
                <a:gd name="connsiteX0" fmla="*/ 0 w 438651"/>
                <a:gd name="connsiteY0" fmla="*/ 116344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44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44"/>
                  </a:moveTo>
                  <a:lnTo>
                    <a:pt x="34754" y="170130"/>
                  </a:lnTo>
                  <a:lnTo>
                    <a:pt x="162913" y="87496"/>
                  </a:lnTo>
                  <a:lnTo>
                    <a:pt x="352049" y="361782"/>
                  </a:lnTo>
                  <a:lnTo>
                    <a:pt x="251277" y="442479"/>
                  </a:lnTo>
                  <a:lnTo>
                    <a:pt x="291353" y="492462"/>
                  </a:lnTo>
                  <a:lnTo>
                    <a:pt x="438651" y="374498"/>
                  </a:lnTo>
                  <a:lnTo>
                    <a:pt x="180430" y="0"/>
                  </a:lnTo>
                  <a:lnTo>
                    <a:pt x="0" y="116344"/>
                  </a:lnTo>
                  <a:close/>
                </a:path>
              </a:pathLst>
            </a:custGeom>
            <a:solidFill>
              <a:srgbClr val="FFFFFF"/>
            </a:solidFill>
            <a:ln w="3521" cap="flat">
              <a:noFill/>
              <a:prstDash val="solid"/>
              <a:miter/>
            </a:ln>
          </p:spPr>
          <p:txBody>
            <a:bodyPr rtlCol="0" anchor="ctr"/>
            <a:lstStyle/>
            <a:p>
              <a:endParaRPr lang="de-DE"/>
            </a:p>
          </p:txBody>
        </p:sp>
        <p:sp>
          <p:nvSpPr>
            <p:cNvPr id="44" name="Freihandform 43">
              <a:extLst>
                <a:ext uri="{FF2B5EF4-FFF2-40B4-BE49-F238E27FC236}">
                  <a16:creationId xmlns:a16="http://schemas.microsoft.com/office/drawing/2014/main" id="{FE05979C-1C7A-6DEC-30E0-3DD3DDFE8DD3}"/>
                </a:ext>
              </a:extLst>
            </p:cNvPr>
            <p:cNvSpPr/>
            <p:nvPr/>
          </p:nvSpPr>
          <p:spPr>
            <a:xfrm>
              <a:off x="7763791" y="3003335"/>
              <a:ext cx="563879" cy="266861"/>
            </a:xfrm>
            <a:custGeom>
              <a:avLst/>
              <a:gdLst>
                <a:gd name="connsiteX0" fmla="*/ 61260 w 563879"/>
                <a:gd name="connsiteY0" fmla="*/ 170384 h 266861"/>
                <a:gd name="connsiteX1" fmla="*/ 176624 w 563879"/>
                <a:gd name="connsiteY1" fmla="*/ 83381 h 266861"/>
                <a:gd name="connsiteX2" fmla="*/ 323851 w 563879"/>
                <a:gd name="connsiteY2" fmla="*/ 84332 h 266861"/>
                <a:gd name="connsiteX3" fmla="*/ 407634 w 563879"/>
                <a:gd name="connsiteY3" fmla="*/ 110468 h 266861"/>
                <a:gd name="connsiteX4" fmla="*/ 498360 w 563879"/>
                <a:gd name="connsiteY4" fmla="*/ 156083 h 266861"/>
                <a:gd name="connsiteX5" fmla="*/ 493002 w 563879"/>
                <a:gd name="connsiteY5" fmla="*/ 186305 h 266861"/>
                <a:gd name="connsiteX6" fmla="*/ 429452 w 563879"/>
                <a:gd name="connsiteY6" fmla="*/ 202402 h 266861"/>
                <a:gd name="connsiteX7" fmla="*/ 269782 w 563879"/>
                <a:gd name="connsiteY7" fmla="*/ 167319 h 266861"/>
                <a:gd name="connsiteX8" fmla="*/ 238729 w 563879"/>
                <a:gd name="connsiteY8" fmla="*/ 159394 h 266861"/>
                <a:gd name="connsiteX9" fmla="*/ 222833 w 563879"/>
                <a:gd name="connsiteY9" fmla="*/ 221423 h 266861"/>
                <a:gd name="connsiteX10" fmla="*/ 253886 w 563879"/>
                <a:gd name="connsiteY10" fmla="*/ 229348 h 266861"/>
                <a:gd name="connsiteX11" fmla="*/ 424940 w 563879"/>
                <a:gd name="connsiteY11" fmla="*/ 266263 h 266861"/>
                <a:gd name="connsiteX12" fmla="*/ 441682 w 563879"/>
                <a:gd name="connsiteY12" fmla="*/ 266861 h 266861"/>
                <a:gd name="connsiteX13" fmla="*/ 542348 w 563879"/>
                <a:gd name="connsiteY13" fmla="*/ 227129 h 266861"/>
                <a:gd name="connsiteX14" fmla="*/ 560325 w 563879"/>
                <a:gd name="connsiteY14" fmla="*/ 139739 h 266861"/>
                <a:gd name="connsiteX15" fmla="*/ 425011 w 563879"/>
                <a:gd name="connsiteY15" fmla="*/ 48862 h 266861"/>
                <a:gd name="connsiteX16" fmla="*/ 345740 w 563879"/>
                <a:gd name="connsiteY16" fmla="*/ 24170 h 266861"/>
                <a:gd name="connsiteX17" fmla="*/ 141341 w 563879"/>
                <a:gd name="connsiteY17" fmla="*/ 29912 h 266861"/>
                <a:gd name="connsiteX18" fmla="*/ 20866 w 563879"/>
                <a:gd name="connsiteY18" fmla="*/ 120613 h 266861"/>
                <a:gd name="connsiteX19" fmla="*/ 0 w 563879"/>
                <a:gd name="connsiteY19" fmla="*/ 137485 h 266861"/>
                <a:gd name="connsiteX20" fmla="*/ 36305 w 563879"/>
                <a:gd name="connsiteY20" fmla="*/ 190532 h 266861"/>
                <a:gd name="connsiteX21" fmla="*/ 61189 w 563879"/>
                <a:gd name="connsiteY21" fmla="*/ 170384 h 266861"/>
                <a:gd name="connsiteX22" fmla="*/ 61260 w 563879"/>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9" h="26686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0" y="126213"/>
                    <a:pt x="492932" y="135407"/>
                    <a:pt x="498360" y="156083"/>
                  </a:cubicBezTo>
                  <a:cubicBezTo>
                    <a:pt x="499805" y="161507"/>
                    <a:pt x="502131" y="175280"/>
                    <a:pt x="493002" y="186305"/>
                  </a:cubicBezTo>
                  <a:cubicBezTo>
                    <a:pt x="482605" y="198844"/>
                    <a:pt x="460117" y="204516"/>
                    <a:pt x="429452" y="202402"/>
                  </a:cubicBezTo>
                  <a:cubicBezTo>
                    <a:pt x="406753" y="200817"/>
                    <a:pt x="319480" y="180035"/>
                    <a:pt x="269782" y="167319"/>
                  </a:cubicBezTo>
                  <a:lnTo>
                    <a:pt x="238729" y="159394"/>
                  </a:lnTo>
                  <a:lnTo>
                    <a:pt x="222833" y="221423"/>
                  </a:lnTo>
                  <a:lnTo>
                    <a:pt x="253886" y="229348"/>
                  </a:lnTo>
                  <a:cubicBezTo>
                    <a:pt x="267597" y="232871"/>
                    <a:pt x="389058" y="263762"/>
                    <a:pt x="424940" y="266263"/>
                  </a:cubicBezTo>
                  <a:cubicBezTo>
                    <a:pt x="430791" y="266685"/>
                    <a:pt x="436325" y="266861"/>
                    <a:pt x="441682" y="266861"/>
                  </a:cubicBezTo>
                  <a:cubicBezTo>
                    <a:pt x="497161" y="266861"/>
                    <a:pt x="526910" y="245762"/>
                    <a:pt x="542348" y="227129"/>
                  </a:cubicBezTo>
                  <a:cubicBezTo>
                    <a:pt x="562157" y="203247"/>
                    <a:pt x="568678" y="171370"/>
                    <a:pt x="560325" y="139739"/>
                  </a:cubicBezTo>
                  <a:cubicBezTo>
                    <a:pt x="545274" y="82747"/>
                    <a:pt x="489548" y="67038"/>
                    <a:pt x="425011"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45" name="Freihandform 44">
              <a:extLst>
                <a:ext uri="{FF2B5EF4-FFF2-40B4-BE49-F238E27FC236}">
                  <a16:creationId xmlns:a16="http://schemas.microsoft.com/office/drawing/2014/main" id="{C3BAFAAE-88F3-43A7-1694-5393E4D4A169}"/>
                </a:ext>
              </a:extLst>
            </p:cNvPr>
            <p:cNvSpPr/>
            <p:nvPr/>
          </p:nvSpPr>
          <p:spPr>
            <a:xfrm>
              <a:off x="7927796" y="2961604"/>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2 h 477173"/>
                <a:gd name="connsiteX5" fmla="*/ 422720 w 799690"/>
                <a:gd name="connsiteY5" fmla="*/ 138674 h 477173"/>
                <a:gd name="connsiteX6" fmla="*/ 446265 w 799690"/>
                <a:gd name="connsiteY6" fmla="*/ 199012 h 477173"/>
                <a:gd name="connsiteX7" fmla="*/ 475484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4 h 477173"/>
                <a:gd name="connsiteX16" fmla="*/ 99750 w 799690"/>
                <a:gd name="connsiteY16" fmla="*/ 372171 h 477173"/>
                <a:gd name="connsiteX17" fmla="*/ 0 w 799690"/>
                <a:gd name="connsiteY17" fmla="*/ 416518 h 477173"/>
                <a:gd name="connsiteX18" fmla="*/ 36868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2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61" y="-33077"/>
                    <a:pt x="666842" y="5881"/>
                    <a:pt x="581861" y="51002"/>
                  </a:cubicBezTo>
                  <a:cubicBezTo>
                    <a:pt x="571921" y="56286"/>
                    <a:pt x="561452" y="61851"/>
                    <a:pt x="550420" y="67557"/>
                  </a:cubicBezTo>
                  <a:lnTo>
                    <a:pt x="550702" y="68121"/>
                  </a:lnTo>
                  <a:cubicBezTo>
                    <a:pt x="537872" y="74250"/>
                    <a:pt x="510838" y="89361"/>
                    <a:pt x="444185" y="126662"/>
                  </a:cubicBezTo>
                  <a:lnTo>
                    <a:pt x="422720" y="138674"/>
                  </a:lnTo>
                  <a:lnTo>
                    <a:pt x="446265" y="199012"/>
                  </a:lnTo>
                  <a:lnTo>
                    <a:pt x="475484"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50"/>
                    <a:pt x="434386" y="332650"/>
                    <a:pt x="397377" y="359773"/>
                  </a:cubicBezTo>
                  <a:cubicBezTo>
                    <a:pt x="338162" y="403168"/>
                    <a:pt x="309329" y="415990"/>
                    <a:pt x="278735" y="412643"/>
                  </a:cubicBezTo>
                  <a:cubicBezTo>
                    <a:pt x="244757" y="408910"/>
                    <a:pt x="145888" y="384218"/>
                    <a:pt x="110676" y="375024"/>
                  </a:cubicBezTo>
                  <a:lnTo>
                    <a:pt x="99750" y="372171"/>
                  </a:lnTo>
                  <a:lnTo>
                    <a:pt x="0" y="416518"/>
                  </a:lnTo>
                  <a:lnTo>
                    <a:pt x="36868"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21"/>
                    <a:pt x="718796" y="213876"/>
                    <a:pt x="737336" y="202252"/>
                  </a:cubicBezTo>
                  <a:cubicBezTo>
                    <a:pt x="806280" y="159033"/>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69" name="Gruppieren 68">
            <a:extLst>
              <a:ext uri="{FF2B5EF4-FFF2-40B4-BE49-F238E27FC236}">
                <a16:creationId xmlns:a16="http://schemas.microsoft.com/office/drawing/2014/main" id="{54439FFF-9A3A-25C0-8D22-54D35A32C9F0}"/>
              </a:ext>
            </a:extLst>
          </p:cNvPr>
          <p:cNvGrpSpPr/>
          <p:nvPr/>
        </p:nvGrpSpPr>
        <p:grpSpPr>
          <a:xfrm>
            <a:off x="8598303" y="4019755"/>
            <a:ext cx="1210990" cy="1210178"/>
            <a:chOff x="8598303" y="4019755"/>
            <a:chExt cx="1210990" cy="1210178"/>
          </a:xfrm>
        </p:grpSpPr>
        <p:sp>
          <p:nvSpPr>
            <p:cNvPr id="46" name="Freihandform 45">
              <a:extLst>
                <a:ext uri="{FF2B5EF4-FFF2-40B4-BE49-F238E27FC236}">
                  <a16:creationId xmlns:a16="http://schemas.microsoft.com/office/drawing/2014/main" id="{0DBEA92A-77B4-EC72-15CF-1907936FD9D1}"/>
                </a:ext>
              </a:extLst>
            </p:cNvPr>
            <p:cNvSpPr/>
            <p:nvPr/>
          </p:nvSpPr>
          <p:spPr>
            <a:xfrm>
              <a:off x="9099659" y="4019755"/>
              <a:ext cx="550490" cy="653469"/>
            </a:xfrm>
            <a:custGeom>
              <a:avLst/>
              <a:gdLst>
                <a:gd name="connsiteX0" fmla="*/ 281660 w 550490"/>
                <a:gd name="connsiteY0" fmla="*/ 457872 h 653469"/>
                <a:gd name="connsiteX1" fmla="*/ 275563 w 550490"/>
                <a:gd name="connsiteY1" fmla="*/ 463684 h 653469"/>
                <a:gd name="connsiteX2" fmla="*/ 269571 w 550490"/>
                <a:gd name="connsiteY2" fmla="*/ 458013 h 653469"/>
                <a:gd name="connsiteX3" fmla="*/ 171055 w 550490"/>
                <a:gd name="connsiteY3" fmla="*/ 457731 h 653469"/>
                <a:gd name="connsiteX4" fmla="*/ 149977 w 550490"/>
                <a:gd name="connsiteY4" fmla="*/ 505283 h 653469"/>
                <a:gd name="connsiteX5" fmla="*/ 170879 w 550490"/>
                <a:gd name="connsiteY5" fmla="*/ 553786 h 653469"/>
                <a:gd name="connsiteX6" fmla="*/ 276021 w 550490"/>
                <a:gd name="connsiteY6" fmla="*/ 653469 h 653469"/>
                <a:gd name="connsiteX7" fmla="*/ 362623 w 550490"/>
                <a:gd name="connsiteY7" fmla="*/ 570870 h 653469"/>
                <a:gd name="connsiteX8" fmla="*/ 380776 w 550490"/>
                <a:gd name="connsiteY8" fmla="*/ 553646 h 653469"/>
                <a:gd name="connsiteX9" fmla="*/ 401148 w 550490"/>
                <a:gd name="connsiteY9" fmla="*/ 505142 h 653469"/>
                <a:gd name="connsiteX10" fmla="*/ 380317 w 550490"/>
                <a:gd name="connsiteY10" fmla="*/ 458013 h 653469"/>
                <a:gd name="connsiteX11" fmla="*/ 281660 w 550490"/>
                <a:gd name="connsiteY11" fmla="*/ 457872 h 653469"/>
                <a:gd name="connsiteX12" fmla="*/ 366606 w 550490"/>
                <a:gd name="connsiteY12" fmla="*/ 505530 h 653469"/>
                <a:gd name="connsiteX13" fmla="*/ 356772 w 550490"/>
                <a:gd name="connsiteY13" fmla="*/ 528848 h 653469"/>
                <a:gd name="connsiteX14" fmla="*/ 275950 w 550490"/>
                <a:gd name="connsiteY14" fmla="*/ 605847 h 653469"/>
                <a:gd name="connsiteX15" fmla="*/ 194635 w 550490"/>
                <a:gd name="connsiteY15" fmla="*/ 528778 h 653469"/>
                <a:gd name="connsiteX16" fmla="*/ 184484 w 550490"/>
                <a:gd name="connsiteY16" fmla="*/ 505530 h 653469"/>
                <a:gd name="connsiteX17" fmla="*/ 194635 w 550490"/>
                <a:gd name="connsiteY17" fmla="*/ 482952 h 653469"/>
                <a:gd name="connsiteX18" fmla="*/ 220260 w 550490"/>
                <a:gd name="connsiteY18" fmla="*/ 473019 h 653469"/>
                <a:gd name="connsiteX19" fmla="*/ 245602 w 550490"/>
                <a:gd name="connsiteY19" fmla="*/ 482952 h 653469"/>
                <a:gd name="connsiteX20" fmla="*/ 275527 w 550490"/>
                <a:gd name="connsiteY20" fmla="*/ 511271 h 653469"/>
                <a:gd name="connsiteX21" fmla="*/ 305417 w 550490"/>
                <a:gd name="connsiteY21" fmla="*/ 482952 h 653469"/>
                <a:gd name="connsiteX22" fmla="*/ 356525 w 550490"/>
                <a:gd name="connsiteY22" fmla="*/ 483092 h 653469"/>
                <a:gd name="connsiteX23" fmla="*/ 366571 w 550490"/>
                <a:gd name="connsiteY23" fmla="*/ 505565 h 653469"/>
                <a:gd name="connsiteX24" fmla="*/ 34542 w 550490"/>
                <a:gd name="connsiteY24" fmla="*/ 577562 h 653469"/>
                <a:gd name="connsiteX25" fmla="*/ 273977 w 550490"/>
                <a:gd name="connsiteY25" fmla="*/ 319725 h 653469"/>
                <a:gd name="connsiteX26" fmla="*/ 275563 w 550490"/>
                <a:gd name="connsiteY26" fmla="*/ 319796 h 653469"/>
                <a:gd name="connsiteX27" fmla="*/ 277184 w 550490"/>
                <a:gd name="connsiteY27" fmla="*/ 319725 h 653469"/>
                <a:gd name="connsiteX28" fmla="*/ 456275 w 550490"/>
                <a:gd name="connsiteY28" fmla="*/ 400493 h 653469"/>
                <a:gd name="connsiteX29" fmla="*/ 516583 w 550490"/>
                <a:gd name="connsiteY29" fmla="*/ 577598 h 653469"/>
                <a:gd name="connsiteX30" fmla="*/ 550491 w 550490"/>
                <a:gd name="connsiteY30" fmla="*/ 560303 h 653469"/>
                <a:gd name="connsiteX31" fmla="*/ 358464 w 550490"/>
                <a:gd name="connsiteY31" fmla="*/ 296513 h 653469"/>
                <a:gd name="connsiteX32" fmla="*/ 435620 w 550490"/>
                <a:gd name="connsiteY32" fmla="*/ 159915 h 653469"/>
                <a:gd name="connsiteX33" fmla="*/ 275563 w 550490"/>
                <a:gd name="connsiteY33" fmla="*/ 0 h 653469"/>
                <a:gd name="connsiteX34" fmla="*/ 115540 w 550490"/>
                <a:gd name="connsiteY34" fmla="*/ 159915 h 653469"/>
                <a:gd name="connsiteX35" fmla="*/ 192555 w 550490"/>
                <a:gd name="connsiteY35" fmla="*/ 296442 h 653469"/>
                <a:gd name="connsiteX36" fmla="*/ 0 w 550490"/>
                <a:gd name="connsiteY36" fmla="*/ 577598 h 653469"/>
                <a:gd name="connsiteX37" fmla="*/ 0 w 550490"/>
                <a:gd name="connsiteY37" fmla="*/ 583550 h 653469"/>
                <a:gd name="connsiteX38" fmla="*/ 33978 w 550490"/>
                <a:gd name="connsiteY38" fmla="*/ 590102 h 653469"/>
                <a:gd name="connsiteX39" fmla="*/ 34542 w 550490"/>
                <a:gd name="connsiteY39" fmla="*/ 577633 h 653469"/>
                <a:gd name="connsiteX40" fmla="*/ 34542 w 550490"/>
                <a:gd name="connsiteY40" fmla="*/ 577562 h 653469"/>
                <a:gd name="connsiteX41" fmla="*/ 150083 w 550490"/>
                <a:gd name="connsiteY41" fmla="*/ 159880 h 653469"/>
                <a:gd name="connsiteX42" fmla="*/ 275563 w 550490"/>
                <a:gd name="connsiteY42" fmla="*/ 34484 h 653469"/>
                <a:gd name="connsiteX43" fmla="*/ 401043 w 550490"/>
                <a:gd name="connsiteY43" fmla="*/ 159880 h 653469"/>
                <a:gd name="connsiteX44" fmla="*/ 277642 w 550490"/>
                <a:gd name="connsiteY44" fmla="*/ 285206 h 653469"/>
                <a:gd name="connsiteX45" fmla="*/ 275563 w 550490"/>
                <a:gd name="connsiteY45" fmla="*/ 285171 h 653469"/>
                <a:gd name="connsiteX46" fmla="*/ 273483 w 550490"/>
                <a:gd name="connsiteY46" fmla="*/ 285206 h 653469"/>
                <a:gd name="connsiteX47" fmla="*/ 150083 w 550490"/>
                <a:gd name="connsiteY47" fmla="*/ 159880 h 65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50490" h="653469">
                  <a:moveTo>
                    <a:pt x="281660" y="457872"/>
                  </a:moveTo>
                  <a:lnTo>
                    <a:pt x="275563" y="463684"/>
                  </a:lnTo>
                  <a:lnTo>
                    <a:pt x="269571" y="458013"/>
                  </a:lnTo>
                  <a:cubicBezTo>
                    <a:pt x="242642" y="431913"/>
                    <a:pt x="198336" y="431842"/>
                    <a:pt x="171055" y="457731"/>
                  </a:cubicBezTo>
                  <a:cubicBezTo>
                    <a:pt x="157590" y="470236"/>
                    <a:pt x="150083" y="487143"/>
                    <a:pt x="149977" y="505283"/>
                  </a:cubicBezTo>
                  <a:cubicBezTo>
                    <a:pt x="149871" y="523670"/>
                    <a:pt x="157308" y="540894"/>
                    <a:pt x="170879" y="553786"/>
                  </a:cubicBezTo>
                  <a:lnTo>
                    <a:pt x="276021" y="653469"/>
                  </a:lnTo>
                  <a:lnTo>
                    <a:pt x="362623" y="570870"/>
                  </a:lnTo>
                  <a:lnTo>
                    <a:pt x="380776" y="553646"/>
                  </a:lnTo>
                  <a:cubicBezTo>
                    <a:pt x="394099" y="540683"/>
                    <a:pt x="401360" y="523494"/>
                    <a:pt x="401148" y="505142"/>
                  </a:cubicBezTo>
                  <a:cubicBezTo>
                    <a:pt x="400937" y="487037"/>
                    <a:pt x="393464" y="470165"/>
                    <a:pt x="380317" y="458013"/>
                  </a:cubicBezTo>
                  <a:cubicBezTo>
                    <a:pt x="353388" y="431913"/>
                    <a:pt x="309153" y="431842"/>
                    <a:pt x="281660" y="457872"/>
                  </a:cubicBezTo>
                  <a:moveTo>
                    <a:pt x="366606" y="505530"/>
                  </a:moveTo>
                  <a:cubicBezTo>
                    <a:pt x="366712" y="514301"/>
                    <a:pt x="363222" y="522543"/>
                    <a:pt x="356772" y="528848"/>
                  </a:cubicBezTo>
                  <a:lnTo>
                    <a:pt x="275950" y="605847"/>
                  </a:lnTo>
                  <a:lnTo>
                    <a:pt x="194635" y="528778"/>
                  </a:lnTo>
                  <a:cubicBezTo>
                    <a:pt x="188009" y="522508"/>
                    <a:pt x="184413" y="514265"/>
                    <a:pt x="184484" y="505530"/>
                  </a:cubicBezTo>
                  <a:cubicBezTo>
                    <a:pt x="184554" y="497006"/>
                    <a:pt x="188079" y="489045"/>
                    <a:pt x="194635" y="482952"/>
                  </a:cubicBezTo>
                  <a:cubicBezTo>
                    <a:pt x="201614" y="476330"/>
                    <a:pt x="210955" y="473019"/>
                    <a:pt x="220260" y="473019"/>
                  </a:cubicBezTo>
                  <a:cubicBezTo>
                    <a:pt x="229565" y="473019"/>
                    <a:pt x="238764" y="476330"/>
                    <a:pt x="245602" y="482952"/>
                  </a:cubicBezTo>
                  <a:lnTo>
                    <a:pt x="275527" y="511271"/>
                  </a:lnTo>
                  <a:lnTo>
                    <a:pt x="305417" y="482952"/>
                  </a:lnTo>
                  <a:cubicBezTo>
                    <a:pt x="319375" y="469743"/>
                    <a:pt x="342673" y="469637"/>
                    <a:pt x="356525" y="483092"/>
                  </a:cubicBezTo>
                  <a:cubicBezTo>
                    <a:pt x="362905" y="489010"/>
                    <a:pt x="366500" y="497006"/>
                    <a:pt x="366571" y="505565"/>
                  </a:cubicBezTo>
                  <a:moveTo>
                    <a:pt x="34542" y="577562"/>
                  </a:moveTo>
                  <a:cubicBezTo>
                    <a:pt x="34860" y="453575"/>
                    <a:pt x="109830" y="320570"/>
                    <a:pt x="273977" y="319725"/>
                  </a:cubicBezTo>
                  <a:cubicBezTo>
                    <a:pt x="274505" y="319725"/>
                    <a:pt x="275034" y="319796"/>
                    <a:pt x="275563" y="319796"/>
                  </a:cubicBezTo>
                  <a:cubicBezTo>
                    <a:pt x="276127" y="319796"/>
                    <a:pt x="276655" y="319725"/>
                    <a:pt x="277184" y="319725"/>
                  </a:cubicBezTo>
                  <a:cubicBezTo>
                    <a:pt x="351203" y="320113"/>
                    <a:pt x="413132" y="347975"/>
                    <a:pt x="456275" y="400493"/>
                  </a:cubicBezTo>
                  <a:cubicBezTo>
                    <a:pt x="494448" y="446918"/>
                    <a:pt x="516371" y="511447"/>
                    <a:pt x="516583" y="577598"/>
                  </a:cubicBezTo>
                  <a:lnTo>
                    <a:pt x="550491" y="560303"/>
                  </a:lnTo>
                  <a:cubicBezTo>
                    <a:pt x="543512" y="448080"/>
                    <a:pt x="480419" y="331948"/>
                    <a:pt x="358464" y="296513"/>
                  </a:cubicBezTo>
                  <a:cubicBezTo>
                    <a:pt x="404638" y="268475"/>
                    <a:pt x="435620" y="217894"/>
                    <a:pt x="435620" y="159915"/>
                  </a:cubicBezTo>
                  <a:cubicBezTo>
                    <a:pt x="435620" y="71610"/>
                    <a:pt x="363998" y="0"/>
                    <a:pt x="275563" y="0"/>
                  </a:cubicBezTo>
                  <a:cubicBezTo>
                    <a:pt x="187127" y="0"/>
                    <a:pt x="115540" y="71610"/>
                    <a:pt x="115540" y="159915"/>
                  </a:cubicBezTo>
                  <a:cubicBezTo>
                    <a:pt x="115540" y="217858"/>
                    <a:pt x="146452" y="268404"/>
                    <a:pt x="192555" y="296442"/>
                  </a:cubicBezTo>
                  <a:cubicBezTo>
                    <a:pt x="62811" y="333920"/>
                    <a:pt x="282" y="458999"/>
                    <a:pt x="0" y="577598"/>
                  </a:cubicBezTo>
                  <a:lnTo>
                    <a:pt x="0" y="583550"/>
                  </a:lnTo>
                  <a:lnTo>
                    <a:pt x="33978" y="590102"/>
                  </a:lnTo>
                  <a:lnTo>
                    <a:pt x="34542" y="577633"/>
                  </a:lnTo>
                  <a:lnTo>
                    <a:pt x="34542" y="577562"/>
                  </a:lnTo>
                  <a:close/>
                  <a:moveTo>
                    <a:pt x="150083" y="159880"/>
                  </a:moveTo>
                  <a:cubicBezTo>
                    <a:pt x="150083" y="90736"/>
                    <a:pt x="206372" y="34484"/>
                    <a:pt x="275563" y="34484"/>
                  </a:cubicBezTo>
                  <a:cubicBezTo>
                    <a:pt x="344753" y="34484"/>
                    <a:pt x="401043" y="90736"/>
                    <a:pt x="401043" y="159880"/>
                  </a:cubicBezTo>
                  <a:cubicBezTo>
                    <a:pt x="401043" y="229024"/>
                    <a:pt x="345845" y="284044"/>
                    <a:pt x="277642" y="285206"/>
                  </a:cubicBezTo>
                  <a:cubicBezTo>
                    <a:pt x="276937" y="285206"/>
                    <a:pt x="276268" y="285171"/>
                    <a:pt x="275563" y="285171"/>
                  </a:cubicBezTo>
                  <a:cubicBezTo>
                    <a:pt x="274858" y="285171"/>
                    <a:pt x="274188" y="285206"/>
                    <a:pt x="273483" y="285206"/>
                  </a:cubicBezTo>
                  <a:cubicBezTo>
                    <a:pt x="205245" y="284079"/>
                    <a:pt x="150083" y="228320"/>
                    <a:pt x="150083" y="159880"/>
                  </a:cubicBezTo>
                </a:path>
              </a:pathLst>
            </a:custGeom>
            <a:solidFill>
              <a:srgbClr val="FFFFFF"/>
            </a:solidFill>
            <a:ln w="3521" cap="flat">
              <a:noFill/>
              <a:prstDash val="solid"/>
              <a:miter/>
            </a:ln>
          </p:spPr>
          <p:txBody>
            <a:bodyPr rtlCol="0" anchor="ctr"/>
            <a:lstStyle/>
            <a:p>
              <a:endParaRPr lang="de-DE"/>
            </a:p>
          </p:txBody>
        </p:sp>
        <p:sp>
          <p:nvSpPr>
            <p:cNvPr id="47" name="Freihandform 46">
              <a:extLst>
                <a:ext uri="{FF2B5EF4-FFF2-40B4-BE49-F238E27FC236}">
                  <a16:creationId xmlns:a16="http://schemas.microsoft.com/office/drawing/2014/main" id="{8180F0CC-7BCC-4164-AB40-CA67C87FF4F7}"/>
                </a:ext>
              </a:extLst>
            </p:cNvPr>
            <p:cNvSpPr/>
            <p:nvPr/>
          </p:nvSpPr>
          <p:spPr>
            <a:xfrm>
              <a:off x="8598303" y="4737472"/>
              <a:ext cx="438651" cy="492461"/>
            </a:xfrm>
            <a:custGeom>
              <a:avLst/>
              <a:gdLst>
                <a:gd name="connsiteX0" fmla="*/ 0 w 438651"/>
                <a:gd name="connsiteY0" fmla="*/ 116309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09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09"/>
                  </a:moveTo>
                  <a:lnTo>
                    <a:pt x="34754" y="170130"/>
                  </a:lnTo>
                  <a:lnTo>
                    <a:pt x="162913" y="87496"/>
                  </a:lnTo>
                  <a:lnTo>
                    <a:pt x="352049" y="361782"/>
                  </a:lnTo>
                  <a:lnTo>
                    <a:pt x="251277" y="442479"/>
                  </a:lnTo>
                  <a:lnTo>
                    <a:pt x="291353" y="492462"/>
                  </a:lnTo>
                  <a:lnTo>
                    <a:pt x="438651" y="374498"/>
                  </a:lnTo>
                  <a:lnTo>
                    <a:pt x="180430" y="0"/>
                  </a:lnTo>
                  <a:lnTo>
                    <a:pt x="0" y="116309"/>
                  </a:lnTo>
                  <a:close/>
                </a:path>
              </a:pathLst>
            </a:custGeom>
            <a:solidFill>
              <a:srgbClr val="FFFFFF"/>
            </a:solidFill>
            <a:ln w="3521" cap="flat">
              <a:noFill/>
              <a:prstDash val="solid"/>
              <a:miter/>
            </a:ln>
          </p:spPr>
          <p:txBody>
            <a:bodyPr rtlCol="0" anchor="ctr"/>
            <a:lstStyle/>
            <a:p>
              <a:endParaRPr lang="de-DE"/>
            </a:p>
          </p:txBody>
        </p:sp>
        <p:sp>
          <p:nvSpPr>
            <p:cNvPr id="48" name="Freihandform 47">
              <a:extLst>
                <a:ext uri="{FF2B5EF4-FFF2-40B4-BE49-F238E27FC236}">
                  <a16:creationId xmlns:a16="http://schemas.microsoft.com/office/drawing/2014/main" id="{960B6F57-90F1-6CE4-9DB0-1C58DAE4641B}"/>
                </a:ext>
              </a:extLst>
            </p:cNvPr>
            <p:cNvSpPr/>
            <p:nvPr/>
          </p:nvSpPr>
          <p:spPr>
            <a:xfrm>
              <a:off x="8845598" y="4628413"/>
              <a:ext cx="563872" cy="266861"/>
            </a:xfrm>
            <a:custGeom>
              <a:avLst/>
              <a:gdLst>
                <a:gd name="connsiteX0" fmla="*/ 61259 w 563872"/>
                <a:gd name="connsiteY0" fmla="*/ 170384 h 266861"/>
                <a:gd name="connsiteX1" fmla="*/ 176624 w 563872"/>
                <a:gd name="connsiteY1" fmla="*/ 83381 h 266861"/>
                <a:gd name="connsiteX2" fmla="*/ 323851 w 563872"/>
                <a:gd name="connsiteY2" fmla="*/ 84332 h 266861"/>
                <a:gd name="connsiteX3" fmla="*/ 407634 w 563872"/>
                <a:gd name="connsiteY3" fmla="*/ 110468 h 266861"/>
                <a:gd name="connsiteX4" fmla="*/ 498360 w 563872"/>
                <a:gd name="connsiteY4" fmla="*/ 156083 h 266861"/>
                <a:gd name="connsiteX5" fmla="*/ 493002 w 563872"/>
                <a:gd name="connsiteY5" fmla="*/ 186305 h 266861"/>
                <a:gd name="connsiteX6" fmla="*/ 429452 w 563872"/>
                <a:gd name="connsiteY6" fmla="*/ 202402 h 266861"/>
                <a:gd name="connsiteX7" fmla="*/ 269782 w 563872"/>
                <a:gd name="connsiteY7" fmla="*/ 167319 h 266861"/>
                <a:gd name="connsiteX8" fmla="*/ 238729 w 563872"/>
                <a:gd name="connsiteY8" fmla="*/ 159394 h 266861"/>
                <a:gd name="connsiteX9" fmla="*/ 222833 w 563872"/>
                <a:gd name="connsiteY9" fmla="*/ 221423 h 266861"/>
                <a:gd name="connsiteX10" fmla="*/ 253885 w 563872"/>
                <a:gd name="connsiteY10" fmla="*/ 229348 h 266861"/>
                <a:gd name="connsiteX11" fmla="*/ 424940 w 563872"/>
                <a:gd name="connsiteY11" fmla="*/ 266262 h 266861"/>
                <a:gd name="connsiteX12" fmla="*/ 441683 w 563872"/>
                <a:gd name="connsiteY12" fmla="*/ 266861 h 266861"/>
                <a:gd name="connsiteX13" fmla="*/ 542349 w 563872"/>
                <a:gd name="connsiteY13" fmla="*/ 227129 h 266861"/>
                <a:gd name="connsiteX14" fmla="*/ 560325 w 563872"/>
                <a:gd name="connsiteY14" fmla="*/ 139739 h 266861"/>
                <a:gd name="connsiteX15" fmla="*/ 425010 w 563872"/>
                <a:gd name="connsiteY15" fmla="*/ 48862 h 266861"/>
                <a:gd name="connsiteX16" fmla="*/ 345740 w 563872"/>
                <a:gd name="connsiteY16" fmla="*/ 24170 h 266861"/>
                <a:gd name="connsiteX17" fmla="*/ 141341 w 563872"/>
                <a:gd name="connsiteY17" fmla="*/ 29912 h 266861"/>
                <a:gd name="connsiteX18" fmla="*/ 20866 w 563872"/>
                <a:gd name="connsiteY18" fmla="*/ 120613 h 266861"/>
                <a:gd name="connsiteX19" fmla="*/ 0 w 563872"/>
                <a:gd name="connsiteY19" fmla="*/ 137485 h 266861"/>
                <a:gd name="connsiteX20" fmla="*/ 36305 w 563872"/>
                <a:gd name="connsiteY20" fmla="*/ 190532 h 266861"/>
                <a:gd name="connsiteX21" fmla="*/ 61189 w 563872"/>
                <a:gd name="connsiteY21" fmla="*/ 170384 h 266861"/>
                <a:gd name="connsiteX22" fmla="*/ 61260 w 563872"/>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861">
                  <a:moveTo>
                    <a:pt x="61259"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4" y="198844"/>
                    <a:pt x="460117" y="204516"/>
                    <a:pt x="429452" y="202402"/>
                  </a:cubicBezTo>
                  <a:cubicBezTo>
                    <a:pt x="406752" y="200817"/>
                    <a:pt x="319445" y="180035"/>
                    <a:pt x="269782" y="167319"/>
                  </a:cubicBezTo>
                  <a:lnTo>
                    <a:pt x="238729" y="159394"/>
                  </a:lnTo>
                  <a:lnTo>
                    <a:pt x="222833" y="221423"/>
                  </a:lnTo>
                  <a:lnTo>
                    <a:pt x="253885" y="229348"/>
                  </a:lnTo>
                  <a:cubicBezTo>
                    <a:pt x="267632" y="232871"/>
                    <a:pt x="389058" y="263726"/>
                    <a:pt x="424940" y="266262"/>
                  </a:cubicBezTo>
                  <a:cubicBezTo>
                    <a:pt x="430756" y="266685"/>
                    <a:pt x="436325" y="266861"/>
                    <a:pt x="441683" y="266861"/>
                  </a:cubicBezTo>
                  <a:cubicBezTo>
                    <a:pt x="497162" y="266861"/>
                    <a:pt x="526910" y="245762"/>
                    <a:pt x="542349" y="227129"/>
                  </a:cubicBezTo>
                  <a:cubicBezTo>
                    <a:pt x="562122" y="203247"/>
                    <a:pt x="568678" y="171405"/>
                    <a:pt x="560325" y="139739"/>
                  </a:cubicBezTo>
                  <a:cubicBezTo>
                    <a:pt x="545274" y="82747"/>
                    <a:pt x="489548" y="67038"/>
                    <a:pt x="425010"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49" name="Freihandform 48">
              <a:extLst>
                <a:ext uri="{FF2B5EF4-FFF2-40B4-BE49-F238E27FC236}">
                  <a16:creationId xmlns:a16="http://schemas.microsoft.com/office/drawing/2014/main" id="{43C83537-419E-83A2-6A96-4075277663D3}"/>
                </a:ext>
              </a:extLst>
            </p:cNvPr>
            <p:cNvSpPr/>
            <p:nvPr/>
          </p:nvSpPr>
          <p:spPr>
            <a:xfrm>
              <a:off x="9009603" y="4586682"/>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3 h 477173"/>
                <a:gd name="connsiteX5" fmla="*/ 422720 w 799690"/>
                <a:gd name="connsiteY5" fmla="*/ 138674 h 477173"/>
                <a:gd name="connsiteX6" fmla="*/ 446265 w 799690"/>
                <a:gd name="connsiteY6" fmla="*/ 199012 h 477173"/>
                <a:gd name="connsiteX7" fmla="*/ 475485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5 h 477173"/>
                <a:gd name="connsiteX16" fmla="*/ 99750 w 799690"/>
                <a:gd name="connsiteY16" fmla="*/ 372171 h 477173"/>
                <a:gd name="connsiteX17" fmla="*/ 0 w 799690"/>
                <a:gd name="connsiteY17" fmla="*/ 416518 h 477173"/>
                <a:gd name="connsiteX18" fmla="*/ 36869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3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26" y="-33077"/>
                    <a:pt x="666842" y="5881"/>
                    <a:pt x="581861" y="51002"/>
                  </a:cubicBezTo>
                  <a:cubicBezTo>
                    <a:pt x="571921" y="56286"/>
                    <a:pt x="561452" y="61851"/>
                    <a:pt x="550420" y="67557"/>
                  </a:cubicBezTo>
                  <a:lnTo>
                    <a:pt x="550702" y="68121"/>
                  </a:lnTo>
                  <a:cubicBezTo>
                    <a:pt x="537872" y="74250"/>
                    <a:pt x="510838" y="89361"/>
                    <a:pt x="444185" y="126663"/>
                  </a:cubicBezTo>
                  <a:lnTo>
                    <a:pt x="422720" y="138674"/>
                  </a:lnTo>
                  <a:lnTo>
                    <a:pt x="446265" y="199012"/>
                  </a:lnTo>
                  <a:lnTo>
                    <a:pt x="475485"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85"/>
                    <a:pt x="434386" y="332650"/>
                    <a:pt x="397377" y="359773"/>
                  </a:cubicBezTo>
                  <a:cubicBezTo>
                    <a:pt x="338162" y="403168"/>
                    <a:pt x="309329" y="415990"/>
                    <a:pt x="278735" y="412643"/>
                  </a:cubicBezTo>
                  <a:cubicBezTo>
                    <a:pt x="244757" y="408910"/>
                    <a:pt x="145888" y="384218"/>
                    <a:pt x="110676" y="375025"/>
                  </a:cubicBezTo>
                  <a:lnTo>
                    <a:pt x="99750" y="372171"/>
                  </a:lnTo>
                  <a:lnTo>
                    <a:pt x="0" y="416518"/>
                  </a:lnTo>
                  <a:lnTo>
                    <a:pt x="36869"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57"/>
                    <a:pt x="718796" y="213876"/>
                    <a:pt x="737336" y="202253"/>
                  </a:cubicBezTo>
                  <a:cubicBezTo>
                    <a:pt x="806280" y="159068"/>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70" name="Gruppieren 69">
            <a:extLst>
              <a:ext uri="{FF2B5EF4-FFF2-40B4-BE49-F238E27FC236}">
                <a16:creationId xmlns:a16="http://schemas.microsoft.com/office/drawing/2014/main" id="{97B2C27E-9364-E125-ADE7-480A62C6B4BE}"/>
              </a:ext>
            </a:extLst>
          </p:cNvPr>
          <p:cNvGrpSpPr/>
          <p:nvPr/>
        </p:nvGrpSpPr>
        <p:grpSpPr>
          <a:xfrm>
            <a:off x="6434690" y="4019650"/>
            <a:ext cx="1210919" cy="1210284"/>
            <a:chOff x="6434690" y="4019650"/>
            <a:chExt cx="1210919" cy="1210284"/>
          </a:xfrm>
        </p:grpSpPr>
        <p:sp>
          <p:nvSpPr>
            <p:cNvPr id="50" name="Freihandform 49">
              <a:extLst>
                <a:ext uri="{FF2B5EF4-FFF2-40B4-BE49-F238E27FC236}">
                  <a16:creationId xmlns:a16="http://schemas.microsoft.com/office/drawing/2014/main" id="{FEB36A71-E96A-5290-A301-2B2C0A3A510A}"/>
                </a:ext>
              </a:extLst>
            </p:cNvPr>
            <p:cNvSpPr/>
            <p:nvPr/>
          </p:nvSpPr>
          <p:spPr>
            <a:xfrm>
              <a:off x="6821387" y="4019650"/>
              <a:ext cx="624662" cy="594610"/>
            </a:xfrm>
            <a:custGeom>
              <a:avLst/>
              <a:gdLst>
                <a:gd name="connsiteX0" fmla="*/ 505480 w 624662"/>
                <a:gd name="connsiteY0" fmla="*/ 320183 h 594610"/>
                <a:gd name="connsiteX1" fmla="*/ 347044 w 624662"/>
                <a:gd name="connsiteY1" fmla="*/ 478548 h 594610"/>
                <a:gd name="connsiteX2" fmla="*/ 188608 w 624662"/>
                <a:gd name="connsiteY2" fmla="*/ 320183 h 594610"/>
                <a:gd name="connsiteX3" fmla="*/ 347044 w 624662"/>
                <a:gd name="connsiteY3" fmla="*/ 161817 h 594610"/>
                <a:gd name="connsiteX4" fmla="*/ 505480 w 624662"/>
                <a:gd name="connsiteY4" fmla="*/ 320183 h 594610"/>
                <a:gd name="connsiteX5" fmla="*/ 298685 w 624662"/>
                <a:gd name="connsiteY5" fmla="*/ 259669 h 594610"/>
                <a:gd name="connsiteX6" fmla="*/ 395368 w 624662"/>
                <a:gd name="connsiteY6" fmla="*/ 259669 h 594610"/>
                <a:gd name="connsiteX7" fmla="*/ 377321 w 624662"/>
                <a:gd name="connsiteY7" fmla="*/ 199859 h 594610"/>
                <a:gd name="connsiteX8" fmla="*/ 347009 w 624662"/>
                <a:gd name="connsiteY8" fmla="*/ 195984 h 594610"/>
                <a:gd name="connsiteX9" fmla="*/ 316696 w 624662"/>
                <a:gd name="connsiteY9" fmla="*/ 199859 h 594610"/>
                <a:gd name="connsiteX10" fmla="*/ 298649 w 624662"/>
                <a:gd name="connsiteY10" fmla="*/ 259669 h 594610"/>
                <a:gd name="connsiteX11" fmla="*/ 273342 w 624662"/>
                <a:gd name="connsiteY11" fmla="*/ 359352 h 594610"/>
                <a:gd name="connsiteX12" fmla="*/ 271298 w 624662"/>
                <a:gd name="connsiteY12" fmla="*/ 321803 h 594610"/>
                <a:gd name="connsiteX13" fmla="*/ 273730 w 624662"/>
                <a:gd name="connsiteY13" fmla="*/ 281014 h 594610"/>
                <a:gd name="connsiteX14" fmla="*/ 229212 w 624662"/>
                <a:gd name="connsiteY14" fmla="*/ 281014 h 594610"/>
                <a:gd name="connsiteX15" fmla="*/ 222762 w 624662"/>
                <a:gd name="connsiteY15" fmla="*/ 320183 h 594610"/>
                <a:gd name="connsiteX16" fmla="*/ 229212 w 624662"/>
                <a:gd name="connsiteY16" fmla="*/ 359352 h 594610"/>
                <a:gd name="connsiteX17" fmla="*/ 273342 w 624662"/>
                <a:gd name="connsiteY17" fmla="*/ 359352 h 594610"/>
                <a:gd name="connsiteX18" fmla="*/ 288604 w 624662"/>
                <a:gd name="connsiteY18" fmla="*/ 429729 h 594610"/>
                <a:gd name="connsiteX19" fmla="*/ 276373 w 624662"/>
                <a:gd name="connsiteY19" fmla="*/ 380697 h 594610"/>
                <a:gd name="connsiteX20" fmla="*/ 238623 w 624662"/>
                <a:gd name="connsiteY20" fmla="*/ 380697 h 594610"/>
                <a:gd name="connsiteX21" fmla="*/ 288604 w 624662"/>
                <a:gd name="connsiteY21" fmla="*/ 429729 h 594610"/>
                <a:gd name="connsiteX22" fmla="*/ 289943 w 624662"/>
                <a:gd name="connsiteY22" fmla="*/ 210003 h 594610"/>
                <a:gd name="connsiteX23" fmla="*/ 238623 w 624662"/>
                <a:gd name="connsiteY23" fmla="*/ 259669 h 594610"/>
                <a:gd name="connsiteX24" fmla="*/ 276972 w 624662"/>
                <a:gd name="connsiteY24" fmla="*/ 259669 h 594610"/>
                <a:gd name="connsiteX25" fmla="*/ 289943 w 624662"/>
                <a:gd name="connsiteY25" fmla="*/ 210003 h 594610"/>
                <a:gd name="connsiteX26" fmla="*/ 396037 w 624662"/>
                <a:gd name="connsiteY26" fmla="*/ 380697 h 594610"/>
                <a:gd name="connsiteX27" fmla="*/ 298085 w 624662"/>
                <a:gd name="connsiteY27" fmla="*/ 380697 h 594610"/>
                <a:gd name="connsiteX28" fmla="*/ 315216 w 624662"/>
                <a:gd name="connsiteY28" fmla="*/ 440084 h 594610"/>
                <a:gd name="connsiteX29" fmla="*/ 347044 w 624662"/>
                <a:gd name="connsiteY29" fmla="*/ 444381 h 594610"/>
                <a:gd name="connsiteX30" fmla="*/ 378907 w 624662"/>
                <a:gd name="connsiteY30" fmla="*/ 440084 h 594610"/>
                <a:gd name="connsiteX31" fmla="*/ 396037 w 624662"/>
                <a:gd name="connsiteY31" fmla="*/ 380697 h 594610"/>
                <a:gd name="connsiteX32" fmla="*/ 401430 w 624662"/>
                <a:gd name="connsiteY32" fmla="*/ 321803 h 594610"/>
                <a:gd name="connsiteX33" fmla="*/ 398787 w 624662"/>
                <a:gd name="connsiteY33" fmla="*/ 281014 h 594610"/>
                <a:gd name="connsiteX34" fmla="*/ 295266 w 624662"/>
                <a:gd name="connsiteY34" fmla="*/ 281014 h 594610"/>
                <a:gd name="connsiteX35" fmla="*/ 292622 w 624662"/>
                <a:gd name="connsiteY35" fmla="*/ 321803 h 594610"/>
                <a:gd name="connsiteX36" fmla="*/ 294843 w 624662"/>
                <a:gd name="connsiteY36" fmla="*/ 359352 h 594610"/>
                <a:gd name="connsiteX37" fmla="*/ 399210 w 624662"/>
                <a:gd name="connsiteY37" fmla="*/ 359352 h 594610"/>
                <a:gd name="connsiteX38" fmla="*/ 401430 w 624662"/>
                <a:gd name="connsiteY38" fmla="*/ 321803 h 594610"/>
                <a:gd name="connsiteX39" fmla="*/ 404144 w 624662"/>
                <a:gd name="connsiteY39" fmla="*/ 210003 h 594610"/>
                <a:gd name="connsiteX40" fmla="*/ 417115 w 624662"/>
                <a:gd name="connsiteY40" fmla="*/ 259669 h 594610"/>
                <a:gd name="connsiteX41" fmla="*/ 455464 w 624662"/>
                <a:gd name="connsiteY41" fmla="*/ 259669 h 594610"/>
                <a:gd name="connsiteX42" fmla="*/ 404144 w 624662"/>
                <a:gd name="connsiteY42" fmla="*/ 210003 h 594610"/>
                <a:gd name="connsiteX43" fmla="*/ 455464 w 624662"/>
                <a:gd name="connsiteY43" fmla="*/ 380697 h 594610"/>
                <a:gd name="connsiteX44" fmla="*/ 417714 w 624662"/>
                <a:gd name="connsiteY44" fmla="*/ 380697 h 594610"/>
                <a:gd name="connsiteX45" fmla="*/ 405484 w 624662"/>
                <a:gd name="connsiteY45" fmla="*/ 429729 h 594610"/>
                <a:gd name="connsiteX46" fmla="*/ 455429 w 624662"/>
                <a:gd name="connsiteY46" fmla="*/ 380697 h 594610"/>
                <a:gd name="connsiteX47" fmla="*/ 464875 w 624662"/>
                <a:gd name="connsiteY47" fmla="*/ 359352 h 594610"/>
                <a:gd name="connsiteX48" fmla="*/ 471325 w 624662"/>
                <a:gd name="connsiteY48" fmla="*/ 320183 h 594610"/>
                <a:gd name="connsiteX49" fmla="*/ 464875 w 624662"/>
                <a:gd name="connsiteY49" fmla="*/ 281014 h 594610"/>
                <a:gd name="connsiteX50" fmla="*/ 420358 w 624662"/>
                <a:gd name="connsiteY50" fmla="*/ 281014 h 594610"/>
                <a:gd name="connsiteX51" fmla="*/ 422790 w 624662"/>
                <a:gd name="connsiteY51" fmla="*/ 321803 h 594610"/>
                <a:gd name="connsiteX52" fmla="*/ 420746 w 624662"/>
                <a:gd name="connsiteY52" fmla="*/ 359352 h 594610"/>
                <a:gd name="connsiteX53" fmla="*/ 464875 w 624662"/>
                <a:gd name="connsiteY53" fmla="*/ 359352 h 594610"/>
                <a:gd name="connsiteX54" fmla="*/ 73667 w 624662"/>
                <a:gd name="connsiteY54" fmla="*/ 297429 h 594610"/>
                <a:gd name="connsiteX55" fmla="*/ 139544 w 624662"/>
                <a:gd name="connsiteY55" fmla="*/ 508453 h 594610"/>
                <a:gd name="connsiteX56" fmla="*/ 340911 w 624662"/>
                <a:gd name="connsiteY56" fmla="*/ 594610 h 594610"/>
                <a:gd name="connsiteX57" fmla="*/ 363293 w 624662"/>
                <a:gd name="connsiteY57" fmla="*/ 593800 h 594610"/>
                <a:gd name="connsiteX58" fmla="*/ 380352 w 624662"/>
                <a:gd name="connsiteY58" fmla="*/ 592532 h 594610"/>
                <a:gd name="connsiteX59" fmla="*/ 377850 w 624662"/>
                <a:gd name="connsiteY59" fmla="*/ 558471 h 594610"/>
                <a:gd name="connsiteX60" fmla="*/ 360790 w 624662"/>
                <a:gd name="connsiteY60" fmla="*/ 559704 h 594610"/>
                <a:gd name="connsiteX61" fmla="*/ 164851 w 624662"/>
                <a:gd name="connsiteY61" fmla="*/ 485523 h 594610"/>
                <a:gd name="connsiteX62" fmla="*/ 107257 w 624662"/>
                <a:gd name="connsiteY62" fmla="*/ 305917 h 594610"/>
                <a:gd name="connsiteX63" fmla="*/ 142575 w 624662"/>
                <a:gd name="connsiteY63" fmla="*/ 357907 h 594610"/>
                <a:gd name="connsiteX64" fmla="*/ 170878 w 624662"/>
                <a:gd name="connsiteY64" fmla="*/ 338675 h 594610"/>
                <a:gd name="connsiteX65" fmla="*/ 101723 w 624662"/>
                <a:gd name="connsiteY65" fmla="*/ 236985 h 594610"/>
                <a:gd name="connsiteX66" fmla="*/ 0 w 624662"/>
                <a:gd name="connsiteY66" fmla="*/ 306094 h 594610"/>
                <a:gd name="connsiteX67" fmla="*/ 19245 w 624662"/>
                <a:gd name="connsiteY67" fmla="*/ 334413 h 594610"/>
                <a:gd name="connsiteX68" fmla="*/ 73667 w 624662"/>
                <a:gd name="connsiteY68" fmla="*/ 297464 h 594610"/>
                <a:gd name="connsiteX69" fmla="*/ 73667 w 624662"/>
                <a:gd name="connsiteY69" fmla="*/ 297429 h 594610"/>
                <a:gd name="connsiteX70" fmla="*/ 167530 w 624662"/>
                <a:gd name="connsiteY70" fmla="*/ 150757 h 594610"/>
                <a:gd name="connsiteX71" fmla="*/ 177082 w 624662"/>
                <a:gd name="connsiteY71" fmla="*/ 141634 h 594610"/>
                <a:gd name="connsiteX72" fmla="*/ 458636 w 624662"/>
                <a:gd name="connsiteY72" fmla="*/ 103170 h 594610"/>
                <a:gd name="connsiteX73" fmla="*/ 397483 w 624662"/>
                <a:gd name="connsiteY73" fmla="*/ 125009 h 594610"/>
                <a:gd name="connsiteX74" fmla="*/ 409008 w 624662"/>
                <a:gd name="connsiteY74" fmla="*/ 157203 h 594610"/>
                <a:gd name="connsiteX75" fmla="*/ 524831 w 624662"/>
                <a:gd name="connsiteY75" fmla="*/ 115745 h 594610"/>
                <a:gd name="connsiteX76" fmla="*/ 483380 w 624662"/>
                <a:gd name="connsiteY76" fmla="*/ 0 h 594610"/>
                <a:gd name="connsiteX77" fmla="*/ 451129 w 624662"/>
                <a:gd name="connsiteY77" fmla="*/ 11518 h 594610"/>
                <a:gd name="connsiteX78" fmla="*/ 472806 w 624662"/>
                <a:gd name="connsiteY78" fmla="*/ 72032 h 594610"/>
                <a:gd name="connsiteX79" fmla="*/ 154136 w 624662"/>
                <a:gd name="connsiteY79" fmla="*/ 116273 h 594610"/>
                <a:gd name="connsiteX80" fmla="*/ 143350 w 624662"/>
                <a:gd name="connsiteY80" fmla="*/ 126559 h 594610"/>
                <a:gd name="connsiteX81" fmla="*/ 131296 w 624662"/>
                <a:gd name="connsiteY81" fmla="*/ 138640 h 594610"/>
                <a:gd name="connsiteX82" fmla="*/ 155475 w 624662"/>
                <a:gd name="connsiteY82" fmla="*/ 162769 h 594610"/>
                <a:gd name="connsiteX83" fmla="*/ 167530 w 624662"/>
                <a:gd name="connsiteY83" fmla="*/ 150687 h 594610"/>
                <a:gd name="connsiteX84" fmla="*/ 167530 w 624662"/>
                <a:gd name="connsiteY84" fmla="*/ 150757 h 594610"/>
                <a:gd name="connsiteX85" fmla="*/ 508652 w 624662"/>
                <a:gd name="connsiteY85" fmla="*/ 506833 h 594610"/>
                <a:gd name="connsiteX86" fmla="*/ 508370 w 624662"/>
                <a:gd name="connsiteY86" fmla="*/ 507080 h 594610"/>
                <a:gd name="connsiteX87" fmla="*/ 513270 w 624662"/>
                <a:gd name="connsiteY87" fmla="*/ 442656 h 594610"/>
                <a:gd name="connsiteX88" fmla="*/ 479115 w 624662"/>
                <a:gd name="connsiteY88" fmla="*/ 440084 h 594610"/>
                <a:gd name="connsiteX89" fmla="*/ 469880 w 624662"/>
                <a:gd name="connsiteY89" fmla="*/ 562698 h 594610"/>
                <a:gd name="connsiteX90" fmla="*/ 592541 w 624662"/>
                <a:gd name="connsiteY90" fmla="*/ 571926 h 594610"/>
                <a:gd name="connsiteX91" fmla="*/ 595114 w 624662"/>
                <a:gd name="connsiteY91" fmla="*/ 537795 h 594610"/>
                <a:gd name="connsiteX92" fmla="*/ 530682 w 624662"/>
                <a:gd name="connsiteY92" fmla="*/ 532969 h 594610"/>
                <a:gd name="connsiteX93" fmla="*/ 531633 w 624662"/>
                <a:gd name="connsiteY93" fmla="*/ 532159 h 594610"/>
                <a:gd name="connsiteX94" fmla="*/ 599731 w 624662"/>
                <a:gd name="connsiteY94" fmla="*/ 201937 h 594610"/>
                <a:gd name="connsiteX95" fmla="*/ 592893 w 624662"/>
                <a:gd name="connsiteY95" fmla="*/ 186298 h 594610"/>
                <a:gd name="connsiteX96" fmla="*/ 561594 w 624662"/>
                <a:gd name="connsiteY96" fmla="*/ 200000 h 594610"/>
                <a:gd name="connsiteX97" fmla="*/ 568431 w 624662"/>
                <a:gd name="connsiteY97" fmla="*/ 215639 h 594610"/>
                <a:gd name="connsiteX98" fmla="*/ 508687 w 624662"/>
                <a:gd name="connsiteY98" fmla="*/ 506868 h 59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4662" h="594610">
                  <a:moveTo>
                    <a:pt x="505480" y="320183"/>
                  </a:moveTo>
                  <a:cubicBezTo>
                    <a:pt x="505480" y="407502"/>
                    <a:pt x="434422" y="478548"/>
                    <a:pt x="347044" y="478548"/>
                  </a:cubicBezTo>
                  <a:cubicBezTo>
                    <a:pt x="259666" y="478548"/>
                    <a:pt x="188608" y="407502"/>
                    <a:pt x="188608" y="320183"/>
                  </a:cubicBezTo>
                  <a:cubicBezTo>
                    <a:pt x="188608" y="232863"/>
                    <a:pt x="259666" y="161817"/>
                    <a:pt x="347044" y="161817"/>
                  </a:cubicBezTo>
                  <a:cubicBezTo>
                    <a:pt x="434422" y="161817"/>
                    <a:pt x="505480" y="232863"/>
                    <a:pt x="505480" y="320183"/>
                  </a:cubicBezTo>
                  <a:moveTo>
                    <a:pt x="298685" y="259669"/>
                  </a:moveTo>
                  <a:lnTo>
                    <a:pt x="395368" y="259669"/>
                  </a:lnTo>
                  <a:cubicBezTo>
                    <a:pt x="391350" y="238887"/>
                    <a:pt x="385287" y="218774"/>
                    <a:pt x="377321" y="199859"/>
                  </a:cubicBezTo>
                  <a:cubicBezTo>
                    <a:pt x="367593" y="197393"/>
                    <a:pt x="357512" y="195984"/>
                    <a:pt x="347009" y="195984"/>
                  </a:cubicBezTo>
                  <a:cubicBezTo>
                    <a:pt x="336505" y="195984"/>
                    <a:pt x="326424" y="197429"/>
                    <a:pt x="316696" y="199859"/>
                  </a:cubicBezTo>
                  <a:cubicBezTo>
                    <a:pt x="308695" y="218774"/>
                    <a:pt x="302668" y="238852"/>
                    <a:pt x="298649" y="259669"/>
                  </a:cubicBezTo>
                  <a:moveTo>
                    <a:pt x="273342" y="359352"/>
                  </a:moveTo>
                  <a:cubicBezTo>
                    <a:pt x="272003" y="346953"/>
                    <a:pt x="271298" y="334413"/>
                    <a:pt x="271298" y="321803"/>
                  </a:cubicBezTo>
                  <a:cubicBezTo>
                    <a:pt x="271298" y="308101"/>
                    <a:pt x="272179" y="294470"/>
                    <a:pt x="273730" y="281014"/>
                  </a:cubicBezTo>
                  <a:lnTo>
                    <a:pt x="229212" y="281014"/>
                  </a:lnTo>
                  <a:cubicBezTo>
                    <a:pt x="225089" y="293342"/>
                    <a:pt x="222762" y="306481"/>
                    <a:pt x="222762" y="320183"/>
                  </a:cubicBezTo>
                  <a:cubicBezTo>
                    <a:pt x="222762" y="333885"/>
                    <a:pt x="225089" y="347023"/>
                    <a:pt x="229212" y="359352"/>
                  </a:cubicBezTo>
                  <a:lnTo>
                    <a:pt x="273342" y="359352"/>
                  </a:lnTo>
                  <a:close/>
                  <a:moveTo>
                    <a:pt x="288604" y="429729"/>
                  </a:moveTo>
                  <a:cubicBezTo>
                    <a:pt x="283317" y="413913"/>
                    <a:pt x="279263" y="397499"/>
                    <a:pt x="276373" y="380697"/>
                  </a:cubicBezTo>
                  <a:lnTo>
                    <a:pt x="238623" y="380697"/>
                  </a:lnTo>
                  <a:cubicBezTo>
                    <a:pt x="250255" y="401409"/>
                    <a:pt x="267597" y="418492"/>
                    <a:pt x="288604" y="429729"/>
                  </a:cubicBezTo>
                  <a:moveTo>
                    <a:pt x="289943" y="210003"/>
                  </a:moveTo>
                  <a:cubicBezTo>
                    <a:pt x="268372" y="221204"/>
                    <a:pt x="250502" y="238534"/>
                    <a:pt x="238623" y="259669"/>
                  </a:cubicBezTo>
                  <a:lnTo>
                    <a:pt x="276972" y="259669"/>
                  </a:lnTo>
                  <a:cubicBezTo>
                    <a:pt x="280074" y="242621"/>
                    <a:pt x="284374" y="225995"/>
                    <a:pt x="289943" y="210003"/>
                  </a:cubicBezTo>
                  <a:moveTo>
                    <a:pt x="396037" y="380697"/>
                  </a:moveTo>
                  <a:lnTo>
                    <a:pt x="298085" y="380697"/>
                  </a:lnTo>
                  <a:cubicBezTo>
                    <a:pt x="301857" y="401303"/>
                    <a:pt x="307567" y="421275"/>
                    <a:pt x="315216" y="440084"/>
                  </a:cubicBezTo>
                  <a:cubicBezTo>
                    <a:pt x="325402" y="442797"/>
                    <a:pt x="336011" y="444381"/>
                    <a:pt x="347044" y="444381"/>
                  </a:cubicBezTo>
                  <a:cubicBezTo>
                    <a:pt x="358076" y="444381"/>
                    <a:pt x="368721" y="442797"/>
                    <a:pt x="378907" y="440084"/>
                  </a:cubicBezTo>
                  <a:cubicBezTo>
                    <a:pt x="386521" y="421275"/>
                    <a:pt x="392266" y="401303"/>
                    <a:pt x="396037" y="380697"/>
                  </a:cubicBezTo>
                  <a:moveTo>
                    <a:pt x="401430" y="321803"/>
                  </a:moveTo>
                  <a:cubicBezTo>
                    <a:pt x="401430" y="308066"/>
                    <a:pt x="400479" y="294434"/>
                    <a:pt x="398787" y="281014"/>
                  </a:cubicBezTo>
                  <a:lnTo>
                    <a:pt x="295266" y="281014"/>
                  </a:lnTo>
                  <a:cubicBezTo>
                    <a:pt x="293574" y="294434"/>
                    <a:pt x="292622" y="308066"/>
                    <a:pt x="292622" y="321803"/>
                  </a:cubicBezTo>
                  <a:cubicBezTo>
                    <a:pt x="292622" y="334413"/>
                    <a:pt x="293433" y="346953"/>
                    <a:pt x="294843" y="359352"/>
                  </a:cubicBezTo>
                  <a:lnTo>
                    <a:pt x="399210" y="359352"/>
                  </a:lnTo>
                  <a:cubicBezTo>
                    <a:pt x="400620" y="346953"/>
                    <a:pt x="401430" y="334413"/>
                    <a:pt x="401430" y="321803"/>
                  </a:cubicBezTo>
                  <a:moveTo>
                    <a:pt x="404144" y="210003"/>
                  </a:moveTo>
                  <a:cubicBezTo>
                    <a:pt x="409713" y="225995"/>
                    <a:pt x="414049" y="242656"/>
                    <a:pt x="417115" y="259669"/>
                  </a:cubicBezTo>
                  <a:lnTo>
                    <a:pt x="455464" y="259669"/>
                  </a:lnTo>
                  <a:cubicBezTo>
                    <a:pt x="443586" y="238499"/>
                    <a:pt x="425716" y="221204"/>
                    <a:pt x="404144" y="210003"/>
                  </a:cubicBezTo>
                  <a:moveTo>
                    <a:pt x="455464" y="380697"/>
                  </a:moveTo>
                  <a:lnTo>
                    <a:pt x="417714" y="380697"/>
                  </a:lnTo>
                  <a:cubicBezTo>
                    <a:pt x="414824" y="397499"/>
                    <a:pt x="410771" y="413913"/>
                    <a:pt x="405484" y="429729"/>
                  </a:cubicBezTo>
                  <a:cubicBezTo>
                    <a:pt x="426456" y="418492"/>
                    <a:pt x="443833" y="401444"/>
                    <a:pt x="455429" y="380697"/>
                  </a:cubicBezTo>
                  <a:moveTo>
                    <a:pt x="464875" y="359352"/>
                  </a:moveTo>
                  <a:cubicBezTo>
                    <a:pt x="468999" y="347023"/>
                    <a:pt x="471325" y="333885"/>
                    <a:pt x="471325" y="320183"/>
                  </a:cubicBezTo>
                  <a:cubicBezTo>
                    <a:pt x="471325" y="306481"/>
                    <a:pt x="468999" y="293342"/>
                    <a:pt x="464875" y="281014"/>
                  </a:cubicBezTo>
                  <a:lnTo>
                    <a:pt x="420358" y="281014"/>
                  </a:lnTo>
                  <a:cubicBezTo>
                    <a:pt x="421944" y="294470"/>
                    <a:pt x="422790" y="308066"/>
                    <a:pt x="422790" y="321803"/>
                  </a:cubicBezTo>
                  <a:cubicBezTo>
                    <a:pt x="422790" y="334413"/>
                    <a:pt x="422085" y="346953"/>
                    <a:pt x="420746" y="359352"/>
                  </a:cubicBezTo>
                  <a:lnTo>
                    <a:pt x="464875" y="359352"/>
                  </a:lnTo>
                  <a:close/>
                  <a:moveTo>
                    <a:pt x="73667" y="297429"/>
                  </a:moveTo>
                  <a:cubicBezTo>
                    <a:pt x="65313" y="376470"/>
                    <a:pt x="88929" y="452659"/>
                    <a:pt x="139544" y="508453"/>
                  </a:cubicBezTo>
                  <a:cubicBezTo>
                    <a:pt x="189806" y="563860"/>
                    <a:pt x="262239" y="594610"/>
                    <a:pt x="340911" y="594610"/>
                  </a:cubicBezTo>
                  <a:cubicBezTo>
                    <a:pt x="348313" y="594610"/>
                    <a:pt x="355785" y="594329"/>
                    <a:pt x="363293" y="593800"/>
                  </a:cubicBezTo>
                  <a:lnTo>
                    <a:pt x="380352" y="592532"/>
                  </a:lnTo>
                  <a:lnTo>
                    <a:pt x="377850" y="558471"/>
                  </a:lnTo>
                  <a:lnTo>
                    <a:pt x="360790" y="559704"/>
                  </a:lnTo>
                  <a:cubicBezTo>
                    <a:pt x="284092" y="565304"/>
                    <a:pt x="212717" y="538288"/>
                    <a:pt x="164851" y="485523"/>
                  </a:cubicBezTo>
                  <a:cubicBezTo>
                    <a:pt x="121850" y="438147"/>
                    <a:pt x="101371" y="373547"/>
                    <a:pt x="107257" y="305917"/>
                  </a:cubicBezTo>
                  <a:lnTo>
                    <a:pt x="142575" y="357907"/>
                  </a:lnTo>
                  <a:lnTo>
                    <a:pt x="170878" y="338675"/>
                  </a:lnTo>
                  <a:lnTo>
                    <a:pt x="101723" y="236985"/>
                  </a:lnTo>
                  <a:lnTo>
                    <a:pt x="0" y="306094"/>
                  </a:lnTo>
                  <a:lnTo>
                    <a:pt x="19245" y="334413"/>
                  </a:lnTo>
                  <a:lnTo>
                    <a:pt x="73667" y="297464"/>
                  </a:lnTo>
                  <a:lnTo>
                    <a:pt x="73667" y="297429"/>
                  </a:lnTo>
                  <a:close/>
                  <a:moveTo>
                    <a:pt x="167530" y="150757"/>
                  </a:moveTo>
                  <a:cubicBezTo>
                    <a:pt x="170632" y="147657"/>
                    <a:pt x="173804" y="144628"/>
                    <a:pt x="177082" y="141634"/>
                  </a:cubicBezTo>
                  <a:cubicBezTo>
                    <a:pt x="253322" y="72525"/>
                    <a:pt x="364632" y="57943"/>
                    <a:pt x="458636" y="103170"/>
                  </a:cubicBezTo>
                  <a:lnTo>
                    <a:pt x="397483" y="125009"/>
                  </a:lnTo>
                  <a:lnTo>
                    <a:pt x="409008" y="157203"/>
                  </a:lnTo>
                  <a:lnTo>
                    <a:pt x="524831" y="115745"/>
                  </a:lnTo>
                  <a:lnTo>
                    <a:pt x="483380" y="0"/>
                  </a:lnTo>
                  <a:lnTo>
                    <a:pt x="451129" y="11518"/>
                  </a:lnTo>
                  <a:lnTo>
                    <a:pt x="472806" y="72032"/>
                  </a:lnTo>
                  <a:cubicBezTo>
                    <a:pt x="366500" y="21169"/>
                    <a:pt x="240562" y="37936"/>
                    <a:pt x="154136" y="116273"/>
                  </a:cubicBezTo>
                  <a:cubicBezTo>
                    <a:pt x="150435" y="119620"/>
                    <a:pt x="146840" y="123071"/>
                    <a:pt x="143350" y="126559"/>
                  </a:cubicBezTo>
                  <a:lnTo>
                    <a:pt x="131296" y="138640"/>
                  </a:lnTo>
                  <a:lnTo>
                    <a:pt x="155475" y="162769"/>
                  </a:lnTo>
                  <a:lnTo>
                    <a:pt x="167530" y="150687"/>
                  </a:lnTo>
                  <a:lnTo>
                    <a:pt x="167530" y="150757"/>
                  </a:lnTo>
                  <a:close/>
                  <a:moveTo>
                    <a:pt x="508652" y="506833"/>
                  </a:moveTo>
                  <a:cubicBezTo>
                    <a:pt x="508652" y="506833"/>
                    <a:pt x="508441" y="507009"/>
                    <a:pt x="508370" y="507080"/>
                  </a:cubicBezTo>
                  <a:lnTo>
                    <a:pt x="513270" y="442656"/>
                  </a:lnTo>
                  <a:lnTo>
                    <a:pt x="479115" y="440084"/>
                  </a:lnTo>
                  <a:lnTo>
                    <a:pt x="469880" y="562698"/>
                  </a:lnTo>
                  <a:lnTo>
                    <a:pt x="592541" y="571926"/>
                  </a:lnTo>
                  <a:lnTo>
                    <a:pt x="595114" y="537795"/>
                  </a:lnTo>
                  <a:lnTo>
                    <a:pt x="530682" y="532969"/>
                  </a:lnTo>
                  <a:cubicBezTo>
                    <a:pt x="530999" y="532687"/>
                    <a:pt x="531316" y="532441"/>
                    <a:pt x="531633" y="532159"/>
                  </a:cubicBezTo>
                  <a:cubicBezTo>
                    <a:pt x="622677" y="449665"/>
                    <a:pt x="650029" y="316942"/>
                    <a:pt x="599731" y="201937"/>
                  </a:cubicBezTo>
                  <a:lnTo>
                    <a:pt x="592893" y="186298"/>
                  </a:lnTo>
                  <a:lnTo>
                    <a:pt x="561594" y="200000"/>
                  </a:lnTo>
                  <a:lnTo>
                    <a:pt x="568431" y="215639"/>
                  </a:lnTo>
                  <a:cubicBezTo>
                    <a:pt x="612878" y="317189"/>
                    <a:pt x="588840" y="434237"/>
                    <a:pt x="508687" y="506868"/>
                  </a:cubicBezTo>
                </a:path>
              </a:pathLst>
            </a:custGeom>
            <a:solidFill>
              <a:srgbClr val="FFFFFF"/>
            </a:solidFill>
            <a:ln w="3521" cap="flat">
              <a:noFill/>
              <a:prstDash val="solid"/>
              <a:miter/>
            </a:ln>
          </p:spPr>
          <p:txBody>
            <a:bodyPr rtlCol="0" anchor="ctr"/>
            <a:lstStyle/>
            <a:p>
              <a:endParaRPr lang="de-DE"/>
            </a:p>
          </p:txBody>
        </p:sp>
        <p:sp>
          <p:nvSpPr>
            <p:cNvPr id="51" name="Freihandform 50">
              <a:extLst>
                <a:ext uri="{FF2B5EF4-FFF2-40B4-BE49-F238E27FC236}">
                  <a16:creationId xmlns:a16="http://schemas.microsoft.com/office/drawing/2014/main" id="{C677C8C6-7D4A-7013-7A96-075AB382DC87}"/>
                </a:ext>
              </a:extLst>
            </p:cNvPr>
            <p:cNvSpPr/>
            <p:nvPr/>
          </p:nvSpPr>
          <p:spPr>
            <a:xfrm>
              <a:off x="6434690" y="4737437"/>
              <a:ext cx="438651" cy="492497"/>
            </a:xfrm>
            <a:custGeom>
              <a:avLst/>
              <a:gdLst>
                <a:gd name="connsiteX0" fmla="*/ 0 w 438651"/>
                <a:gd name="connsiteY0" fmla="*/ 116344 h 492497"/>
                <a:gd name="connsiteX1" fmla="*/ 34719 w 438651"/>
                <a:gd name="connsiteY1" fmla="*/ 170165 h 492497"/>
                <a:gd name="connsiteX2" fmla="*/ 162913 w 438651"/>
                <a:gd name="connsiteY2" fmla="*/ 87496 h 492497"/>
                <a:gd name="connsiteX3" fmla="*/ 352049 w 438651"/>
                <a:gd name="connsiteY3" fmla="*/ 361817 h 492497"/>
                <a:gd name="connsiteX4" fmla="*/ 251277 w 438651"/>
                <a:gd name="connsiteY4" fmla="*/ 442515 h 492497"/>
                <a:gd name="connsiteX5" fmla="*/ 291353 w 438651"/>
                <a:gd name="connsiteY5" fmla="*/ 492497 h 492497"/>
                <a:gd name="connsiteX6" fmla="*/ 438651 w 438651"/>
                <a:gd name="connsiteY6" fmla="*/ 374533 h 492497"/>
                <a:gd name="connsiteX7" fmla="*/ 180395 w 438651"/>
                <a:gd name="connsiteY7" fmla="*/ 0 h 492497"/>
                <a:gd name="connsiteX8" fmla="*/ 0 w 438651"/>
                <a:gd name="connsiteY8" fmla="*/ 116344 h 49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97">
                  <a:moveTo>
                    <a:pt x="0" y="116344"/>
                  </a:moveTo>
                  <a:lnTo>
                    <a:pt x="34719" y="170165"/>
                  </a:lnTo>
                  <a:lnTo>
                    <a:pt x="162913" y="87496"/>
                  </a:lnTo>
                  <a:lnTo>
                    <a:pt x="352049" y="361817"/>
                  </a:lnTo>
                  <a:lnTo>
                    <a:pt x="251277" y="442515"/>
                  </a:lnTo>
                  <a:lnTo>
                    <a:pt x="291353" y="492497"/>
                  </a:lnTo>
                  <a:lnTo>
                    <a:pt x="438651" y="374533"/>
                  </a:lnTo>
                  <a:lnTo>
                    <a:pt x="180395" y="0"/>
                  </a:lnTo>
                  <a:lnTo>
                    <a:pt x="0" y="116344"/>
                  </a:lnTo>
                  <a:close/>
                </a:path>
              </a:pathLst>
            </a:custGeom>
            <a:solidFill>
              <a:srgbClr val="FFFFFF"/>
            </a:solidFill>
            <a:ln w="3521" cap="flat">
              <a:noFill/>
              <a:prstDash val="solid"/>
              <a:miter/>
            </a:ln>
          </p:spPr>
          <p:txBody>
            <a:bodyPr rtlCol="0" anchor="ctr"/>
            <a:lstStyle/>
            <a:p>
              <a:endParaRPr lang="de-DE"/>
            </a:p>
          </p:txBody>
        </p:sp>
        <p:sp>
          <p:nvSpPr>
            <p:cNvPr id="52" name="Freihandform 51">
              <a:extLst>
                <a:ext uri="{FF2B5EF4-FFF2-40B4-BE49-F238E27FC236}">
                  <a16:creationId xmlns:a16="http://schemas.microsoft.com/office/drawing/2014/main" id="{208DFD1F-9FDA-853C-D115-4B6AF84A41A2}"/>
                </a:ext>
              </a:extLst>
            </p:cNvPr>
            <p:cNvSpPr/>
            <p:nvPr/>
          </p:nvSpPr>
          <p:spPr>
            <a:xfrm>
              <a:off x="6681984" y="4628378"/>
              <a:ext cx="563872" cy="266931"/>
            </a:xfrm>
            <a:custGeom>
              <a:avLst/>
              <a:gdLst>
                <a:gd name="connsiteX0" fmla="*/ 61260 w 563872"/>
                <a:gd name="connsiteY0" fmla="*/ 170384 h 266931"/>
                <a:gd name="connsiteX1" fmla="*/ 176624 w 563872"/>
                <a:gd name="connsiteY1" fmla="*/ 83381 h 266931"/>
                <a:gd name="connsiteX2" fmla="*/ 323851 w 563872"/>
                <a:gd name="connsiteY2" fmla="*/ 84332 h 266931"/>
                <a:gd name="connsiteX3" fmla="*/ 407634 w 563872"/>
                <a:gd name="connsiteY3" fmla="*/ 110468 h 266931"/>
                <a:gd name="connsiteX4" fmla="*/ 498360 w 563872"/>
                <a:gd name="connsiteY4" fmla="*/ 156083 h 266931"/>
                <a:gd name="connsiteX5" fmla="*/ 493002 w 563872"/>
                <a:gd name="connsiteY5" fmla="*/ 186305 h 266931"/>
                <a:gd name="connsiteX6" fmla="*/ 429452 w 563872"/>
                <a:gd name="connsiteY6" fmla="*/ 202402 h 266931"/>
                <a:gd name="connsiteX7" fmla="*/ 269782 w 563872"/>
                <a:gd name="connsiteY7" fmla="*/ 167319 h 266931"/>
                <a:gd name="connsiteX8" fmla="*/ 238729 w 563872"/>
                <a:gd name="connsiteY8" fmla="*/ 159394 h 266931"/>
                <a:gd name="connsiteX9" fmla="*/ 222833 w 563872"/>
                <a:gd name="connsiteY9" fmla="*/ 221458 h 266931"/>
                <a:gd name="connsiteX10" fmla="*/ 253886 w 563872"/>
                <a:gd name="connsiteY10" fmla="*/ 229383 h 266931"/>
                <a:gd name="connsiteX11" fmla="*/ 424940 w 563872"/>
                <a:gd name="connsiteY11" fmla="*/ 266333 h 266931"/>
                <a:gd name="connsiteX12" fmla="*/ 441683 w 563872"/>
                <a:gd name="connsiteY12" fmla="*/ 266932 h 266931"/>
                <a:gd name="connsiteX13" fmla="*/ 542349 w 563872"/>
                <a:gd name="connsiteY13" fmla="*/ 227164 h 266931"/>
                <a:gd name="connsiteX14" fmla="*/ 560325 w 563872"/>
                <a:gd name="connsiteY14" fmla="*/ 139739 h 266931"/>
                <a:gd name="connsiteX15" fmla="*/ 425011 w 563872"/>
                <a:gd name="connsiteY15" fmla="*/ 48862 h 266931"/>
                <a:gd name="connsiteX16" fmla="*/ 345740 w 563872"/>
                <a:gd name="connsiteY16" fmla="*/ 24170 h 266931"/>
                <a:gd name="connsiteX17" fmla="*/ 141341 w 563872"/>
                <a:gd name="connsiteY17" fmla="*/ 29912 h 266931"/>
                <a:gd name="connsiteX18" fmla="*/ 20866 w 563872"/>
                <a:gd name="connsiteY18" fmla="*/ 120648 h 266931"/>
                <a:gd name="connsiteX19" fmla="*/ 0 w 563872"/>
                <a:gd name="connsiteY19" fmla="*/ 137520 h 266931"/>
                <a:gd name="connsiteX20" fmla="*/ 36305 w 563872"/>
                <a:gd name="connsiteY20" fmla="*/ 190567 h 266931"/>
                <a:gd name="connsiteX21" fmla="*/ 61189 w 563872"/>
                <a:gd name="connsiteY21" fmla="*/ 170419 h 266931"/>
                <a:gd name="connsiteX22" fmla="*/ 61260 w 563872"/>
                <a:gd name="connsiteY22" fmla="*/ 170384 h 26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93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5" y="198845"/>
                    <a:pt x="460117" y="204516"/>
                    <a:pt x="429452" y="202402"/>
                  </a:cubicBezTo>
                  <a:cubicBezTo>
                    <a:pt x="406753" y="200782"/>
                    <a:pt x="319445" y="180035"/>
                    <a:pt x="269782" y="167319"/>
                  </a:cubicBezTo>
                  <a:lnTo>
                    <a:pt x="238729" y="159394"/>
                  </a:lnTo>
                  <a:lnTo>
                    <a:pt x="222833" y="221458"/>
                  </a:lnTo>
                  <a:lnTo>
                    <a:pt x="253886" y="229383"/>
                  </a:lnTo>
                  <a:cubicBezTo>
                    <a:pt x="267632" y="232906"/>
                    <a:pt x="389059" y="263797"/>
                    <a:pt x="424940" y="266333"/>
                  </a:cubicBezTo>
                  <a:cubicBezTo>
                    <a:pt x="430756" y="266756"/>
                    <a:pt x="436325" y="266932"/>
                    <a:pt x="441683" y="266932"/>
                  </a:cubicBezTo>
                  <a:cubicBezTo>
                    <a:pt x="497162" y="266932"/>
                    <a:pt x="526910" y="245833"/>
                    <a:pt x="542349" y="227164"/>
                  </a:cubicBezTo>
                  <a:cubicBezTo>
                    <a:pt x="562122" y="203283"/>
                    <a:pt x="568678" y="171405"/>
                    <a:pt x="560325" y="139739"/>
                  </a:cubicBezTo>
                  <a:cubicBezTo>
                    <a:pt x="545274" y="82747"/>
                    <a:pt x="489548" y="67038"/>
                    <a:pt x="425011" y="48862"/>
                  </a:cubicBezTo>
                  <a:cubicBezTo>
                    <a:pt x="401184" y="42134"/>
                    <a:pt x="374184" y="34526"/>
                    <a:pt x="345740" y="24170"/>
                  </a:cubicBezTo>
                  <a:cubicBezTo>
                    <a:pt x="252687" y="-9679"/>
                    <a:pt x="199182" y="-8165"/>
                    <a:pt x="141341" y="29912"/>
                  </a:cubicBezTo>
                  <a:cubicBezTo>
                    <a:pt x="96754" y="59253"/>
                    <a:pt x="23968" y="118147"/>
                    <a:pt x="20866" y="120648"/>
                  </a:cubicBezTo>
                  <a:lnTo>
                    <a:pt x="0" y="137520"/>
                  </a:lnTo>
                  <a:lnTo>
                    <a:pt x="36305" y="190567"/>
                  </a:lnTo>
                  <a:lnTo>
                    <a:pt x="61189" y="170419"/>
                  </a:lnTo>
                  <a:lnTo>
                    <a:pt x="61260" y="170384"/>
                  </a:lnTo>
                  <a:close/>
                </a:path>
              </a:pathLst>
            </a:custGeom>
            <a:solidFill>
              <a:srgbClr val="FFFFFF"/>
            </a:solidFill>
            <a:ln w="3521" cap="flat">
              <a:noFill/>
              <a:prstDash val="solid"/>
              <a:miter/>
            </a:ln>
          </p:spPr>
          <p:txBody>
            <a:bodyPr rtlCol="0" anchor="ctr"/>
            <a:lstStyle/>
            <a:p>
              <a:endParaRPr lang="de-DE"/>
            </a:p>
          </p:txBody>
        </p:sp>
        <p:sp>
          <p:nvSpPr>
            <p:cNvPr id="53" name="Freihandform 52">
              <a:extLst>
                <a:ext uri="{FF2B5EF4-FFF2-40B4-BE49-F238E27FC236}">
                  <a16:creationId xmlns:a16="http://schemas.microsoft.com/office/drawing/2014/main" id="{2140172C-0E53-DA9A-07C0-341D6FE8E895}"/>
                </a:ext>
              </a:extLst>
            </p:cNvPr>
            <p:cNvSpPr/>
            <p:nvPr/>
          </p:nvSpPr>
          <p:spPr>
            <a:xfrm>
              <a:off x="6845919" y="4586596"/>
              <a:ext cx="799690" cy="477328"/>
            </a:xfrm>
            <a:custGeom>
              <a:avLst/>
              <a:gdLst>
                <a:gd name="connsiteX0" fmla="*/ 786717 w 799690"/>
                <a:gd name="connsiteY0" fmla="*/ 43338 h 477328"/>
                <a:gd name="connsiteX1" fmla="*/ 581931 w 799690"/>
                <a:gd name="connsiteY1" fmla="*/ 51017 h 477328"/>
                <a:gd name="connsiteX2" fmla="*/ 550491 w 799690"/>
                <a:gd name="connsiteY2" fmla="*/ 67572 h 477328"/>
                <a:gd name="connsiteX3" fmla="*/ 550773 w 799690"/>
                <a:gd name="connsiteY3" fmla="*/ 68136 h 477328"/>
                <a:gd name="connsiteX4" fmla="*/ 444256 w 799690"/>
                <a:gd name="connsiteY4" fmla="*/ 126677 h 477328"/>
                <a:gd name="connsiteX5" fmla="*/ 422825 w 799690"/>
                <a:gd name="connsiteY5" fmla="*/ 138689 h 477328"/>
                <a:gd name="connsiteX6" fmla="*/ 446370 w 799690"/>
                <a:gd name="connsiteY6" fmla="*/ 199062 h 477328"/>
                <a:gd name="connsiteX7" fmla="*/ 475590 w 799690"/>
                <a:gd name="connsiteY7" fmla="*/ 182577 h 477328"/>
                <a:gd name="connsiteX8" fmla="*/ 578688 w 799690"/>
                <a:gd name="connsiteY8" fmla="*/ 125128 h 477328"/>
                <a:gd name="connsiteX9" fmla="*/ 580098 w 799690"/>
                <a:gd name="connsiteY9" fmla="*/ 124388 h 477328"/>
                <a:gd name="connsiteX10" fmla="*/ 611962 w 799690"/>
                <a:gd name="connsiteY10" fmla="*/ 107586 h 477328"/>
                <a:gd name="connsiteX11" fmla="*/ 731908 w 799690"/>
                <a:gd name="connsiteY11" fmla="*/ 76590 h 477328"/>
                <a:gd name="connsiteX12" fmla="*/ 703358 w 799690"/>
                <a:gd name="connsiteY12" fmla="*/ 148094 h 477328"/>
                <a:gd name="connsiteX13" fmla="*/ 397412 w 799690"/>
                <a:gd name="connsiteY13" fmla="*/ 359858 h 477328"/>
                <a:gd name="connsiteX14" fmla="*/ 278770 w 799690"/>
                <a:gd name="connsiteY14" fmla="*/ 412729 h 477328"/>
                <a:gd name="connsiteX15" fmla="*/ 110711 w 799690"/>
                <a:gd name="connsiteY15" fmla="*/ 375110 h 477328"/>
                <a:gd name="connsiteX16" fmla="*/ 99750 w 799690"/>
                <a:gd name="connsiteY16" fmla="*/ 372257 h 477328"/>
                <a:gd name="connsiteX17" fmla="*/ 0 w 799690"/>
                <a:gd name="connsiteY17" fmla="*/ 416639 h 477328"/>
                <a:gd name="connsiteX18" fmla="*/ 36869 w 799690"/>
                <a:gd name="connsiteY18" fmla="*/ 470813 h 477328"/>
                <a:gd name="connsiteX19" fmla="*/ 105495 w 799690"/>
                <a:gd name="connsiteY19" fmla="*/ 439921 h 477328"/>
                <a:gd name="connsiteX20" fmla="*/ 271756 w 799690"/>
                <a:gd name="connsiteY20" fmla="*/ 476413 h 477328"/>
                <a:gd name="connsiteX21" fmla="*/ 288111 w 799690"/>
                <a:gd name="connsiteY21" fmla="*/ 477329 h 477328"/>
                <a:gd name="connsiteX22" fmla="*/ 435268 w 799690"/>
                <a:gd name="connsiteY22" fmla="*/ 411531 h 477328"/>
                <a:gd name="connsiteX23" fmla="*/ 737336 w 799690"/>
                <a:gd name="connsiteY23" fmla="*/ 202373 h 477328"/>
                <a:gd name="connsiteX24" fmla="*/ 786612 w 799690"/>
                <a:gd name="connsiteY24" fmla="*/ 43374 h 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328">
                  <a:moveTo>
                    <a:pt x="786717" y="43338"/>
                  </a:moveTo>
                  <a:cubicBezTo>
                    <a:pt x="740297" y="-33097"/>
                    <a:pt x="666912" y="5896"/>
                    <a:pt x="581931" y="51017"/>
                  </a:cubicBezTo>
                  <a:cubicBezTo>
                    <a:pt x="571991" y="56301"/>
                    <a:pt x="561523" y="61866"/>
                    <a:pt x="550491" y="67572"/>
                  </a:cubicBezTo>
                  <a:lnTo>
                    <a:pt x="550773" y="68136"/>
                  </a:lnTo>
                  <a:cubicBezTo>
                    <a:pt x="537943" y="74265"/>
                    <a:pt x="510908" y="89411"/>
                    <a:pt x="444256" y="126677"/>
                  </a:cubicBezTo>
                  <a:lnTo>
                    <a:pt x="422825" y="138689"/>
                  </a:lnTo>
                  <a:lnTo>
                    <a:pt x="446370" y="199062"/>
                  </a:lnTo>
                  <a:lnTo>
                    <a:pt x="475590" y="182577"/>
                  </a:lnTo>
                  <a:cubicBezTo>
                    <a:pt x="511472" y="162500"/>
                    <a:pt x="569172" y="130270"/>
                    <a:pt x="578688" y="125128"/>
                  </a:cubicBezTo>
                  <a:lnTo>
                    <a:pt x="580098" y="124388"/>
                  </a:lnTo>
                  <a:cubicBezTo>
                    <a:pt x="591272" y="118576"/>
                    <a:pt x="601881" y="112940"/>
                    <a:pt x="611962" y="107586"/>
                  </a:cubicBezTo>
                  <a:cubicBezTo>
                    <a:pt x="707200" y="57005"/>
                    <a:pt x="719748" y="56547"/>
                    <a:pt x="731908" y="76590"/>
                  </a:cubicBezTo>
                  <a:cubicBezTo>
                    <a:pt x="736878" y="84797"/>
                    <a:pt x="742447" y="123578"/>
                    <a:pt x="703358" y="148094"/>
                  </a:cubicBezTo>
                  <a:cubicBezTo>
                    <a:pt x="680341" y="162535"/>
                    <a:pt x="434457" y="332736"/>
                    <a:pt x="397412" y="359858"/>
                  </a:cubicBezTo>
                  <a:cubicBezTo>
                    <a:pt x="338197" y="403254"/>
                    <a:pt x="309329" y="416075"/>
                    <a:pt x="278770" y="412729"/>
                  </a:cubicBezTo>
                  <a:cubicBezTo>
                    <a:pt x="244827" y="408995"/>
                    <a:pt x="145923" y="384303"/>
                    <a:pt x="110711" y="375110"/>
                  </a:cubicBezTo>
                  <a:lnTo>
                    <a:pt x="99750" y="372257"/>
                  </a:lnTo>
                  <a:lnTo>
                    <a:pt x="0" y="416639"/>
                  </a:lnTo>
                  <a:lnTo>
                    <a:pt x="36869" y="470813"/>
                  </a:lnTo>
                  <a:lnTo>
                    <a:pt x="105495" y="439921"/>
                  </a:lnTo>
                  <a:cubicBezTo>
                    <a:pt x="138134" y="448269"/>
                    <a:pt x="233477" y="472186"/>
                    <a:pt x="271756" y="476413"/>
                  </a:cubicBezTo>
                  <a:cubicBezTo>
                    <a:pt x="277290" y="477012"/>
                    <a:pt x="282718" y="477329"/>
                    <a:pt x="288111" y="477329"/>
                  </a:cubicBezTo>
                  <a:cubicBezTo>
                    <a:pt x="335835" y="477329"/>
                    <a:pt x="377956" y="453553"/>
                    <a:pt x="435268" y="411531"/>
                  </a:cubicBezTo>
                  <a:cubicBezTo>
                    <a:pt x="474780" y="382577"/>
                    <a:pt x="718796" y="213997"/>
                    <a:pt x="737336" y="202373"/>
                  </a:cubicBezTo>
                  <a:cubicBezTo>
                    <a:pt x="806280" y="159189"/>
                    <a:pt x="810263" y="82261"/>
                    <a:pt x="786612" y="43374"/>
                  </a:cubicBezTo>
                </a:path>
              </a:pathLst>
            </a:custGeom>
            <a:solidFill>
              <a:srgbClr val="FFFFFF"/>
            </a:solidFill>
            <a:ln w="3521" cap="flat">
              <a:noFill/>
              <a:prstDash val="solid"/>
              <a:miter/>
            </a:ln>
          </p:spPr>
          <p:txBody>
            <a:bodyPr rtlCol="0" anchor="ctr"/>
            <a:lstStyle/>
            <a:p>
              <a:endParaRPr lang="de-DE"/>
            </a:p>
          </p:txBody>
        </p:sp>
      </p:grpSp>
      <p:pic>
        <p:nvPicPr>
          <p:cNvPr id="64" name="Grafik 63">
            <a:extLst>
              <a:ext uri="{FF2B5EF4-FFF2-40B4-BE49-F238E27FC236}">
                <a16:creationId xmlns:a16="http://schemas.microsoft.com/office/drawing/2014/main" id="{1AC0518B-E84B-916C-22F1-21B2F90CECB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922" r="14922"/>
          <a:stretch/>
        </p:blipFill>
        <p:spPr>
          <a:xfrm>
            <a:off x="522698" y="372730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5" name="Grafik 64">
            <a:extLst>
              <a:ext uri="{FF2B5EF4-FFF2-40B4-BE49-F238E27FC236}">
                <a16:creationId xmlns:a16="http://schemas.microsoft.com/office/drawing/2014/main" id="{07BC6866-2D3A-776D-4502-55C8316A5C8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3663" t="30789" r="16872" b="31609"/>
          <a:stretch/>
        </p:blipFill>
        <p:spPr>
          <a:xfrm>
            <a:off x="2685348" y="372730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6" name="Grafik 65">
            <a:extLst>
              <a:ext uri="{FF2B5EF4-FFF2-40B4-BE49-F238E27FC236}">
                <a16:creationId xmlns:a16="http://schemas.microsoft.com/office/drawing/2014/main" id="{732D4900-CCC0-452D-16A1-E556BDA7F936}"/>
              </a:ext>
            </a:extLst>
          </p:cNvPr>
          <p:cNvPicPr>
            <a:picLocks noChangeAspect="1"/>
          </p:cNvPicPr>
          <p:nvPr/>
        </p:nvPicPr>
        <p:blipFill>
          <a:blip r:embed="rId4" cstate="print">
            <a:extLst>
              <a:ext uri="{28A0092B-C50C-407E-A947-70E740481C1C}">
                <a14:useLocalDpi xmlns:a14="http://schemas.microsoft.com/office/drawing/2010/main"/>
              </a:ext>
            </a:extLst>
          </a:blip>
          <a:srcRect t="18383" b="18383"/>
          <a:stretch/>
        </p:blipFill>
        <p:spPr>
          <a:xfrm>
            <a:off x="1604023" y="210408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7" name="Grafik 66">
            <a:extLst>
              <a:ext uri="{FF2B5EF4-FFF2-40B4-BE49-F238E27FC236}">
                <a16:creationId xmlns:a16="http://schemas.microsoft.com/office/drawing/2014/main" id="{11DE635E-50CE-2519-F5EE-8D6B6ACE2BB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3167" t="29257" b="16089"/>
          <a:stretch/>
        </p:blipFill>
        <p:spPr>
          <a:xfrm>
            <a:off x="3766672" y="210408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spTree>
    <p:extLst>
      <p:ext uri="{BB962C8B-B14F-4D97-AF65-F5344CB8AC3E}">
        <p14:creationId xmlns:p14="http://schemas.microsoft.com/office/powerpoint/2010/main" val="406469979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585E88C-B950-C645-F870-CC3CFD554108}"/>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08D1F56-83B0-FA65-A42A-2F8FFD71080D}"/>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0083C02-8E1C-AAE8-4236-5E3A39DCEF49}"/>
              </a:ext>
            </a:extLst>
          </p:cNvPr>
          <p:cNvSpPr>
            <a:spLocks noGrp="1"/>
          </p:cNvSpPr>
          <p:nvPr>
            <p:ph type="sldNum" sz="quarter" idx="12"/>
          </p:nvPr>
        </p:nvSpPr>
        <p:spPr/>
        <p:txBody>
          <a:bodyPr/>
          <a:lstStyle/>
          <a:p>
            <a:fld id="{E84006A6-0E15-460A-BCD4-002C20F8AC9F}" type="slidenum">
              <a:rPr lang="de-DE" smtClean="0"/>
              <a:pPr/>
              <a:t>101</a:t>
            </a:fld>
            <a:endParaRPr lang="de-DE"/>
          </a:p>
        </p:txBody>
      </p:sp>
      <p:sp>
        <p:nvSpPr>
          <p:cNvPr id="5" name="Titel 4">
            <a:extLst>
              <a:ext uri="{FF2B5EF4-FFF2-40B4-BE49-F238E27FC236}">
                <a16:creationId xmlns:a16="http://schemas.microsoft.com/office/drawing/2014/main" id="{893FB59D-5611-71BC-5BF3-85980CEAD51D}"/>
              </a:ext>
            </a:extLst>
          </p:cNvPr>
          <p:cNvSpPr>
            <a:spLocks noGrp="1"/>
          </p:cNvSpPr>
          <p:nvPr>
            <p:ph type="title"/>
          </p:nvPr>
        </p:nvSpPr>
        <p:spPr/>
        <p:txBody>
          <a:bodyPr/>
          <a:lstStyle/>
          <a:p>
            <a:r>
              <a:rPr lang="de-DE" dirty="0"/>
              <a:t>4 Fokusbereiche Bilder und Icons</a:t>
            </a:r>
          </a:p>
        </p:txBody>
      </p:sp>
      <p:grpSp>
        <p:nvGrpSpPr>
          <p:cNvPr id="8" name="Gruppieren 7">
            <a:extLst>
              <a:ext uri="{FF2B5EF4-FFF2-40B4-BE49-F238E27FC236}">
                <a16:creationId xmlns:a16="http://schemas.microsoft.com/office/drawing/2014/main" id="{E177BDE5-0364-7E33-8609-098104DDCF90}"/>
              </a:ext>
            </a:extLst>
          </p:cNvPr>
          <p:cNvGrpSpPr/>
          <p:nvPr/>
        </p:nvGrpSpPr>
        <p:grpSpPr>
          <a:xfrm>
            <a:off x="7011370" y="4122514"/>
            <a:ext cx="1998233" cy="1891809"/>
            <a:chOff x="9341420" y="2104602"/>
            <a:chExt cx="1998233" cy="1891809"/>
          </a:xfrm>
        </p:grpSpPr>
        <p:sp>
          <p:nvSpPr>
            <p:cNvPr id="27" name="Freihandform 26">
              <a:extLst>
                <a:ext uri="{FF2B5EF4-FFF2-40B4-BE49-F238E27FC236}">
                  <a16:creationId xmlns:a16="http://schemas.microsoft.com/office/drawing/2014/main" id="{7AB3D00D-39C6-6ECB-A6FE-C830F58E551F}"/>
                </a:ext>
              </a:extLst>
            </p:cNvPr>
            <p:cNvSpPr/>
            <p:nvPr/>
          </p:nvSpPr>
          <p:spPr>
            <a:xfrm>
              <a:off x="9341420" y="2104602"/>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5"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5"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68" name="Gruppieren 67">
              <a:extLst>
                <a:ext uri="{FF2B5EF4-FFF2-40B4-BE49-F238E27FC236}">
                  <a16:creationId xmlns:a16="http://schemas.microsoft.com/office/drawing/2014/main" id="{1733B568-B26A-CF59-87C5-1A8CC8C90524}"/>
                </a:ext>
              </a:extLst>
            </p:cNvPr>
            <p:cNvGrpSpPr/>
            <p:nvPr/>
          </p:nvGrpSpPr>
          <p:grpSpPr>
            <a:xfrm>
              <a:off x="9680110" y="2394677"/>
              <a:ext cx="1210954" cy="1210144"/>
              <a:chOff x="9680110" y="2394677"/>
              <a:chExt cx="1210954" cy="1210144"/>
            </a:xfrm>
          </p:grpSpPr>
          <p:sp>
            <p:nvSpPr>
              <p:cNvPr id="36" name="Freihandform 35">
                <a:extLst>
                  <a:ext uri="{FF2B5EF4-FFF2-40B4-BE49-F238E27FC236}">
                    <a16:creationId xmlns:a16="http://schemas.microsoft.com/office/drawing/2014/main" id="{37E8E11D-B746-941C-F6C6-2601452ECB53}"/>
                  </a:ext>
                </a:extLst>
              </p:cNvPr>
              <p:cNvSpPr/>
              <p:nvPr/>
            </p:nvSpPr>
            <p:spPr>
              <a:xfrm>
                <a:off x="9680110" y="2961604"/>
                <a:ext cx="1210954" cy="643217"/>
              </a:xfrm>
              <a:custGeom>
                <a:avLst/>
                <a:gdLst>
                  <a:gd name="connsiteX0" fmla="*/ 180431 w 1210954"/>
                  <a:gd name="connsiteY0" fmla="*/ 150791 h 643217"/>
                  <a:gd name="connsiteX1" fmla="*/ 438652 w 1210954"/>
                  <a:gd name="connsiteY1" fmla="*/ 525289 h 643217"/>
                  <a:gd name="connsiteX2" fmla="*/ 291353 w 1210954"/>
                  <a:gd name="connsiteY2" fmla="*/ 643217 h 643217"/>
                  <a:gd name="connsiteX3" fmla="*/ 251277 w 1210954"/>
                  <a:gd name="connsiteY3" fmla="*/ 593235 h 643217"/>
                  <a:gd name="connsiteX4" fmla="*/ 352049 w 1210954"/>
                  <a:gd name="connsiteY4" fmla="*/ 512538 h 643217"/>
                  <a:gd name="connsiteX5" fmla="*/ 162912 w 1210954"/>
                  <a:gd name="connsiteY5" fmla="*/ 238251 h 643217"/>
                  <a:gd name="connsiteX6" fmla="*/ 34754 w 1210954"/>
                  <a:gd name="connsiteY6" fmla="*/ 320921 h 643217"/>
                  <a:gd name="connsiteX7" fmla="*/ 0 w 1210954"/>
                  <a:gd name="connsiteY7" fmla="*/ 267099 h 643217"/>
                  <a:gd name="connsiteX8" fmla="*/ 180430 w 1210954"/>
                  <a:gd name="connsiteY8" fmla="*/ 150755 h 643217"/>
                  <a:gd name="connsiteX9" fmla="*/ 180430 w 1210954"/>
                  <a:gd name="connsiteY9" fmla="*/ 150791 h 643217"/>
                  <a:gd name="connsiteX10" fmla="*/ 672340 w 1210954"/>
                  <a:gd name="connsiteY10" fmla="*/ 90593 h 643217"/>
                  <a:gd name="connsiteX11" fmla="*/ 593069 w 1210954"/>
                  <a:gd name="connsiteY11" fmla="*/ 65902 h 643217"/>
                  <a:gd name="connsiteX12" fmla="*/ 388671 w 1210954"/>
                  <a:gd name="connsiteY12" fmla="*/ 71643 h 643217"/>
                  <a:gd name="connsiteX13" fmla="*/ 268196 w 1210954"/>
                  <a:gd name="connsiteY13" fmla="*/ 162344 h 643217"/>
                  <a:gd name="connsiteX14" fmla="*/ 247329 w 1210954"/>
                  <a:gd name="connsiteY14" fmla="*/ 179216 h 643217"/>
                  <a:gd name="connsiteX15" fmla="*/ 283634 w 1210954"/>
                  <a:gd name="connsiteY15" fmla="*/ 232263 h 643217"/>
                  <a:gd name="connsiteX16" fmla="*/ 308519 w 1210954"/>
                  <a:gd name="connsiteY16" fmla="*/ 212115 h 643217"/>
                  <a:gd name="connsiteX17" fmla="*/ 423883 w 1210954"/>
                  <a:gd name="connsiteY17" fmla="*/ 125113 h 643217"/>
                  <a:gd name="connsiteX18" fmla="*/ 571110 w 1210954"/>
                  <a:gd name="connsiteY18" fmla="*/ 126064 h 643217"/>
                  <a:gd name="connsiteX19" fmla="*/ 654893 w 1210954"/>
                  <a:gd name="connsiteY19" fmla="*/ 152200 h 643217"/>
                  <a:gd name="connsiteX20" fmla="*/ 745619 w 1210954"/>
                  <a:gd name="connsiteY20" fmla="*/ 197814 h 643217"/>
                  <a:gd name="connsiteX21" fmla="*/ 740262 w 1210954"/>
                  <a:gd name="connsiteY21" fmla="*/ 228036 h 643217"/>
                  <a:gd name="connsiteX22" fmla="*/ 676711 w 1210954"/>
                  <a:gd name="connsiteY22" fmla="*/ 244133 h 643217"/>
                  <a:gd name="connsiteX23" fmla="*/ 517041 w 1210954"/>
                  <a:gd name="connsiteY23" fmla="*/ 209051 h 643217"/>
                  <a:gd name="connsiteX24" fmla="*/ 485988 w 1210954"/>
                  <a:gd name="connsiteY24" fmla="*/ 201125 h 643217"/>
                  <a:gd name="connsiteX25" fmla="*/ 470091 w 1210954"/>
                  <a:gd name="connsiteY25" fmla="*/ 263154 h 643217"/>
                  <a:gd name="connsiteX26" fmla="*/ 501145 w 1210954"/>
                  <a:gd name="connsiteY26" fmla="*/ 271079 h 643217"/>
                  <a:gd name="connsiteX27" fmla="*/ 672200 w 1210954"/>
                  <a:gd name="connsiteY27" fmla="*/ 307994 h 643217"/>
                  <a:gd name="connsiteX28" fmla="*/ 688942 w 1210954"/>
                  <a:gd name="connsiteY28" fmla="*/ 308593 h 643217"/>
                  <a:gd name="connsiteX29" fmla="*/ 789608 w 1210954"/>
                  <a:gd name="connsiteY29" fmla="*/ 268860 h 643217"/>
                  <a:gd name="connsiteX30" fmla="*/ 807584 w 1210954"/>
                  <a:gd name="connsiteY30" fmla="*/ 181470 h 643217"/>
                  <a:gd name="connsiteX31" fmla="*/ 672270 w 1210954"/>
                  <a:gd name="connsiteY31" fmla="*/ 90593 h 643217"/>
                  <a:gd name="connsiteX32" fmla="*/ 1197946 w 1210954"/>
                  <a:gd name="connsiteY32" fmla="*/ 43323 h 643217"/>
                  <a:gd name="connsiteX33" fmla="*/ 993160 w 1210954"/>
                  <a:gd name="connsiteY33" fmla="*/ 51002 h 643217"/>
                  <a:gd name="connsiteX34" fmla="*/ 961720 w 1210954"/>
                  <a:gd name="connsiteY34" fmla="*/ 67557 h 643217"/>
                  <a:gd name="connsiteX35" fmla="*/ 962002 w 1210954"/>
                  <a:gd name="connsiteY35" fmla="*/ 68121 h 643217"/>
                  <a:gd name="connsiteX36" fmla="*/ 855485 w 1210954"/>
                  <a:gd name="connsiteY36" fmla="*/ 126662 h 643217"/>
                  <a:gd name="connsiteX37" fmla="*/ 834054 w 1210954"/>
                  <a:gd name="connsiteY37" fmla="*/ 138674 h 643217"/>
                  <a:gd name="connsiteX38" fmla="*/ 857600 w 1210954"/>
                  <a:gd name="connsiteY38" fmla="*/ 199012 h 643217"/>
                  <a:gd name="connsiteX39" fmla="*/ 886820 w 1210954"/>
                  <a:gd name="connsiteY39" fmla="*/ 182527 h 643217"/>
                  <a:gd name="connsiteX40" fmla="*/ 989918 w 1210954"/>
                  <a:gd name="connsiteY40" fmla="*/ 125077 h 643217"/>
                  <a:gd name="connsiteX41" fmla="*/ 991363 w 1210954"/>
                  <a:gd name="connsiteY41" fmla="*/ 124338 h 643217"/>
                  <a:gd name="connsiteX42" fmla="*/ 1023227 w 1210954"/>
                  <a:gd name="connsiteY42" fmla="*/ 107536 h 643217"/>
                  <a:gd name="connsiteX43" fmla="*/ 1143172 w 1210954"/>
                  <a:gd name="connsiteY43" fmla="*/ 76539 h 643217"/>
                  <a:gd name="connsiteX44" fmla="*/ 1114622 w 1210954"/>
                  <a:gd name="connsiteY44" fmla="*/ 148043 h 643217"/>
                  <a:gd name="connsiteX45" fmla="*/ 808677 w 1210954"/>
                  <a:gd name="connsiteY45" fmla="*/ 359773 h 643217"/>
                  <a:gd name="connsiteX46" fmla="*/ 690035 w 1210954"/>
                  <a:gd name="connsiteY46" fmla="*/ 412643 h 643217"/>
                  <a:gd name="connsiteX47" fmla="*/ 521976 w 1210954"/>
                  <a:gd name="connsiteY47" fmla="*/ 375024 h 643217"/>
                  <a:gd name="connsiteX48" fmla="*/ 511014 w 1210954"/>
                  <a:gd name="connsiteY48" fmla="*/ 372171 h 643217"/>
                  <a:gd name="connsiteX49" fmla="*/ 411264 w 1210954"/>
                  <a:gd name="connsiteY49" fmla="*/ 416518 h 643217"/>
                  <a:gd name="connsiteX50" fmla="*/ 448133 w 1210954"/>
                  <a:gd name="connsiteY50" fmla="*/ 470692 h 643217"/>
                  <a:gd name="connsiteX51" fmla="*/ 516759 w 1210954"/>
                  <a:gd name="connsiteY51" fmla="*/ 439836 h 643217"/>
                  <a:gd name="connsiteX52" fmla="*/ 683020 w 1210954"/>
                  <a:gd name="connsiteY52" fmla="*/ 476328 h 643217"/>
                  <a:gd name="connsiteX53" fmla="*/ 699375 w 1210954"/>
                  <a:gd name="connsiteY53" fmla="*/ 477243 h 643217"/>
                  <a:gd name="connsiteX54" fmla="*/ 846532 w 1210954"/>
                  <a:gd name="connsiteY54" fmla="*/ 411446 h 643217"/>
                  <a:gd name="connsiteX55" fmla="*/ 1148600 w 1210954"/>
                  <a:gd name="connsiteY55" fmla="*/ 202323 h 643217"/>
                  <a:gd name="connsiteX56" fmla="*/ 1197876 w 1210954"/>
                  <a:gd name="connsiteY56" fmla="*/ 43323 h 64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10954" h="643217">
                    <a:moveTo>
                      <a:pt x="180431" y="150791"/>
                    </a:moveTo>
                    <a:lnTo>
                      <a:pt x="438652" y="525289"/>
                    </a:lnTo>
                    <a:lnTo>
                      <a:pt x="291353" y="643217"/>
                    </a:lnTo>
                    <a:lnTo>
                      <a:pt x="251277" y="593235"/>
                    </a:lnTo>
                    <a:lnTo>
                      <a:pt x="352049" y="512538"/>
                    </a:lnTo>
                    <a:lnTo>
                      <a:pt x="162912" y="238251"/>
                    </a:lnTo>
                    <a:lnTo>
                      <a:pt x="34754" y="320921"/>
                    </a:lnTo>
                    <a:lnTo>
                      <a:pt x="0" y="267099"/>
                    </a:lnTo>
                    <a:lnTo>
                      <a:pt x="180430" y="150755"/>
                    </a:lnTo>
                    <a:lnTo>
                      <a:pt x="180430" y="150791"/>
                    </a:lnTo>
                    <a:close/>
                    <a:moveTo>
                      <a:pt x="672340" y="90593"/>
                    </a:moveTo>
                    <a:cubicBezTo>
                      <a:pt x="648513" y="83866"/>
                      <a:pt x="621514" y="76257"/>
                      <a:pt x="593069" y="65902"/>
                    </a:cubicBezTo>
                    <a:cubicBezTo>
                      <a:pt x="500017" y="32052"/>
                      <a:pt x="446512" y="33566"/>
                      <a:pt x="388671" y="71643"/>
                    </a:cubicBezTo>
                    <a:cubicBezTo>
                      <a:pt x="344083" y="100985"/>
                      <a:pt x="271298" y="159878"/>
                      <a:pt x="268196" y="162344"/>
                    </a:cubicBezTo>
                    <a:lnTo>
                      <a:pt x="247329" y="179216"/>
                    </a:lnTo>
                    <a:lnTo>
                      <a:pt x="283634" y="232263"/>
                    </a:lnTo>
                    <a:lnTo>
                      <a:pt x="308519" y="212115"/>
                    </a:lnTo>
                    <a:cubicBezTo>
                      <a:pt x="309259" y="211516"/>
                      <a:pt x="381903" y="152728"/>
                      <a:pt x="423883" y="125113"/>
                    </a:cubicBezTo>
                    <a:cubicBezTo>
                      <a:pt x="454971" y="104648"/>
                      <a:pt x="482005" y="93693"/>
                      <a:pt x="571110" y="126064"/>
                    </a:cubicBezTo>
                    <a:cubicBezTo>
                      <a:pt x="601775" y="137230"/>
                      <a:pt x="630008" y="145190"/>
                      <a:pt x="654893" y="152200"/>
                    </a:cubicBezTo>
                    <a:cubicBezTo>
                      <a:pt x="710760" y="167945"/>
                      <a:pt x="740191" y="177138"/>
                      <a:pt x="745619" y="197814"/>
                    </a:cubicBezTo>
                    <a:cubicBezTo>
                      <a:pt x="747064" y="203239"/>
                      <a:pt x="749391" y="217011"/>
                      <a:pt x="740262" y="228036"/>
                    </a:cubicBezTo>
                    <a:cubicBezTo>
                      <a:pt x="729864" y="240576"/>
                      <a:pt x="707341" y="246247"/>
                      <a:pt x="676711" y="244133"/>
                    </a:cubicBezTo>
                    <a:cubicBezTo>
                      <a:pt x="654012" y="242548"/>
                      <a:pt x="566740" y="221766"/>
                      <a:pt x="517041" y="209051"/>
                    </a:cubicBezTo>
                    <a:lnTo>
                      <a:pt x="485988" y="201125"/>
                    </a:lnTo>
                    <a:lnTo>
                      <a:pt x="470091" y="263154"/>
                    </a:lnTo>
                    <a:lnTo>
                      <a:pt x="501145" y="271079"/>
                    </a:lnTo>
                    <a:cubicBezTo>
                      <a:pt x="514891" y="274602"/>
                      <a:pt x="636318" y="305493"/>
                      <a:pt x="672200" y="307994"/>
                    </a:cubicBezTo>
                    <a:cubicBezTo>
                      <a:pt x="678015" y="308417"/>
                      <a:pt x="683584" y="308593"/>
                      <a:pt x="688942" y="308593"/>
                    </a:cubicBezTo>
                    <a:cubicBezTo>
                      <a:pt x="744421" y="308593"/>
                      <a:pt x="774170" y="287494"/>
                      <a:pt x="789608" y="268860"/>
                    </a:cubicBezTo>
                    <a:cubicBezTo>
                      <a:pt x="809417" y="244979"/>
                      <a:pt x="815938" y="213101"/>
                      <a:pt x="807584" y="181470"/>
                    </a:cubicBezTo>
                    <a:cubicBezTo>
                      <a:pt x="792533" y="124479"/>
                      <a:pt x="736808" y="108769"/>
                      <a:pt x="672270" y="90593"/>
                    </a:cubicBezTo>
                    <a:moveTo>
                      <a:pt x="1197946" y="43323"/>
                    </a:moveTo>
                    <a:cubicBezTo>
                      <a:pt x="1151526" y="-33077"/>
                      <a:pt x="1078141" y="5881"/>
                      <a:pt x="993160" y="51002"/>
                    </a:cubicBezTo>
                    <a:cubicBezTo>
                      <a:pt x="983221" y="56286"/>
                      <a:pt x="972752" y="61851"/>
                      <a:pt x="961720" y="67557"/>
                    </a:cubicBezTo>
                    <a:lnTo>
                      <a:pt x="962002" y="68121"/>
                    </a:lnTo>
                    <a:cubicBezTo>
                      <a:pt x="949172" y="74250"/>
                      <a:pt x="922137" y="89361"/>
                      <a:pt x="855485" y="126662"/>
                    </a:cubicBezTo>
                    <a:lnTo>
                      <a:pt x="834054" y="138674"/>
                    </a:lnTo>
                    <a:lnTo>
                      <a:pt x="857600" y="199012"/>
                    </a:lnTo>
                    <a:lnTo>
                      <a:pt x="886820" y="182527"/>
                    </a:lnTo>
                    <a:cubicBezTo>
                      <a:pt x="922702" y="162450"/>
                      <a:pt x="980401" y="130220"/>
                      <a:pt x="989918" y="125077"/>
                    </a:cubicBezTo>
                    <a:lnTo>
                      <a:pt x="991363" y="124338"/>
                    </a:lnTo>
                    <a:cubicBezTo>
                      <a:pt x="1002537" y="118526"/>
                      <a:pt x="1013146" y="112890"/>
                      <a:pt x="1023227" y="107536"/>
                    </a:cubicBezTo>
                    <a:cubicBezTo>
                      <a:pt x="1118464" y="56955"/>
                      <a:pt x="1131012" y="56497"/>
                      <a:pt x="1143172" y="76539"/>
                    </a:cubicBezTo>
                    <a:cubicBezTo>
                      <a:pt x="1148142" y="84746"/>
                      <a:pt x="1153711" y="123528"/>
                      <a:pt x="1114622" y="148043"/>
                    </a:cubicBezTo>
                    <a:cubicBezTo>
                      <a:pt x="1091606" y="162450"/>
                      <a:pt x="845721" y="332650"/>
                      <a:pt x="808677" y="359773"/>
                    </a:cubicBezTo>
                    <a:cubicBezTo>
                      <a:pt x="749461" y="403168"/>
                      <a:pt x="720629" y="415990"/>
                      <a:pt x="690035" y="412643"/>
                    </a:cubicBezTo>
                    <a:cubicBezTo>
                      <a:pt x="656092" y="408910"/>
                      <a:pt x="557188" y="384218"/>
                      <a:pt x="521976" y="375024"/>
                    </a:cubicBezTo>
                    <a:lnTo>
                      <a:pt x="511014" y="372171"/>
                    </a:lnTo>
                    <a:lnTo>
                      <a:pt x="411264" y="416518"/>
                    </a:lnTo>
                    <a:lnTo>
                      <a:pt x="448133" y="470692"/>
                    </a:lnTo>
                    <a:lnTo>
                      <a:pt x="516759" y="439836"/>
                    </a:lnTo>
                    <a:cubicBezTo>
                      <a:pt x="549398" y="448184"/>
                      <a:pt x="644742" y="472101"/>
                      <a:pt x="683020" y="476328"/>
                    </a:cubicBezTo>
                    <a:cubicBezTo>
                      <a:pt x="688554" y="476926"/>
                      <a:pt x="693982" y="477243"/>
                      <a:pt x="699375" y="477243"/>
                    </a:cubicBezTo>
                    <a:cubicBezTo>
                      <a:pt x="747100" y="477243"/>
                      <a:pt x="789220" y="453467"/>
                      <a:pt x="846532" y="411446"/>
                    </a:cubicBezTo>
                    <a:cubicBezTo>
                      <a:pt x="886009" y="382492"/>
                      <a:pt x="1130060" y="213947"/>
                      <a:pt x="1148600" y="202323"/>
                    </a:cubicBezTo>
                    <a:cubicBezTo>
                      <a:pt x="1217544" y="159104"/>
                      <a:pt x="1221526" y="82210"/>
                      <a:pt x="1197876" y="43323"/>
                    </a:cubicBezTo>
                  </a:path>
                </a:pathLst>
              </a:custGeom>
              <a:solidFill>
                <a:srgbClr val="FFFFFF"/>
              </a:solidFill>
              <a:ln w="3521" cap="flat">
                <a:noFill/>
                <a:prstDash val="solid"/>
                <a:miter/>
              </a:ln>
            </p:spPr>
            <p:txBody>
              <a:bodyPr rtlCol="0" anchor="ctr"/>
              <a:lstStyle/>
              <a:p>
                <a:endParaRPr lang="de-DE"/>
              </a:p>
            </p:txBody>
          </p:sp>
          <p:sp>
            <p:nvSpPr>
              <p:cNvPr id="37" name="Freihandform 36">
                <a:extLst>
                  <a:ext uri="{FF2B5EF4-FFF2-40B4-BE49-F238E27FC236}">
                    <a16:creationId xmlns:a16="http://schemas.microsoft.com/office/drawing/2014/main" id="{E4977C4B-8976-60F1-A9B6-7331DAB502C3}"/>
                  </a:ext>
                </a:extLst>
              </p:cNvPr>
              <p:cNvSpPr/>
              <p:nvPr/>
            </p:nvSpPr>
            <p:spPr>
              <a:xfrm>
                <a:off x="10318269" y="2574424"/>
                <a:ext cx="319787" cy="441951"/>
              </a:xfrm>
              <a:custGeom>
                <a:avLst/>
                <a:gdLst>
                  <a:gd name="connsiteX0" fmla="*/ 301531 w 319787"/>
                  <a:gd name="connsiteY0" fmla="*/ 353540 h 441951"/>
                  <a:gd name="connsiteX1" fmla="*/ 248872 w 319787"/>
                  <a:gd name="connsiteY1" fmla="*/ 286227 h 441951"/>
                  <a:gd name="connsiteX2" fmla="*/ 215669 w 319787"/>
                  <a:gd name="connsiteY2" fmla="*/ 189891 h 441951"/>
                  <a:gd name="connsiteX3" fmla="*/ 215669 w 319787"/>
                  <a:gd name="connsiteY3" fmla="*/ 34167 h 441951"/>
                  <a:gd name="connsiteX4" fmla="*/ 219723 w 319787"/>
                  <a:gd name="connsiteY4" fmla="*/ 34167 h 441951"/>
                  <a:gd name="connsiteX5" fmla="*/ 236817 w 319787"/>
                  <a:gd name="connsiteY5" fmla="*/ 17083 h 441951"/>
                  <a:gd name="connsiteX6" fmla="*/ 219723 w 319787"/>
                  <a:gd name="connsiteY6" fmla="*/ 0 h 441951"/>
                  <a:gd name="connsiteX7" fmla="*/ 99670 w 319787"/>
                  <a:gd name="connsiteY7" fmla="*/ 0 h 441951"/>
                  <a:gd name="connsiteX8" fmla="*/ 82575 w 319787"/>
                  <a:gd name="connsiteY8" fmla="*/ 17083 h 441951"/>
                  <a:gd name="connsiteX9" fmla="*/ 99670 w 319787"/>
                  <a:gd name="connsiteY9" fmla="*/ 34167 h 441951"/>
                  <a:gd name="connsiteX10" fmla="*/ 109011 w 319787"/>
                  <a:gd name="connsiteY10" fmla="*/ 34167 h 441951"/>
                  <a:gd name="connsiteX11" fmla="*/ 109011 w 319787"/>
                  <a:gd name="connsiteY11" fmla="*/ 181331 h 441951"/>
                  <a:gd name="connsiteX12" fmla="*/ 70345 w 319787"/>
                  <a:gd name="connsiteY12" fmla="*/ 292673 h 441951"/>
                  <a:gd name="connsiteX13" fmla="*/ 16663 w 319787"/>
                  <a:gd name="connsiteY13" fmla="*/ 360655 h 441951"/>
                  <a:gd name="connsiteX14" fmla="*/ 3587 w 319787"/>
                  <a:gd name="connsiteY14" fmla="*/ 418422 h 441951"/>
                  <a:gd name="connsiteX15" fmla="*/ 56105 w 319787"/>
                  <a:gd name="connsiteY15" fmla="*/ 441951 h 441951"/>
                  <a:gd name="connsiteX16" fmla="*/ 258459 w 319787"/>
                  <a:gd name="connsiteY16" fmla="*/ 441951 h 441951"/>
                  <a:gd name="connsiteX17" fmla="*/ 315877 w 319787"/>
                  <a:gd name="connsiteY17" fmla="*/ 416590 h 441951"/>
                  <a:gd name="connsiteX18" fmla="*/ 301601 w 319787"/>
                  <a:gd name="connsiteY18" fmla="*/ 353505 h 441951"/>
                  <a:gd name="connsiteX19" fmla="*/ 181479 w 319787"/>
                  <a:gd name="connsiteY19" fmla="*/ 34202 h 441951"/>
                  <a:gd name="connsiteX20" fmla="*/ 181479 w 319787"/>
                  <a:gd name="connsiteY20" fmla="*/ 189926 h 441951"/>
                  <a:gd name="connsiteX21" fmla="*/ 201746 w 319787"/>
                  <a:gd name="connsiteY21" fmla="*/ 274251 h 441951"/>
                  <a:gd name="connsiteX22" fmla="*/ 121206 w 319787"/>
                  <a:gd name="connsiteY22" fmla="*/ 274251 h 441951"/>
                  <a:gd name="connsiteX23" fmla="*/ 143130 w 319787"/>
                  <a:gd name="connsiteY23" fmla="*/ 181402 h 441951"/>
                  <a:gd name="connsiteX24" fmla="*/ 143130 w 319787"/>
                  <a:gd name="connsiteY24" fmla="*/ 34237 h 441951"/>
                  <a:gd name="connsiteX25" fmla="*/ 181479 w 319787"/>
                  <a:gd name="connsiteY25" fmla="*/ 34237 h 441951"/>
                  <a:gd name="connsiteX26" fmla="*/ 181479 w 319787"/>
                  <a:gd name="connsiteY26" fmla="*/ 34202 h 441951"/>
                  <a:gd name="connsiteX27" fmla="*/ 285071 w 319787"/>
                  <a:gd name="connsiteY27" fmla="*/ 401690 h 441951"/>
                  <a:gd name="connsiteX28" fmla="*/ 258389 w 319787"/>
                  <a:gd name="connsiteY28" fmla="*/ 407855 h 441951"/>
                  <a:gd name="connsiteX29" fmla="*/ 56034 w 319787"/>
                  <a:gd name="connsiteY29" fmla="*/ 407855 h 441951"/>
                  <a:gd name="connsiteX30" fmla="*/ 34287 w 319787"/>
                  <a:gd name="connsiteY30" fmla="*/ 403593 h 441951"/>
                  <a:gd name="connsiteX31" fmla="*/ 43451 w 319787"/>
                  <a:gd name="connsiteY31" fmla="*/ 381895 h 441951"/>
                  <a:gd name="connsiteX32" fmla="*/ 97133 w 319787"/>
                  <a:gd name="connsiteY32" fmla="*/ 313913 h 441951"/>
                  <a:gd name="connsiteX33" fmla="*/ 101151 w 319787"/>
                  <a:gd name="connsiteY33" fmla="*/ 308418 h 441951"/>
                  <a:gd name="connsiteX34" fmla="*/ 219687 w 319787"/>
                  <a:gd name="connsiteY34" fmla="*/ 308418 h 441951"/>
                  <a:gd name="connsiteX35" fmla="*/ 222577 w 319787"/>
                  <a:gd name="connsiteY35" fmla="*/ 308136 h 441951"/>
                  <a:gd name="connsiteX36" fmla="*/ 274567 w 319787"/>
                  <a:gd name="connsiteY36" fmla="*/ 374603 h 441951"/>
                  <a:gd name="connsiteX37" fmla="*/ 285071 w 319787"/>
                  <a:gd name="connsiteY37" fmla="*/ 401726 h 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9787" h="441951">
                    <a:moveTo>
                      <a:pt x="301531" y="353540"/>
                    </a:moveTo>
                    <a:lnTo>
                      <a:pt x="248872" y="286227"/>
                    </a:lnTo>
                    <a:cubicBezTo>
                      <a:pt x="216304" y="244593"/>
                      <a:pt x="215669" y="190384"/>
                      <a:pt x="215669" y="189891"/>
                    </a:cubicBezTo>
                    <a:lnTo>
                      <a:pt x="215669" y="34167"/>
                    </a:lnTo>
                    <a:lnTo>
                      <a:pt x="219723" y="34167"/>
                    </a:lnTo>
                    <a:cubicBezTo>
                      <a:pt x="229169" y="34167"/>
                      <a:pt x="236817" y="26523"/>
                      <a:pt x="236817" y="17083"/>
                    </a:cubicBezTo>
                    <a:cubicBezTo>
                      <a:pt x="236817" y="7644"/>
                      <a:pt x="229169" y="0"/>
                      <a:pt x="219723" y="0"/>
                    </a:cubicBezTo>
                    <a:lnTo>
                      <a:pt x="99670" y="0"/>
                    </a:lnTo>
                    <a:cubicBezTo>
                      <a:pt x="90224" y="0"/>
                      <a:pt x="82575" y="7644"/>
                      <a:pt x="82575" y="17083"/>
                    </a:cubicBezTo>
                    <a:cubicBezTo>
                      <a:pt x="82575" y="26523"/>
                      <a:pt x="90224" y="34167"/>
                      <a:pt x="99670" y="34167"/>
                    </a:cubicBezTo>
                    <a:lnTo>
                      <a:pt x="109011" y="34167"/>
                    </a:lnTo>
                    <a:lnTo>
                      <a:pt x="109011" y="181331"/>
                    </a:lnTo>
                    <a:cubicBezTo>
                      <a:pt x="109011" y="181965"/>
                      <a:pt x="108588" y="244276"/>
                      <a:pt x="70345" y="292673"/>
                    </a:cubicBezTo>
                    <a:lnTo>
                      <a:pt x="16663" y="360655"/>
                    </a:lnTo>
                    <a:cubicBezTo>
                      <a:pt x="12434" y="366044"/>
                      <a:pt x="-8186" y="394117"/>
                      <a:pt x="3587" y="418422"/>
                    </a:cubicBezTo>
                    <a:cubicBezTo>
                      <a:pt x="11164" y="434026"/>
                      <a:pt x="28823" y="441951"/>
                      <a:pt x="56105" y="441951"/>
                    </a:cubicBezTo>
                    <a:lnTo>
                      <a:pt x="258459" y="441951"/>
                    </a:lnTo>
                    <a:cubicBezTo>
                      <a:pt x="288348" y="441951"/>
                      <a:pt x="307664" y="433427"/>
                      <a:pt x="315877" y="416590"/>
                    </a:cubicBezTo>
                    <a:cubicBezTo>
                      <a:pt x="328707" y="390313"/>
                      <a:pt x="306254" y="359422"/>
                      <a:pt x="301601" y="353505"/>
                    </a:cubicBezTo>
                    <a:moveTo>
                      <a:pt x="181479" y="34202"/>
                    </a:moveTo>
                    <a:lnTo>
                      <a:pt x="181479" y="189926"/>
                    </a:lnTo>
                    <a:cubicBezTo>
                      <a:pt x="181479" y="192039"/>
                      <a:pt x="181831" y="232229"/>
                      <a:pt x="201746" y="274251"/>
                    </a:cubicBezTo>
                    <a:lnTo>
                      <a:pt x="121206" y="274251"/>
                    </a:lnTo>
                    <a:cubicBezTo>
                      <a:pt x="142742" y="227721"/>
                      <a:pt x="143130" y="183762"/>
                      <a:pt x="143130" y="181402"/>
                    </a:cubicBezTo>
                    <a:lnTo>
                      <a:pt x="143130" y="34237"/>
                    </a:lnTo>
                    <a:lnTo>
                      <a:pt x="181479" y="34237"/>
                    </a:lnTo>
                    <a:lnTo>
                      <a:pt x="181479" y="34202"/>
                    </a:lnTo>
                    <a:close/>
                    <a:moveTo>
                      <a:pt x="285071" y="401690"/>
                    </a:moveTo>
                    <a:cubicBezTo>
                      <a:pt x="284013" y="403839"/>
                      <a:pt x="277105" y="407855"/>
                      <a:pt x="258389" y="407855"/>
                    </a:cubicBezTo>
                    <a:lnTo>
                      <a:pt x="56034" y="407855"/>
                    </a:lnTo>
                    <a:cubicBezTo>
                      <a:pt x="38023" y="407855"/>
                      <a:pt x="34322" y="403628"/>
                      <a:pt x="34287" y="403593"/>
                    </a:cubicBezTo>
                    <a:cubicBezTo>
                      <a:pt x="32948" y="400951"/>
                      <a:pt x="37177" y="389961"/>
                      <a:pt x="43451" y="381895"/>
                    </a:cubicBezTo>
                    <a:lnTo>
                      <a:pt x="97133" y="313913"/>
                    </a:lnTo>
                    <a:cubicBezTo>
                      <a:pt x="98543" y="312117"/>
                      <a:pt x="99812" y="310250"/>
                      <a:pt x="101151" y="308418"/>
                    </a:cubicBezTo>
                    <a:lnTo>
                      <a:pt x="219687" y="308418"/>
                    </a:lnTo>
                    <a:cubicBezTo>
                      <a:pt x="220674" y="308418"/>
                      <a:pt x="221626" y="308277"/>
                      <a:pt x="222577" y="308136"/>
                    </a:cubicBezTo>
                    <a:lnTo>
                      <a:pt x="274567" y="374603"/>
                    </a:lnTo>
                    <a:cubicBezTo>
                      <a:pt x="281158" y="383128"/>
                      <a:pt x="287326" y="397147"/>
                      <a:pt x="285071" y="401726"/>
                    </a:cubicBezTo>
                  </a:path>
                </a:pathLst>
              </a:custGeom>
              <a:solidFill>
                <a:srgbClr val="FFFFFF"/>
              </a:solidFill>
              <a:ln w="3521" cap="flat">
                <a:noFill/>
                <a:prstDash val="solid"/>
                <a:miter/>
              </a:ln>
            </p:spPr>
            <p:txBody>
              <a:bodyPr rtlCol="0" anchor="ctr"/>
              <a:lstStyle/>
              <a:p>
                <a:endParaRPr lang="de-DE"/>
              </a:p>
            </p:txBody>
          </p:sp>
          <p:sp>
            <p:nvSpPr>
              <p:cNvPr id="38" name="Freihandform 37">
                <a:extLst>
                  <a:ext uri="{FF2B5EF4-FFF2-40B4-BE49-F238E27FC236}">
                    <a16:creationId xmlns:a16="http://schemas.microsoft.com/office/drawing/2014/main" id="{F7B94B03-D8AF-03F3-4E44-7855FFD35E51}"/>
                  </a:ext>
                </a:extLst>
              </p:cNvPr>
              <p:cNvSpPr/>
              <p:nvPr/>
            </p:nvSpPr>
            <p:spPr>
              <a:xfrm>
                <a:off x="10438242" y="2508591"/>
                <a:ext cx="39653" cy="39626"/>
              </a:xfrm>
              <a:custGeom>
                <a:avLst/>
                <a:gdLst>
                  <a:gd name="connsiteX0" fmla="*/ 0 w 39653"/>
                  <a:gd name="connsiteY0" fmla="*/ 19831 h 39626"/>
                  <a:gd name="connsiteX1" fmla="*/ 19809 w 39653"/>
                  <a:gd name="connsiteY1" fmla="*/ 39627 h 39626"/>
                  <a:gd name="connsiteX2" fmla="*/ 39653 w 39653"/>
                  <a:gd name="connsiteY2" fmla="*/ 19831 h 39626"/>
                  <a:gd name="connsiteX3" fmla="*/ 19809 w 39653"/>
                  <a:gd name="connsiteY3" fmla="*/ 0 h 39626"/>
                  <a:gd name="connsiteX4" fmla="*/ 0 w 39653"/>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0" y="19831"/>
                    </a:moveTo>
                    <a:cubicBezTo>
                      <a:pt x="0" y="30750"/>
                      <a:pt x="8882" y="39627"/>
                      <a:pt x="19809" y="39627"/>
                    </a:cubicBezTo>
                    <a:cubicBezTo>
                      <a:pt x="30735" y="39627"/>
                      <a:pt x="39653" y="30750"/>
                      <a:pt x="39653" y="19831"/>
                    </a:cubicBezTo>
                    <a:cubicBezTo>
                      <a:pt x="39653" y="8912"/>
                      <a:pt x="30771" y="0"/>
                      <a:pt x="19809" y="0"/>
                    </a:cubicBezTo>
                    <a:cubicBezTo>
                      <a:pt x="8847" y="0"/>
                      <a:pt x="0" y="8876"/>
                      <a:pt x="0" y="19831"/>
                    </a:cubicBezTo>
                  </a:path>
                </a:pathLst>
              </a:custGeom>
              <a:solidFill>
                <a:srgbClr val="FFFFFF"/>
              </a:solidFill>
              <a:ln w="3521" cap="flat">
                <a:noFill/>
                <a:prstDash val="solid"/>
                <a:miter/>
              </a:ln>
            </p:spPr>
            <p:txBody>
              <a:bodyPr rtlCol="0" anchor="ctr"/>
              <a:lstStyle/>
              <a:p>
                <a:endParaRPr lang="de-DE"/>
              </a:p>
            </p:txBody>
          </p:sp>
          <p:sp>
            <p:nvSpPr>
              <p:cNvPr id="39" name="Freihandform 38">
                <a:extLst>
                  <a:ext uri="{FF2B5EF4-FFF2-40B4-BE49-F238E27FC236}">
                    <a16:creationId xmlns:a16="http://schemas.microsoft.com/office/drawing/2014/main" id="{59E9EC64-409F-0D9F-303F-554C2008C5FE}"/>
                  </a:ext>
                </a:extLst>
              </p:cNvPr>
              <p:cNvSpPr/>
              <p:nvPr/>
            </p:nvSpPr>
            <p:spPr>
              <a:xfrm>
                <a:off x="10430488" y="2434269"/>
                <a:ext cx="39653" cy="39661"/>
              </a:xfrm>
              <a:custGeom>
                <a:avLst/>
                <a:gdLst>
                  <a:gd name="connsiteX0" fmla="*/ 19809 w 39653"/>
                  <a:gd name="connsiteY0" fmla="*/ 39662 h 39661"/>
                  <a:gd name="connsiteX1" fmla="*/ 39653 w 39653"/>
                  <a:gd name="connsiteY1" fmla="*/ 19831 h 39661"/>
                  <a:gd name="connsiteX2" fmla="*/ 19809 w 39653"/>
                  <a:gd name="connsiteY2" fmla="*/ 0 h 39661"/>
                  <a:gd name="connsiteX3" fmla="*/ 0 w 39653"/>
                  <a:gd name="connsiteY3" fmla="*/ 19831 h 39661"/>
                  <a:gd name="connsiteX4" fmla="*/ 19809 w 39653"/>
                  <a:gd name="connsiteY4" fmla="*/ 39662 h 3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61">
                    <a:moveTo>
                      <a:pt x="19809" y="39662"/>
                    </a:moveTo>
                    <a:cubicBezTo>
                      <a:pt x="30771" y="39662"/>
                      <a:pt x="39653" y="30785"/>
                      <a:pt x="39653" y="19831"/>
                    </a:cubicBezTo>
                    <a:cubicBezTo>
                      <a:pt x="39653" y="8876"/>
                      <a:pt x="30771" y="0"/>
                      <a:pt x="19809" y="0"/>
                    </a:cubicBezTo>
                    <a:cubicBezTo>
                      <a:pt x="8847" y="0"/>
                      <a:pt x="0" y="8876"/>
                      <a:pt x="0" y="19831"/>
                    </a:cubicBezTo>
                    <a:cubicBezTo>
                      <a:pt x="0" y="30785"/>
                      <a:pt x="8882" y="39662"/>
                      <a:pt x="19809" y="39662"/>
                    </a:cubicBezTo>
                  </a:path>
                </a:pathLst>
              </a:custGeom>
              <a:solidFill>
                <a:srgbClr val="FFFFFF"/>
              </a:solidFill>
              <a:ln w="3521" cap="flat">
                <a:noFill/>
                <a:prstDash val="solid"/>
                <a:miter/>
              </a:ln>
            </p:spPr>
            <p:txBody>
              <a:bodyPr rtlCol="0" anchor="ctr"/>
              <a:lstStyle/>
              <a:p>
                <a:endParaRPr lang="de-DE"/>
              </a:p>
            </p:txBody>
          </p:sp>
          <p:sp>
            <p:nvSpPr>
              <p:cNvPr id="40" name="Freihandform 39">
                <a:extLst>
                  <a:ext uri="{FF2B5EF4-FFF2-40B4-BE49-F238E27FC236}">
                    <a16:creationId xmlns:a16="http://schemas.microsoft.com/office/drawing/2014/main" id="{C70C3849-55DD-9498-CACA-A3B2D2EB02A2}"/>
                  </a:ext>
                </a:extLst>
              </p:cNvPr>
              <p:cNvSpPr/>
              <p:nvPr/>
            </p:nvSpPr>
            <p:spPr>
              <a:xfrm>
                <a:off x="10487482" y="2470760"/>
                <a:ext cx="39688" cy="39626"/>
              </a:xfrm>
              <a:custGeom>
                <a:avLst/>
                <a:gdLst>
                  <a:gd name="connsiteX0" fmla="*/ 0 w 39688"/>
                  <a:gd name="connsiteY0" fmla="*/ 19831 h 39626"/>
                  <a:gd name="connsiteX1" fmla="*/ 19844 w 39688"/>
                  <a:gd name="connsiteY1" fmla="*/ 39627 h 39626"/>
                  <a:gd name="connsiteX2" fmla="*/ 39688 w 39688"/>
                  <a:gd name="connsiteY2" fmla="*/ 19831 h 39626"/>
                  <a:gd name="connsiteX3" fmla="*/ 19844 w 39688"/>
                  <a:gd name="connsiteY3" fmla="*/ 0 h 39626"/>
                  <a:gd name="connsiteX4" fmla="*/ 0 w 39688"/>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88" h="39626">
                    <a:moveTo>
                      <a:pt x="0" y="19831"/>
                    </a:moveTo>
                    <a:cubicBezTo>
                      <a:pt x="0" y="30750"/>
                      <a:pt x="8882" y="39627"/>
                      <a:pt x="19844" y="39627"/>
                    </a:cubicBezTo>
                    <a:cubicBezTo>
                      <a:pt x="30806" y="39627"/>
                      <a:pt x="39688" y="30750"/>
                      <a:pt x="39688" y="19831"/>
                    </a:cubicBezTo>
                    <a:cubicBezTo>
                      <a:pt x="39688" y="8912"/>
                      <a:pt x="30806" y="0"/>
                      <a:pt x="19844" y="0"/>
                    </a:cubicBezTo>
                    <a:cubicBezTo>
                      <a:pt x="8882" y="0"/>
                      <a:pt x="0" y="8876"/>
                      <a:pt x="0" y="19831"/>
                    </a:cubicBezTo>
                  </a:path>
                </a:pathLst>
              </a:custGeom>
              <a:solidFill>
                <a:srgbClr val="FFFFFF"/>
              </a:solidFill>
              <a:ln w="3521" cap="flat">
                <a:noFill/>
                <a:prstDash val="solid"/>
                <a:miter/>
              </a:ln>
            </p:spPr>
            <p:txBody>
              <a:bodyPr rtlCol="0" anchor="ctr"/>
              <a:lstStyle/>
              <a:p>
                <a:endParaRPr lang="de-DE"/>
              </a:p>
            </p:txBody>
          </p:sp>
          <p:sp>
            <p:nvSpPr>
              <p:cNvPr id="41" name="Freihandform 40">
                <a:extLst>
                  <a:ext uri="{FF2B5EF4-FFF2-40B4-BE49-F238E27FC236}">
                    <a16:creationId xmlns:a16="http://schemas.microsoft.com/office/drawing/2014/main" id="{76FEF10F-81E5-1875-7873-5BDB7896FEAE}"/>
                  </a:ext>
                </a:extLst>
              </p:cNvPr>
              <p:cNvSpPr/>
              <p:nvPr/>
            </p:nvSpPr>
            <p:spPr>
              <a:xfrm>
                <a:off x="10477930" y="2394677"/>
                <a:ext cx="39653" cy="39626"/>
              </a:xfrm>
              <a:custGeom>
                <a:avLst/>
                <a:gdLst>
                  <a:gd name="connsiteX0" fmla="*/ 19809 w 39653"/>
                  <a:gd name="connsiteY0" fmla="*/ 39627 h 39626"/>
                  <a:gd name="connsiteX1" fmla="*/ 39653 w 39653"/>
                  <a:gd name="connsiteY1" fmla="*/ 19831 h 39626"/>
                  <a:gd name="connsiteX2" fmla="*/ 19809 w 39653"/>
                  <a:gd name="connsiteY2" fmla="*/ 0 h 39626"/>
                  <a:gd name="connsiteX3" fmla="*/ 0 w 39653"/>
                  <a:gd name="connsiteY3" fmla="*/ 19831 h 39626"/>
                  <a:gd name="connsiteX4" fmla="*/ 19809 w 39653"/>
                  <a:gd name="connsiteY4" fmla="*/ 39627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19809" y="39627"/>
                    </a:moveTo>
                    <a:cubicBezTo>
                      <a:pt x="30771" y="39627"/>
                      <a:pt x="39653" y="30750"/>
                      <a:pt x="39653" y="19831"/>
                    </a:cubicBezTo>
                    <a:cubicBezTo>
                      <a:pt x="39653" y="8912"/>
                      <a:pt x="30771" y="0"/>
                      <a:pt x="19809" y="0"/>
                    </a:cubicBezTo>
                    <a:cubicBezTo>
                      <a:pt x="8847" y="0"/>
                      <a:pt x="0" y="8876"/>
                      <a:pt x="0" y="19831"/>
                    </a:cubicBezTo>
                    <a:cubicBezTo>
                      <a:pt x="0" y="30785"/>
                      <a:pt x="8882" y="39627"/>
                      <a:pt x="19809" y="39627"/>
                    </a:cubicBezTo>
                  </a:path>
                </a:pathLst>
              </a:custGeom>
              <a:solidFill>
                <a:srgbClr val="FFFFFF"/>
              </a:solidFill>
              <a:ln w="3521"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05953F1C-CE02-BFE6-0D8E-C42E42B7391F}"/>
              </a:ext>
            </a:extLst>
          </p:cNvPr>
          <p:cNvGrpSpPr/>
          <p:nvPr/>
        </p:nvGrpSpPr>
        <p:grpSpPr>
          <a:xfrm>
            <a:off x="2683058" y="4122479"/>
            <a:ext cx="1998233" cy="1891844"/>
            <a:chOff x="7177806" y="2104567"/>
            <a:chExt cx="1998233" cy="1891844"/>
          </a:xfrm>
        </p:grpSpPr>
        <p:sp>
          <p:nvSpPr>
            <p:cNvPr id="32" name="Freihandform 31">
              <a:extLst>
                <a:ext uri="{FF2B5EF4-FFF2-40B4-BE49-F238E27FC236}">
                  <a16:creationId xmlns:a16="http://schemas.microsoft.com/office/drawing/2014/main" id="{A15E8AAE-90AC-B91E-B628-E0C0A729A4D9}"/>
                </a:ext>
              </a:extLst>
            </p:cNvPr>
            <p:cNvSpPr/>
            <p:nvPr/>
          </p:nvSpPr>
          <p:spPr>
            <a:xfrm>
              <a:off x="7177806" y="2104567"/>
              <a:ext cx="1998233" cy="1891844"/>
            </a:xfrm>
            <a:custGeom>
              <a:avLst/>
              <a:gdLst>
                <a:gd name="connsiteX0" fmla="*/ 159670 w 1998233"/>
                <a:gd name="connsiteY0" fmla="*/ 370456 h 1891844"/>
                <a:gd name="connsiteX1" fmla="*/ 0 w 1998233"/>
                <a:gd name="connsiteY1" fmla="*/ 627941 h 1891844"/>
                <a:gd name="connsiteX2" fmla="*/ 0 w 1998233"/>
                <a:gd name="connsiteY2" fmla="*/ 1263939 h 1891844"/>
                <a:gd name="connsiteX3" fmla="*/ 159670 w 1998233"/>
                <a:gd name="connsiteY3" fmla="*/ 1521424 h 1891844"/>
                <a:gd name="connsiteX4" fmla="*/ 839447 w 1998233"/>
                <a:gd name="connsiteY4" fmla="*/ 1859007 h 1891844"/>
                <a:gd name="connsiteX5" fmla="*/ 1158787 w 1998233"/>
                <a:gd name="connsiteY5" fmla="*/ 1859007 h 1891844"/>
                <a:gd name="connsiteX6" fmla="*/ 1838564 w 1998233"/>
                <a:gd name="connsiteY6" fmla="*/ 1521424 h 1891844"/>
                <a:gd name="connsiteX7" fmla="*/ 1998234 w 1998233"/>
                <a:gd name="connsiteY7" fmla="*/ 1263939 h 1891844"/>
                <a:gd name="connsiteX8" fmla="*/ 1998234 w 1998233"/>
                <a:gd name="connsiteY8" fmla="*/ 627941 h 1891844"/>
                <a:gd name="connsiteX9" fmla="*/ 1838564 w 1998233"/>
                <a:gd name="connsiteY9" fmla="*/ 370456 h 1891844"/>
                <a:gd name="connsiteX10" fmla="*/ 1158822 w 1998233"/>
                <a:gd name="connsiteY10" fmla="*/ 32837 h 1891844"/>
                <a:gd name="connsiteX11" fmla="*/ 839482 w 1998233"/>
                <a:gd name="connsiteY11" fmla="*/ 32837 h 1891844"/>
                <a:gd name="connsiteX12" fmla="*/ 159705 w 1998233"/>
                <a:gd name="connsiteY12" fmla="*/ 370421 h 1891844"/>
                <a:gd name="connsiteX13" fmla="*/ 159670 w 1998233"/>
                <a:gd name="connsiteY13" fmla="*/ 370456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44">
                  <a:moveTo>
                    <a:pt x="159670" y="370456"/>
                  </a:moveTo>
                  <a:cubicBezTo>
                    <a:pt x="71481" y="414239"/>
                    <a:pt x="0" y="529526"/>
                    <a:pt x="0" y="627941"/>
                  </a:cubicBezTo>
                  <a:lnTo>
                    <a:pt x="0" y="1263939"/>
                  </a:lnTo>
                  <a:cubicBezTo>
                    <a:pt x="0" y="1362354"/>
                    <a:pt x="71481" y="1477641"/>
                    <a:pt x="159670" y="1521424"/>
                  </a:cubicBezTo>
                  <a:lnTo>
                    <a:pt x="839447" y="1859007"/>
                  </a:lnTo>
                  <a:cubicBezTo>
                    <a:pt x="927635" y="1902790"/>
                    <a:pt x="1070598" y="1902790"/>
                    <a:pt x="1158787" y="1859007"/>
                  </a:cubicBezTo>
                  <a:lnTo>
                    <a:pt x="1838564" y="1521424"/>
                  </a:lnTo>
                  <a:cubicBezTo>
                    <a:pt x="1926752" y="1477641"/>
                    <a:pt x="1998234" y="1362354"/>
                    <a:pt x="1998234" y="1263939"/>
                  </a:cubicBezTo>
                  <a:lnTo>
                    <a:pt x="1998234" y="627941"/>
                  </a:lnTo>
                  <a:cubicBezTo>
                    <a:pt x="1998234" y="529526"/>
                    <a:pt x="1926752" y="414239"/>
                    <a:pt x="1838564" y="370456"/>
                  </a:cubicBezTo>
                  <a:lnTo>
                    <a:pt x="1158822" y="32837"/>
                  </a:lnTo>
                  <a:cubicBezTo>
                    <a:pt x="1070633" y="-10946"/>
                    <a:pt x="927671" y="-10946"/>
                    <a:pt x="839482" y="32837"/>
                  </a:cubicBezTo>
                  <a:lnTo>
                    <a:pt x="159705" y="370421"/>
                  </a:lnTo>
                  <a:lnTo>
                    <a:pt x="159670" y="370456"/>
                  </a:lnTo>
                  <a:close/>
                </a:path>
              </a:pathLst>
            </a:custGeom>
            <a:solidFill>
              <a:srgbClr val="50936E"/>
            </a:solidFill>
            <a:ln w="3521" cap="flat">
              <a:noFill/>
              <a:prstDash val="solid"/>
              <a:miter/>
            </a:ln>
          </p:spPr>
          <p:txBody>
            <a:bodyPr rtlCol="0" anchor="ctr"/>
            <a:lstStyle/>
            <a:p>
              <a:endParaRPr lang="de-DE"/>
            </a:p>
          </p:txBody>
        </p:sp>
        <p:grpSp>
          <p:nvGrpSpPr>
            <p:cNvPr id="71" name="Gruppieren 70">
              <a:extLst>
                <a:ext uri="{FF2B5EF4-FFF2-40B4-BE49-F238E27FC236}">
                  <a16:creationId xmlns:a16="http://schemas.microsoft.com/office/drawing/2014/main" id="{9C86C5B4-FA5E-EB23-609E-3D1859B59202}"/>
                </a:ext>
              </a:extLst>
            </p:cNvPr>
            <p:cNvGrpSpPr/>
            <p:nvPr/>
          </p:nvGrpSpPr>
          <p:grpSpPr>
            <a:xfrm>
              <a:off x="7516497" y="2609745"/>
              <a:ext cx="1210989" cy="995110"/>
              <a:chOff x="7516497" y="2609745"/>
              <a:chExt cx="1210989" cy="995110"/>
            </a:xfrm>
          </p:grpSpPr>
          <p:sp>
            <p:nvSpPr>
              <p:cNvPr id="42" name="Freihandform 41">
                <a:extLst>
                  <a:ext uri="{FF2B5EF4-FFF2-40B4-BE49-F238E27FC236}">
                    <a16:creationId xmlns:a16="http://schemas.microsoft.com/office/drawing/2014/main" id="{04F7E1DD-6E8B-0C35-9674-17C67D74257F}"/>
                  </a:ext>
                </a:extLst>
              </p:cNvPr>
              <p:cNvSpPr/>
              <p:nvPr/>
            </p:nvSpPr>
            <p:spPr>
              <a:xfrm>
                <a:off x="7962934" y="2609745"/>
                <a:ext cx="637639" cy="368694"/>
              </a:xfrm>
              <a:custGeom>
                <a:avLst/>
                <a:gdLst>
                  <a:gd name="connsiteX0" fmla="*/ 203133 w 637639"/>
                  <a:gd name="connsiteY0" fmla="*/ 325862 h 368694"/>
                  <a:gd name="connsiteX1" fmla="*/ 333195 w 637639"/>
                  <a:gd name="connsiteY1" fmla="*/ 174225 h 368694"/>
                  <a:gd name="connsiteX2" fmla="*/ 424062 w 637639"/>
                  <a:gd name="connsiteY2" fmla="*/ 45236 h 368694"/>
                  <a:gd name="connsiteX3" fmla="*/ 571607 w 637639"/>
                  <a:gd name="connsiteY3" fmla="*/ 80248 h 368694"/>
                  <a:gd name="connsiteX4" fmla="*/ 578410 w 637639"/>
                  <a:gd name="connsiteY4" fmla="*/ 248300 h 368694"/>
                  <a:gd name="connsiteX5" fmla="*/ 498575 w 637639"/>
                  <a:gd name="connsiteY5" fmla="*/ 298529 h 368694"/>
                  <a:gd name="connsiteX6" fmla="*/ 399107 w 637639"/>
                  <a:gd name="connsiteY6" fmla="*/ 270209 h 368694"/>
                  <a:gd name="connsiteX7" fmla="*/ 462764 w 637639"/>
                  <a:gd name="connsiteY7" fmla="*/ 257317 h 368694"/>
                  <a:gd name="connsiteX8" fmla="*/ 455926 w 637639"/>
                  <a:gd name="connsiteY8" fmla="*/ 223784 h 368694"/>
                  <a:gd name="connsiteX9" fmla="*/ 366433 w 637639"/>
                  <a:gd name="connsiteY9" fmla="*/ 241960 h 368694"/>
                  <a:gd name="connsiteX10" fmla="*/ 366081 w 637639"/>
                  <a:gd name="connsiteY10" fmla="*/ 241607 h 368694"/>
                  <a:gd name="connsiteX11" fmla="*/ 365552 w 637639"/>
                  <a:gd name="connsiteY11" fmla="*/ 242136 h 368694"/>
                  <a:gd name="connsiteX12" fmla="*/ 335380 w 637639"/>
                  <a:gd name="connsiteY12" fmla="*/ 248265 h 368694"/>
                  <a:gd name="connsiteX13" fmla="*/ 359912 w 637639"/>
                  <a:gd name="connsiteY13" fmla="*/ 368694 h 368694"/>
                  <a:gd name="connsiteX14" fmla="*/ 393468 w 637639"/>
                  <a:gd name="connsiteY14" fmla="*/ 361861 h 368694"/>
                  <a:gd name="connsiteX15" fmla="*/ 380532 w 637639"/>
                  <a:gd name="connsiteY15" fmla="*/ 298282 h 368694"/>
                  <a:gd name="connsiteX16" fmla="*/ 488071 w 637639"/>
                  <a:gd name="connsiteY16" fmla="*/ 332731 h 368694"/>
                  <a:gd name="connsiteX17" fmla="*/ 501712 w 637639"/>
                  <a:gd name="connsiteY17" fmla="*/ 332097 h 368694"/>
                  <a:gd name="connsiteX18" fmla="*/ 606325 w 637639"/>
                  <a:gd name="connsiteY18" fmla="*/ 267356 h 368694"/>
                  <a:gd name="connsiteX19" fmla="*/ 597655 w 637639"/>
                  <a:gd name="connsiteY19" fmla="*/ 58550 h 368694"/>
                  <a:gd name="connsiteX20" fmla="*/ 410351 w 637639"/>
                  <a:gd name="connsiteY20" fmla="*/ 14309 h 368694"/>
                  <a:gd name="connsiteX21" fmla="*/ 300591 w 637639"/>
                  <a:gd name="connsiteY21" fmla="*/ 165278 h 368694"/>
                  <a:gd name="connsiteX22" fmla="*/ 194039 w 637639"/>
                  <a:gd name="connsiteY22" fmla="*/ 293280 h 368694"/>
                  <a:gd name="connsiteX23" fmla="*/ 67537 w 637639"/>
                  <a:gd name="connsiteY23" fmla="*/ 257317 h 368694"/>
                  <a:gd name="connsiteX24" fmla="*/ 45860 w 637639"/>
                  <a:gd name="connsiteY24" fmla="*/ 107687 h 368694"/>
                  <a:gd name="connsiteX25" fmla="*/ 136868 w 637639"/>
                  <a:gd name="connsiteY25" fmla="*/ 37874 h 368694"/>
                  <a:gd name="connsiteX26" fmla="*/ 255228 w 637639"/>
                  <a:gd name="connsiteY26" fmla="*/ 63129 h 368694"/>
                  <a:gd name="connsiteX27" fmla="*/ 268023 w 637639"/>
                  <a:gd name="connsiteY27" fmla="*/ 74189 h 368694"/>
                  <a:gd name="connsiteX28" fmla="*/ 290158 w 637639"/>
                  <a:gd name="connsiteY28" fmla="*/ 48652 h 368694"/>
                  <a:gd name="connsiteX29" fmla="*/ 277399 w 637639"/>
                  <a:gd name="connsiteY29" fmla="*/ 37592 h 368694"/>
                  <a:gd name="connsiteX30" fmla="*/ 129678 w 637639"/>
                  <a:gd name="connsiteY30" fmla="*/ 4869 h 368694"/>
                  <a:gd name="connsiteX31" fmla="*/ 15089 w 637639"/>
                  <a:gd name="connsiteY31" fmla="*/ 93668 h 368694"/>
                  <a:gd name="connsiteX32" fmla="*/ 41842 w 637639"/>
                  <a:gd name="connsiteY32" fmla="*/ 279297 h 368694"/>
                  <a:gd name="connsiteX33" fmla="*/ 203168 w 637639"/>
                  <a:gd name="connsiteY33" fmla="*/ 325827 h 36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7639" h="368694">
                    <a:moveTo>
                      <a:pt x="203133" y="325862"/>
                    </a:moveTo>
                    <a:cubicBezTo>
                      <a:pt x="299111" y="298987"/>
                      <a:pt x="317228" y="232696"/>
                      <a:pt x="333195" y="174225"/>
                    </a:cubicBezTo>
                    <a:cubicBezTo>
                      <a:pt x="347364" y="122411"/>
                      <a:pt x="360723" y="73485"/>
                      <a:pt x="424062" y="45236"/>
                    </a:cubicBezTo>
                    <a:cubicBezTo>
                      <a:pt x="487754" y="16880"/>
                      <a:pt x="542035" y="44707"/>
                      <a:pt x="571607" y="80248"/>
                    </a:cubicBezTo>
                    <a:cubicBezTo>
                      <a:pt x="602519" y="117374"/>
                      <a:pt x="622856" y="183629"/>
                      <a:pt x="578410" y="248300"/>
                    </a:cubicBezTo>
                    <a:cubicBezTo>
                      <a:pt x="557543" y="278663"/>
                      <a:pt x="530685" y="295570"/>
                      <a:pt x="498575" y="298529"/>
                    </a:cubicBezTo>
                    <a:cubicBezTo>
                      <a:pt x="461248" y="301945"/>
                      <a:pt x="423992" y="286518"/>
                      <a:pt x="399107" y="270209"/>
                    </a:cubicBezTo>
                    <a:lnTo>
                      <a:pt x="462764" y="257317"/>
                    </a:lnTo>
                    <a:lnTo>
                      <a:pt x="455926" y="223784"/>
                    </a:lnTo>
                    <a:lnTo>
                      <a:pt x="366433" y="241960"/>
                    </a:lnTo>
                    <a:lnTo>
                      <a:pt x="366081" y="241607"/>
                    </a:lnTo>
                    <a:lnTo>
                      <a:pt x="365552" y="242136"/>
                    </a:lnTo>
                    <a:lnTo>
                      <a:pt x="335380" y="248265"/>
                    </a:lnTo>
                    <a:lnTo>
                      <a:pt x="359912" y="368694"/>
                    </a:lnTo>
                    <a:lnTo>
                      <a:pt x="393468" y="361861"/>
                    </a:lnTo>
                    <a:lnTo>
                      <a:pt x="380532" y="298282"/>
                    </a:lnTo>
                    <a:cubicBezTo>
                      <a:pt x="407919" y="316211"/>
                      <a:pt x="446938" y="332731"/>
                      <a:pt x="488071" y="332731"/>
                    </a:cubicBezTo>
                    <a:cubicBezTo>
                      <a:pt x="492583" y="332731"/>
                      <a:pt x="497130" y="332520"/>
                      <a:pt x="501712" y="332097"/>
                    </a:cubicBezTo>
                    <a:cubicBezTo>
                      <a:pt x="543691" y="328222"/>
                      <a:pt x="579890" y="305855"/>
                      <a:pt x="606325" y="267356"/>
                    </a:cubicBezTo>
                    <a:cubicBezTo>
                      <a:pt x="657927" y="192259"/>
                      <a:pt x="639141" y="108356"/>
                      <a:pt x="597655" y="58550"/>
                    </a:cubicBezTo>
                    <a:cubicBezTo>
                      <a:pt x="550529" y="1981"/>
                      <a:pt x="477004" y="-15384"/>
                      <a:pt x="410351" y="14309"/>
                    </a:cubicBezTo>
                    <a:cubicBezTo>
                      <a:pt x="332349" y="49075"/>
                      <a:pt x="315501" y="110787"/>
                      <a:pt x="300591" y="165278"/>
                    </a:cubicBezTo>
                    <a:cubicBezTo>
                      <a:pt x="285012" y="222305"/>
                      <a:pt x="271548" y="271583"/>
                      <a:pt x="194039" y="293280"/>
                    </a:cubicBezTo>
                    <a:cubicBezTo>
                      <a:pt x="145010" y="307053"/>
                      <a:pt x="98907" y="293914"/>
                      <a:pt x="67537" y="257317"/>
                    </a:cubicBezTo>
                    <a:cubicBezTo>
                      <a:pt x="32431" y="216317"/>
                      <a:pt x="23725" y="156190"/>
                      <a:pt x="45860" y="107687"/>
                    </a:cubicBezTo>
                    <a:cubicBezTo>
                      <a:pt x="61968" y="72393"/>
                      <a:pt x="95135" y="46961"/>
                      <a:pt x="136868" y="37874"/>
                    </a:cubicBezTo>
                    <a:cubicBezTo>
                      <a:pt x="180857" y="28328"/>
                      <a:pt x="226220" y="37979"/>
                      <a:pt x="255228" y="63129"/>
                    </a:cubicBezTo>
                    <a:lnTo>
                      <a:pt x="268023" y="74189"/>
                    </a:lnTo>
                    <a:lnTo>
                      <a:pt x="290158" y="48652"/>
                    </a:lnTo>
                    <a:lnTo>
                      <a:pt x="277399" y="37592"/>
                    </a:lnTo>
                    <a:cubicBezTo>
                      <a:pt x="240460" y="5609"/>
                      <a:pt x="183888" y="-6931"/>
                      <a:pt x="129678" y="4869"/>
                    </a:cubicBezTo>
                    <a:cubicBezTo>
                      <a:pt x="77406" y="16246"/>
                      <a:pt x="35638" y="48617"/>
                      <a:pt x="15089" y="93668"/>
                    </a:cubicBezTo>
                    <a:cubicBezTo>
                      <a:pt x="-12404" y="153936"/>
                      <a:pt x="-1653" y="228504"/>
                      <a:pt x="41842" y="279297"/>
                    </a:cubicBezTo>
                    <a:cubicBezTo>
                      <a:pt x="82129" y="326320"/>
                      <a:pt x="140886" y="343263"/>
                      <a:pt x="203168" y="325827"/>
                    </a:cubicBezTo>
                  </a:path>
                </a:pathLst>
              </a:custGeom>
              <a:solidFill>
                <a:srgbClr val="FFFFFF"/>
              </a:solidFill>
              <a:ln w="3521" cap="flat">
                <a:noFill/>
                <a:prstDash val="solid"/>
                <a:miter/>
              </a:ln>
            </p:spPr>
            <p:txBody>
              <a:bodyPr rtlCol="0" anchor="ctr"/>
              <a:lstStyle/>
              <a:p>
                <a:endParaRPr lang="de-DE"/>
              </a:p>
            </p:txBody>
          </p:sp>
          <p:sp>
            <p:nvSpPr>
              <p:cNvPr id="43" name="Freihandform 42">
                <a:extLst>
                  <a:ext uri="{FF2B5EF4-FFF2-40B4-BE49-F238E27FC236}">
                    <a16:creationId xmlns:a16="http://schemas.microsoft.com/office/drawing/2014/main" id="{237DC6C6-B4C7-7485-3036-A4C8B9A0CCB8}"/>
                  </a:ext>
                </a:extLst>
              </p:cNvPr>
              <p:cNvSpPr/>
              <p:nvPr/>
            </p:nvSpPr>
            <p:spPr>
              <a:xfrm>
                <a:off x="7516497" y="3112394"/>
                <a:ext cx="438651" cy="492461"/>
              </a:xfrm>
              <a:custGeom>
                <a:avLst/>
                <a:gdLst>
                  <a:gd name="connsiteX0" fmla="*/ 0 w 438651"/>
                  <a:gd name="connsiteY0" fmla="*/ 116344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44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44"/>
                    </a:moveTo>
                    <a:lnTo>
                      <a:pt x="34754" y="170130"/>
                    </a:lnTo>
                    <a:lnTo>
                      <a:pt x="162913" y="87496"/>
                    </a:lnTo>
                    <a:lnTo>
                      <a:pt x="352049" y="361782"/>
                    </a:lnTo>
                    <a:lnTo>
                      <a:pt x="251277" y="442479"/>
                    </a:lnTo>
                    <a:lnTo>
                      <a:pt x="291353" y="492462"/>
                    </a:lnTo>
                    <a:lnTo>
                      <a:pt x="438651" y="374498"/>
                    </a:lnTo>
                    <a:lnTo>
                      <a:pt x="180430" y="0"/>
                    </a:lnTo>
                    <a:lnTo>
                      <a:pt x="0" y="116344"/>
                    </a:lnTo>
                    <a:close/>
                  </a:path>
                </a:pathLst>
              </a:custGeom>
              <a:solidFill>
                <a:srgbClr val="FFFFFF"/>
              </a:solidFill>
              <a:ln w="3521" cap="flat">
                <a:noFill/>
                <a:prstDash val="solid"/>
                <a:miter/>
              </a:ln>
            </p:spPr>
            <p:txBody>
              <a:bodyPr rtlCol="0" anchor="ctr"/>
              <a:lstStyle/>
              <a:p>
                <a:endParaRPr lang="de-DE"/>
              </a:p>
            </p:txBody>
          </p:sp>
          <p:sp>
            <p:nvSpPr>
              <p:cNvPr id="44" name="Freihandform 43">
                <a:extLst>
                  <a:ext uri="{FF2B5EF4-FFF2-40B4-BE49-F238E27FC236}">
                    <a16:creationId xmlns:a16="http://schemas.microsoft.com/office/drawing/2014/main" id="{FE05979C-1C7A-6DEC-30E0-3DD3DDFE8DD3}"/>
                  </a:ext>
                </a:extLst>
              </p:cNvPr>
              <p:cNvSpPr/>
              <p:nvPr/>
            </p:nvSpPr>
            <p:spPr>
              <a:xfrm>
                <a:off x="7763791" y="3003335"/>
                <a:ext cx="563879" cy="266861"/>
              </a:xfrm>
              <a:custGeom>
                <a:avLst/>
                <a:gdLst>
                  <a:gd name="connsiteX0" fmla="*/ 61260 w 563879"/>
                  <a:gd name="connsiteY0" fmla="*/ 170384 h 266861"/>
                  <a:gd name="connsiteX1" fmla="*/ 176624 w 563879"/>
                  <a:gd name="connsiteY1" fmla="*/ 83381 h 266861"/>
                  <a:gd name="connsiteX2" fmla="*/ 323851 w 563879"/>
                  <a:gd name="connsiteY2" fmla="*/ 84332 h 266861"/>
                  <a:gd name="connsiteX3" fmla="*/ 407634 w 563879"/>
                  <a:gd name="connsiteY3" fmla="*/ 110468 h 266861"/>
                  <a:gd name="connsiteX4" fmla="*/ 498360 w 563879"/>
                  <a:gd name="connsiteY4" fmla="*/ 156083 h 266861"/>
                  <a:gd name="connsiteX5" fmla="*/ 493002 w 563879"/>
                  <a:gd name="connsiteY5" fmla="*/ 186305 h 266861"/>
                  <a:gd name="connsiteX6" fmla="*/ 429452 w 563879"/>
                  <a:gd name="connsiteY6" fmla="*/ 202402 h 266861"/>
                  <a:gd name="connsiteX7" fmla="*/ 269782 w 563879"/>
                  <a:gd name="connsiteY7" fmla="*/ 167319 h 266861"/>
                  <a:gd name="connsiteX8" fmla="*/ 238729 w 563879"/>
                  <a:gd name="connsiteY8" fmla="*/ 159394 h 266861"/>
                  <a:gd name="connsiteX9" fmla="*/ 222833 w 563879"/>
                  <a:gd name="connsiteY9" fmla="*/ 221423 h 266861"/>
                  <a:gd name="connsiteX10" fmla="*/ 253886 w 563879"/>
                  <a:gd name="connsiteY10" fmla="*/ 229348 h 266861"/>
                  <a:gd name="connsiteX11" fmla="*/ 424940 w 563879"/>
                  <a:gd name="connsiteY11" fmla="*/ 266263 h 266861"/>
                  <a:gd name="connsiteX12" fmla="*/ 441682 w 563879"/>
                  <a:gd name="connsiteY12" fmla="*/ 266861 h 266861"/>
                  <a:gd name="connsiteX13" fmla="*/ 542348 w 563879"/>
                  <a:gd name="connsiteY13" fmla="*/ 227129 h 266861"/>
                  <a:gd name="connsiteX14" fmla="*/ 560325 w 563879"/>
                  <a:gd name="connsiteY14" fmla="*/ 139739 h 266861"/>
                  <a:gd name="connsiteX15" fmla="*/ 425011 w 563879"/>
                  <a:gd name="connsiteY15" fmla="*/ 48862 h 266861"/>
                  <a:gd name="connsiteX16" fmla="*/ 345740 w 563879"/>
                  <a:gd name="connsiteY16" fmla="*/ 24170 h 266861"/>
                  <a:gd name="connsiteX17" fmla="*/ 141341 w 563879"/>
                  <a:gd name="connsiteY17" fmla="*/ 29912 h 266861"/>
                  <a:gd name="connsiteX18" fmla="*/ 20866 w 563879"/>
                  <a:gd name="connsiteY18" fmla="*/ 120613 h 266861"/>
                  <a:gd name="connsiteX19" fmla="*/ 0 w 563879"/>
                  <a:gd name="connsiteY19" fmla="*/ 137485 h 266861"/>
                  <a:gd name="connsiteX20" fmla="*/ 36305 w 563879"/>
                  <a:gd name="connsiteY20" fmla="*/ 190532 h 266861"/>
                  <a:gd name="connsiteX21" fmla="*/ 61189 w 563879"/>
                  <a:gd name="connsiteY21" fmla="*/ 170384 h 266861"/>
                  <a:gd name="connsiteX22" fmla="*/ 61260 w 563879"/>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9" h="26686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0" y="126213"/>
                      <a:pt x="492932" y="135407"/>
                      <a:pt x="498360" y="156083"/>
                    </a:cubicBezTo>
                    <a:cubicBezTo>
                      <a:pt x="499805" y="161507"/>
                      <a:pt x="502131" y="175280"/>
                      <a:pt x="493002" y="186305"/>
                    </a:cubicBezTo>
                    <a:cubicBezTo>
                      <a:pt x="482605" y="198844"/>
                      <a:pt x="460117" y="204516"/>
                      <a:pt x="429452" y="202402"/>
                    </a:cubicBezTo>
                    <a:cubicBezTo>
                      <a:pt x="406753" y="200817"/>
                      <a:pt x="319480" y="180035"/>
                      <a:pt x="269782" y="167319"/>
                    </a:cubicBezTo>
                    <a:lnTo>
                      <a:pt x="238729" y="159394"/>
                    </a:lnTo>
                    <a:lnTo>
                      <a:pt x="222833" y="221423"/>
                    </a:lnTo>
                    <a:lnTo>
                      <a:pt x="253886" y="229348"/>
                    </a:lnTo>
                    <a:cubicBezTo>
                      <a:pt x="267597" y="232871"/>
                      <a:pt x="389058" y="263762"/>
                      <a:pt x="424940" y="266263"/>
                    </a:cubicBezTo>
                    <a:cubicBezTo>
                      <a:pt x="430791" y="266685"/>
                      <a:pt x="436325" y="266861"/>
                      <a:pt x="441682" y="266861"/>
                    </a:cubicBezTo>
                    <a:cubicBezTo>
                      <a:pt x="497161" y="266861"/>
                      <a:pt x="526910" y="245762"/>
                      <a:pt x="542348" y="227129"/>
                    </a:cubicBezTo>
                    <a:cubicBezTo>
                      <a:pt x="562157" y="203247"/>
                      <a:pt x="568678" y="171370"/>
                      <a:pt x="560325" y="139739"/>
                    </a:cubicBezTo>
                    <a:cubicBezTo>
                      <a:pt x="545274" y="82747"/>
                      <a:pt x="489548" y="67038"/>
                      <a:pt x="425011"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45" name="Freihandform 44">
                <a:extLst>
                  <a:ext uri="{FF2B5EF4-FFF2-40B4-BE49-F238E27FC236}">
                    <a16:creationId xmlns:a16="http://schemas.microsoft.com/office/drawing/2014/main" id="{C3BAFAAE-88F3-43A7-1694-5393E4D4A169}"/>
                  </a:ext>
                </a:extLst>
              </p:cNvPr>
              <p:cNvSpPr/>
              <p:nvPr/>
            </p:nvSpPr>
            <p:spPr>
              <a:xfrm>
                <a:off x="7927796" y="2961604"/>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2 h 477173"/>
                  <a:gd name="connsiteX5" fmla="*/ 422720 w 799690"/>
                  <a:gd name="connsiteY5" fmla="*/ 138674 h 477173"/>
                  <a:gd name="connsiteX6" fmla="*/ 446265 w 799690"/>
                  <a:gd name="connsiteY6" fmla="*/ 199012 h 477173"/>
                  <a:gd name="connsiteX7" fmla="*/ 475484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4 h 477173"/>
                  <a:gd name="connsiteX16" fmla="*/ 99750 w 799690"/>
                  <a:gd name="connsiteY16" fmla="*/ 372171 h 477173"/>
                  <a:gd name="connsiteX17" fmla="*/ 0 w 799690"/>
                  <a:gd name="connsiteY17" fmla="*/ 416518 h 477173"/>
                  <a:gd name="connsiteX18" fmla="*/ 36868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2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61" y="-33077"/>
                      <a:pt x="666842" y="5881"/>
                      <a:pt x="581861" y="51002"/>
                    </a:cubicBezTo>
                    <a:cubicBezTo>
                      <a:pt x="571921" y="56286"/>
                      <a:pt x="561452" y="61851"/>
                      <a:pt x="550420" y="67557"/>
                    </a:cubicBezTo>
                    <a:lnTo>
                      <a:pt x="550702" y="68121"/>
                    </a:lnTo>
                    <a:cubicBezTo>
                      <a:pt x="537872" y="74250"/>
                      <a:pt x="510838" y="89361"/>
                      <a:pt x="444185" y="126662"/>
                    </a:cubicBezTo>
                    <a:lnTo>
                      <a:pt x="422720" y="138674"/>
                    </a:lnTo>
                    <a:lnTo>
                      <a:pt x="446265" y="199012"/>
                    </a:lnTo>
                    <a:lnTo>
                      <a:pt x="475484"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50"/>
                      <a:pt x="434386" y="332650"/>
                      <a:pt x="397377" y="359773"/>
                    </a:cubicBezTo>
                    <a:cubicBezTo>
                      <a:pt x="338162" y="403168"/>
                      <a:pt x="309329" y="415990"/>
                      <a:pt x="278735" y="412643"/>
                    </a:cubicBezTo>
                    <a:cubicBezTo>
                      <a:pt x="244757" y="408910"/>
                      <a:pt x="145888" y="384218"/>
                      <a:pt x="110676" y="375024"/>
                    </a:cubicBezTo>
                    <a:lnTo>
                      <a:pt x="99750" y="372171"/>
                    </a:lnTo>
                    <a:lnTo>
                      <a:pt x="0" y="416518"/>
                    </a:lnTo>
                    <a:lnTo>
                      <a:pt x="36868"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21"/>
                      <a:pt x="718796" y="213876"/>
                      <a:pt x="737336" y="202252"/>
                    </a:cubicBezTo>
                    <a:cubicBezTo>
                      <a:pt x="806280" y="159033"/>
                      <a:pt x="810262" y="82140"/>
                      <a:pt x="786612" y="43253"/>
                    </a:cubicBezTo>
                  </a:path>
                </a:pathLst>
              </a:custGeom>
              <a:solidFill>
                <a:srgbClr val="FFFFFF"/>
              </a:solidFill>
              <a:ln w="3521" cap="flat">
                <a:noFill/>
                <a:prstDash val="solid"/>
                <a:miter/>
              </a:ln>
            </p:spPr>
            <p:txBody>
              <a:bodyPr rtlCol="0" anchor="ctr"/>
              <a:lstStyle/>
              <a:p>
                <a:endParaRPr lang="de-DE"/>
              </a:p>
            </p:txBody>
          </p:sp>
        </p:grpSp>
      </p:grpSp>
      <p:grpSp>
        <p:nvGrpSpPr>
          <p:cNvPr id="7" name="Gruppieren 6">
            <a:extLst>
              <a:ext uri="{FF2B5EF4-FFF2-40B4-BE49-F238E27FC236}">
                <a16:creationId xmlns:a16="http://schemas.microsoft.com/office/drawing/2014/main" id="{E6317409-63A6-4A05-DF18-163BC5760F0C}"/>
              </a:ext>
            </a:extLst>
          </p:cNvPr>
          <p:cNvGrpSpPr/>
          <p:nvPr/>
        </p:nvGrpSpPr>
        <p:grpSpPr>
          <a:xfrm>
            <a:off x="4847214" y="4122514"/>
            <a:ext cx="1998233" cy="1891809"/>
            <a:chOff x="8259613" y="3729645"/>
            <a:chExt cx="1998233" cy="1891809"/>
          </a:xfrm>
        </p:grpSpPr>
        <p:sp>
          <p:nvSpPr>
            <p:cNvPr id="33" name="Freihandform 32">
              <a:extLst>
                <a:ext uri="{FF2B5EF4-FFF2-40B4-BE49-F238E27FC236}">
                  <a16:creationId xmlns:a16="http://schemas.microsoft.com/office/drawing/2014/main" id="{38EEF33C-1EC8-D4B2-E3B9-9FD32D50534F}"/>
                </a:ext>
              </a:extLst>
            </p:cNvPr>
            <p:cNvSpPr/>
            <p:nvPr/>
          </p:nvSpPr>
          <p:spPr>
            <a:xfrm>
              <a:off x="8259613" y="3729645"/>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2"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69" name="Gruppieren 68">
              <a:extLst>
                <a:ext uri="{FF2B5EF4-FFF2-40B4-BE49-F238E27FC236}">
                  <a16:creationId xmlns:a16="http://schemas.microsoft.com/office/drawing/2014/main" id="{54439FFF-9A3A-25C0-8D22-54D35A32C9F0}"/>
                </a:ext>
              </a:extLst>
            </p:cNvPr>
            <p:cNvGrpSpPr/>
            <p:nvPr/>
          </p:nvGrpSpPr>
          <p:grpSpPr>
            <a:xfrm>
              <a:off x="8598303" y="4019755"/>
              <a:ext cx="1210990" cy="1210178"/>
              <a:chOff x="8598303" y="4019755"/>
              <a:chExt cx="1210990" cy="1210178"/>
            </a:xfrm>
          </p:grpSpPr>
          <p:sp>
            <p:nvSpPr>
              <p:cNvPr id="46" name="Freihandform 45">
                <a:extLst>
                  <a:ext uri="{FF2B5EF4-FFF2-40B4-BE49-F238E27FC236}">
                    <a16:creationId xmlns:a16="http://schemas.microsoft.com/office/drawing/2014/main" id="{0DBEA92A-77B4-EC72-15CF-1907936FD9D1}"/>
                  </a:ext>
                </a:extLst>
              </p:cNvPr>
              <p:cNvSpPr/>
              <p:nvPr/>
            </p:nvSpPr>
            <p:spPr>
              <a:xfrm>
                <a:off x="9099659" y="4019755"/>
                <a:ext cx="550490" cy="653469"/>
              </a:xfrm>
              <a:custGeom>
                <a:avLst/>
                <a:gdLst>
                  <a:gd name="connsiteX0" fmla="*/ 281660 w 550490"/>
                  <a:gd name="connsiteY0" fmla="*/ 457872 h 653469"/>
                  <a:gd name="connsiteX1" fmla="*/ 275563 w 550490"/>
                  <a:gd name="connsiteY1" fmla="*/ 463684 h 653469"/>
                  <a:gd name="connsiteX2" fmla="*/ 269571 w 550490"/>
                  <a:gd name="connsiteY2" fmla="*/ 458013 h 653469"/>
                  <a:gd name="connsiteX3" fmla="*/ 171055 w 550490"/>
                  <a:gd name="connsiteY3" fmla="*/ 457731 h 653469"/>
                  <a:gd name="connsiteX4" fmla="*/ 149977 w 550490"/>
                  <a:gd name="connsiteY4" fmla="*/ 505283 h 653469"/>
                  <a:gd name="connsiteX5" fmla="*/ 170879 w 550490"/>
                  <a:gd name="connsiteY5" fmla="*/ 553786 h 653469"/>
                  <a:gd name="connsiteX6" fmla="*/ 276021 w 550490"/>
                  <a:gd name="connsiteY6" fmla="*/ 653469 h 653469"/>
                  <a:gd name="connsiteX7" fmla="*/ 362623 w 550490"/>
                  <a:gd name="connsiteY7" fmla="*/ 570870 h 653469"/>
                  <a:gd name="connsiteX8" fmla="*/ 380776 w 550490"/>
                  <a:gd name="connsiteY8" fmla="*/ 553646 h 653469"/>
                  <a:gd name="connsiteX9" fmla="*/ 401148 w 550490"/>
                  <a:gd name="connsiteY9" fmla="*/ 505142 h 653469"/>
                  <a:gd name="connsiteX10" fmla="*/ 380317 w 550490"/>
                  <a:gd name="connsiteY10" fmla="*/ 458013 h 653469"/>
                  <a:gd name="connsiteX11" fmla="*/ 281660 w 550490"/>
                  <a:gd name="connsiteY11" fmla="*/ 457872 h 653469"/>
                  <a:gd name="connsiteX12" fmla="*/ 366606 w 550490"/>
                  <a:gd name="connsiteY12" fmla="*/ 505530 h 653469"/>
                  <a:gd name="connsiteX13" fmla="*/ 356772 w 550490"/>
                  <a:gd name="connsiteY13" fmla="*/ 528848 h 653469"/>
                  <a:gd name="connsiteX14" fmla="*/ 275950 w 550490"/>
                  <a:gd name="connsiteY14" fmla="*/ 605847 h 653469"/>
                  <a:gd name="connsiteX15" fmla="*/ 194635 w 550490"/>
                  <a:gd name="connsiteY15" fmla="*/ 528778 h 653469"/>
                  <a:gd name="connsiteX16" fmla="*/ 184484 w 550490"/>
                  <a:gd name="connsiteY16" fmla="*/ 505530 h 653469"/>
                  <a:gd name="connsiteX17" fmla="*/ 194635 w 550490"/>
                  <a:gd name="connsiteY17" fmla="*/ 482952 h 653469"/>
                  <a:gd name="connsiteX18" fmla="*/ 220260 w 550490"/>
                  <a:gd name="connsiteY18" fmla="*/ 473019 h 653469"/>
                  <a:gd name="connsiteX19" fmla="*/ 245602 w 550490"/>
                  <a:gd name="connsiteY19" fmla="*/ 482952 h 653469"/>
                  <a:gd name="connsiteX20" fmla="*/ 275527 w 550490"/>
                  <a:gd name="connsiteY20" fmla="*/ 511271 h 653469"/>
                  <a:gd name="connsiteX21" fmla="*/ 305417 w 550490"/>
                  <a:gd name="connsiteY21" fmla="*/ 482952 h 653469"/>
                  <a:gd name="connsiteX22" fmla="*/ 356525 w 550490"/>
                  <a:gd name="connsiteY22" fmla="*/ 483092 h 653469"/>
                  <a:gd name="connsiteX23" fmla="*/ 366571 w 550490"/>
                  <a:gd name="connsiteY23" fmla="*/ 505565 h 653469"/>
                  <a:gd name="connsiteX24" fmla="*/ 34542 w 550490"/>
                  <a:gd name="connsiteY24" fmla="*/ 577562 h 653469"/>
                  <a:gd name="connsiteX25" fmla="*/ 273977 w 550490"/>
                  <a:gd name="connsiteY25" fmla="*/ 319725 h 653469"/>
                  <a:gd name="connsiteX26" fmla="*/ 275563 w 550490"/>
                  <a:gd name="connsiteY26" fmla="*/ 319796 h 653469"/>
                  <a:gd name="connsiteX27" fmla="*/ 277184 w 550490"/>
                  <a:gd name="connsiteY27" fmla="*/ 319725 h 653469"/>
                  <a:gd name="connsiteX28" fmla="*/ 456275 w 550490"/>
                  <a:gd name="connsiteY28" fmla="*/ 400493 h 653469"/>
                  <a:gd name="connsiteX29" fmla="*/ 516583 w 550490"/>
                  <a:gd name="connsiteY29" fmla="*/ 577598 h 653469"/>
                  <a:gd name="connsiteX30" fmla="*/ 550491 w 550490"/>
                  <a:gd name="connsiteY30" fmla="*/ 560303 h 653469"/>
                  <a:gd name="connsiteX31" fmla="*/ 358464 w 550490"/>
                  <a:gd name="connsiteY31" fmla="*/ 296513 h 653469"/>
                  <a:gd name="connsiteX32" fmla="*/ 435620 w 550490"/>
                  <a:gd name="connsiteY32" fmla="*/ 159915 h 653469"/>
                  <a:gd name="connsiteX33" fmla="*/ 275563 w 550490"/>
                  <a:gd name="connsiteY33" fmla="*/ 0 h 653469"/>
                  <a:gd name="connsiteX34" fmla="*/ 115540 w 550490"/>
                  <a:gd name="connsiteY34" fmla="*/ 159915 h 653469"/>
                  <a:gd name="connsiteX35" fmla="*/ 192555 w 550490"/>
                  <a:gd name="connsiteY35" fmla="*/ 296442 h 653469"/>
                  <a:gd name="connsiteX36" fmla="*/ 0 w 550490"/>
                  <a:gd name="connsiteY36" fmla="*/ 577598 h 653469"/>
                  <a:gd name="connsiteX37" fmla="*/ 0 w 550490"/>
                  <a:gd name="connsiteY37" fmla="*/ 583550 h 653469"/>
                  <a:gd name="connsiteX38" fmla="*/ 33978 w 550490"/>
                  <a:gd name="connsiteY38" fmla="*/ 590102 h 653469"/>
                  <a:gd name="connsiteX39" fmla="*/ 34542 w 550490"/>
                  <a:gd name="connsiteY39" fmla="*/ 577633 h 653469"/>
                  <a:gd name="connsiteX40" fmla="*/ 34542 w 550490"/>
                  <a:gd name="connsiteY40" fmla="*/ 577562 h 653469"/>
                  <a:gd name="connsiteX41" fmla="*/ 150083 w 550490"/>
                  <a:gd name="connsiteY41" fmla="*/ 159880 h 653469"/>
                  <a:gd name="connsiteX42" fmla="*/ 275563 w 550490"/>
                  <a:gd name="connsiteY42" fmla="*/ 34484 h 653469"/>
                  <a:gd name="connsiteX43" fmla="*/ 401043 w 550490"/>
                  <a:gd name="connsiteY43" fmla="*/ 159880 h 653469"/>
                  <a:gd name="connsiteX44" fmla="*/ 277642 w 550490"/>
                  <a:gd name="connsiteY44" fmla="*/ 285206 h 653469"/>
                  <a:gd name="connsiteX45" fmla="*/ 275563 w 550490"/>
                  <a:gd name="connsiteY45" fmla="*/ 285171 h 653469"/>
                  <a:gd name="connsiteX46" fmla="*/ 273483 w 550490"/>
                  <a:gd name="connsiteY46" fmla="*/ 285206 h 653469"/>
                  <a:gd name="connsiteX47" fmla="*/ 150083 w 550490"/>
                  <a:gd name="connsiteY47" fmla="*/ 159880 h 65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50490" h="653469">
                    <a:moveTo>
                      <a:pt x="281660" y="457872"/>
                    </a:moveTo>
                    <a:lnTo>
                      <a:pt x="275563" y="463684"/>
                    </a:lnTo>
                    <a:lnTo>
                      <a:pt x="269571" y="458013"/>
                    </a:lnTo>
                    <a:cubicBezTo>
                      <a:pt x="242642" y="431913"/>
                      <a:pt x="198336" y="431842"/>
                      <a:pt x="171055" y="457731"/>
                    </a:cubicBezTo>
                    <a:cubicBezTo>
                      <a:pt x="157590" y="470236"/>
                      <a:pt x="150083" y="487143"/>
                      <a:pt x="149977" y="505283"/>
                    </a:cubicBezTo>
                    <a:cubicBezTo>
                      <a:pt x="149871" y="523670"/>
                      <a:pt x="157308" y="540894"/>
                      <a:pt x="170879" y="553786"/>
                    </a:cubicBezTo>
                    <a:lnTo>
                      <a:pt x="276021" y="653469"/>
                    </a:lnTo>
                    <a:lnTo>
                      <a:pt x="362623" y="570870"/>
                    </a:lnTo>
                    <a:lnTo>
                      <a:pt x="380776" y="553646"/>
                    </a:lnTo>
                    <a:cubicBezTo>
                      <a:pt x="394099" y="540683"/>
                      <a:pt x="401360" y="523494"/>
                      <a:pt x="401148" y="505142"/>
                    </a:cubicBezTo>
                    <a:cubicBezTo>
                      <a:pt x="400937" y="487037"/>
                      <a:pt x="393464" y="470165"/>
                      <a:pt x="380317" y="458013"/>
                    </a:cubicBezTo>
                    <a:cubicBezTo>
                      <a:pt x="353388" y="431913"/>
                      <a:pt x="309153" y="431842"/>
                      <a:pt x="281660" y="457872"/>
                    </a:cubicBezTo>
                    <a:moveTo>
                      <a:pt x="366606" y="505530"/>
                    </a:moveTo>
                    <a:cubicBezTo>
                      <a:pt x="366712" y="514301"/>
                      <a:pt x="363222" y="522543"/>
                      <a:pt x="356772" y="528848"/>
                    </a:cubicBezTo>
                    <a:lnTo>
                      <a:pt x="275950" y="605847"/>
                    </a:lnTo>
                    <a:lnTo>
                      <a:pt x="194635" y="528778"/>
                    </a:lnTo>
                    <a:cubicBezTo>
                      <a:pt x="188009" y="522508"/>
                      <a:pt x="184413" y="514265"/>
                      <a:pt x="184484" y="505530"/>
                    </a:cubicBezTo>
                    <a:cubicBezTo>
                      <a:pt x="184554" y="497006"/>
                      <a:pt x="188079" y="489045"/>
                      <a:pt x="194635" y="482952"/>
                    </a:cubicBezTo>
                    <a:cubicBezTo>
                      <a:pt x="201614" y="476330"/>
                      <a:pt x="210955" y="473019"/>
                      <a:pt x="220260" y="473019"/>
                    </a:cubicBezTo>
                    <a:cubicBezTo>
                      <a:pt x="229565" y="473019"/>
                      <a:pt x="238764" y="476330"/>
                      <a:pt x="245602" y="482952"/>
                    </a:cubicBezTo>
                    <a:lnTo>
                      <a:pt x="275527" y="511271"/>
                    </a:lnTo>
                    <a:lnTo>
                      <a:pt x="305417" y="482952"/>
                    </a:lnTo>
                    <a:cubicBezTo>
                      <a:pt x="319375" y="469743"/>
                      <a:pt x="342673" y="469637"/>
                      <a:pt x="356525" y="483092"/>
                    </a:cubicBezTo>
                    <a:cubicBezTo>
                      <a:pt x="362905" y="489010"/>
                      <a:pt x="366500" y="497006"/>
                      <a:pt x="366571" y="505565"/>
                    </a:cubicBezTo>
                    <a:moveTo>
                      <a:pt x="34542" y="577562"/>
                    </a:moveTo>
                    <a:cubicBezTo>
                      <a:pt x="34860" y="453575"/>
                      <a:pt x="109830" y="320570"/>
                      <a:pt x="273977" y="319725"/>
                    </a:cubicBezTo>
                    <a:cubicBezTo>
                      <a:pt x="274505" y="319725"/>
                      <a:pt x="275034" y="319796"/>
                      <a:pt x="275563" y="319796"/>
                    </a:cubicBezTo>
                    <a:cubicBezTo>
                      <a:pt x="276127" y="319796"/>
                      <a:pt x="276655" y="319725"/>
                      <a:pt x="277184" y="319725"/>
                    </a:cubicBezTo>
                    <a:cubicBezTo>
                      <a:pt x="351203" y="320113"/>
                      <a:pt x="413132" y="347975"/>
                      <a:pt x="456275" y="400493"/>
                    </a:cubicBezTo>
                    <a:cubicBezTo>
                      <a:pt x="494448" y="446918"/>
                      <a:pt x="516371" y="511447"/>
                      <a:pt x="516583" y="577598"/>
                    </a:cubicBezTo>
                    <a:lnTo>
                      <a:pt x="550491" y="560303"/>
                    </a:lnTo>
                    <a:cubicBezTo>
                      <a:pt x="543512" y="448080"/>
                      <a:pt x="480419" y="331948"/>
                      <a:pt x="358464" y="296513"/>
                    </a:cubicBezTo>
                    <a:cubicBezTo>
                      <a:pt x="404638" y="268475"/>
                      <a:pt x="435620" y="217894"/>
                      <a:pt x="435620" y="159915"/>
                    </a:cubicBezTo>
                    <a:cubicBezTo>
                      <a:pt x="435620" y="71610"/>
                      <a:pt x="363998" y="0"/>
                      <a:pt x="275563" y="0"/>
                    </a:cubicBezTo>
                    <a:cubicBezTo>
                      <a:pt x="187127" y="0"/>
                      <a:pt x="115540" y="71610"/>
                      <a:pt x="115540" y="159915"/>
                    </a:cubicBezTo>
                    <a:cubicBezTo>
                      <a:pt x="115540" y="217858"/>
                      <a:pt x="146452" y="268404"/>
                      <a:pt x="192555" y="296442"/>
                    </a:cubicBezTo>
                    <a:cubicBezTo>
                      <a:pt x="62811" y="333920"/>
                      <a:pt x="282" y="458999"/>
                      <a:pt x="0" y="577598"/>
                    </a:cubicBezTo>
                    <a:lnTo>
                      <a:pt x="0" y="583550"/>
                    </a:lnTo>
                    <a:lnTo>
                      <a:pt x="33978" y="590102"/>
                    </a:lnTo>
                    <a:lnTo>
                      <a:pt x="34542" y="577633"/>
                    </a:lnTo>
                    <a:lnTo>
                      <a:pt x="34542" y="577562"/>
                    </a:lnTo>
                    <a:close/>
                    <a:moveTo>
                      <a:pt x="150083" y="159880"/>
                    </a:moveTo>
                    <a:cubicBezTo>
                      <a:pt x="150083" y="90736"/>
                      <a:pt x="206372" y="34484"/>
                      <a:pt x="275563" y="34484"/>
                    </a:cubicBezTo>
                    <a:cubicBezTo>
                      <a:pt x="344753" y="34484"/>
                      <a:pt x="401043" y="90736"/>
                      <a:pt x="401043" y="159880"/>
                    </a:cubicBezTo>
                    <a:cubicBezTo>
                      <a:pt x="401043" y="229024"/>
                      <a:pt x="345845" y="284044"/>
                      <a:pt x="277642" y="285206"/>
                    </a:cubicBezTo>
                    <a:cubicBezTo>
                      <a:pt x="276937" y="285206"/>
                      <a:pt x="276268" y="285171"/>
                      <a:pt x="275563" y="285171"/>
                    </a:cubicBezTo>
                    <a:cubicBezTo>
                      <a:pt x="274858" y="285171"/>
                      <a:pt x="274188" y="285206"/>
                      <a:pt x="273483" y="285206"/>
                    </a:cubicBezTo>
                    <a:cubicBezTo>
                      <a:pt x="205245" y="284079"/>
                      <a:pt x="150083" y="228320"/>
                      <a:pt x="150083" y="159880"/>
                    </a:cubicBezTo>
                  </a:path>
                </a:pathLst>
              </a:custGeom>
              <a:solidFill>
                <a:srgbClr val="FFFFFF"/>
              </a:solidFill>
              <a:ln w="3521" cap="flat">
                <a:noFill/>
                <a:prstDash val="solid"/>
                <a:miter/>
              </a:ln>
            </p:spPr>
            <p:txBody>
              <a:bodyPr rtlCol="0" anchor="ctr"/>
              <a:lstStyle/>
              <a:p>
                <a:endParaRPr lang="de-DE"/>
              </a:p>
            </p:txBody>
          </p:sp>
          <p:sp>
            <p:nvSpPr>
              <p:cNvPr id="47" name="Freihandform 46">
                <a:extLst>
                  <a:ext uri="{FF2B5EF4-FFF2-40B4-BE49-F238E27FC236}">
                    <a16:creationId xmlns:a16="http://schemas.microsoft.com/office/drawing/2014/main" id="{8180F0CC-7BCC-4164-AB40-CA67C87FF4F7}"/>
                  </a:ext>
                </a:extLst>
              </p:cNvPr>
              <p:cNvSpPr/>
              <p:nvPr/>
            </p:nvSpPr>
            <p:spPr>
              <a:xfrm>
                <a:off x="8598303" y="4737472"/>
                <a:ext cx="438651" cy="492461"/>
              </a:xfrm>
              <a:custGeom>
                <a:avLst/>
                <a:gdLst>
                  <a:gd name="connsiteX0" fmla="*/ 0 w 438651"/>
                  <a:gd name="connsiteY0" fmla="*/ 116309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09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09"/>
                    </a:moveTo>
                    <a:lnTo>
                      <a:pt x="34754" y="170130"/>
                    </a:lnTo>
                    <a:lnTo>
                      <a:pt x="162913" y="87496"/>
                    </a:lnTo>
                    <a:lnTo>
                      <a:pt x="352049" y="361782"/>
                    </a:lnTo>
                    <a:lnTo>
                      <a:pt x="251277" y="442479"/>
                    </a:lnTo>
                    <a:lnTo>
                      <a:pt x="291353" y="492462"/>
                    </a:lnTo>
                    <a:lnTo>
                      <a:pt x="438651" y="374498"/>
                    </a:lnTo>
                    <a:lnTo>
                      <a:pt x="180430" y="0"/>
                    </a:lnTo>
                    <a:lnTo>
                      <a:pt x="0" y="116309"/>
                    </a:lnTo>
                    <a:close/>
                  </a:path>
                </a:pathLst>
              </a:custGeom>
              <a:solidFill>
                <a:srgbClr val="FFFFFF"/>
              </a:solidFill>
              <a:ln w="3521" cap="flat">
                <a:noFill/>
                <a:prstDash val="solid"/>
                <a:miter/>
              </a:ln>
            </p:spPr>
            <p:txBody>
              <a:bodyPr rtlCol="0" anchor="ctr"/>
              <a:lstStyle/>
              <a:p>
                <a:endParaRPr lang="de-DE"/>
              </a:p>
            </p:txBody>
          </p:sp>
          <p:sp>
            <p:nvSpPr>
              <p:cNvPr id="48" name="Freihandform 47">
                <a:extLst>
                  <a:ext uri="{FF2B5EF4-FFF2-40B4-BE49-F238E27FC236}">
                    <a16:creationId xmlns:a16="http://schemas.microsoft.com/office/drawing/2014/main" id="{960B6F57-90F1-6CE4-9DB0-1C58DAE4641B}"/>
                  </a:ext>
                </a:extLst>
              </p:cNvPr>
              <p:cNvSpPr/>
              <p:nvPr/>
            </p:nvSpPr>
            <p:spPr>
              <a:xfrm>
                <a:off x="8845598" y="4628413"/>
                <a:ext cx="563872" cy="266861"/>
              </a:xfrm>
              <a:custGeom>
                <a:avLst/>
                <a:gdLst>
                  <a:gd name="connsiteX0" fmla="*/ 61259 w 563872"/>
                  <a:gd name="connsiteY0" fmla="*/ 170384 h 266861"/>
                  <a:gd name="connsiteX1" fmla="*/ 176624 w 563872"/>
                  <a:gd name="connsiteY1" fmla="*/ 83381 h 266861"/>
                  <a:gd name="connsiteX2" fmla="*/ 323851 w 563872"/>
                  <a:gd name="connsiteY2" fmla="*/ 84332 h 266861"/>
                  <a:gd name="connsiteX3" fmla="*/ 407634 w 563872"/>
                  <a:gd name="connsiteY3" fmla="*/ 110468 h 266861"/>
                  <a:gd name="connsiteX4" fmla="*/ 498360 w 563872"/>
                  <a:gd name="connsiteY4" fmla="*/ 156083 h 266861"/>
                  <a:gd name="connsiteX5" fmla="*/ 493002 w 563872"/>
                  <a:gd name="connsiteY5" fmla="*/ 186305 h 266861"/>
                  <a:gd name="connsiteX6" fmla="*/ 429452 w 563872"/>
                  <a:gd name="connsiteY6" fmla="*/ 202402 h 266861"/>
                  <a:gd name="connsiteX7" fmla="*/ 269782 w 563872"/>
                  <a:gd name="connsiteY7" fmla="*/ 167319 h 266861"/>
                  <a:gd name="connsiteX8" fmla="*/ 238729 w 563872"/>
                  <a:gd name="connsiteY8" fmla="*/ 159394 h 266861"/>
                  <a:gd name="connsiteX9" fmla="*/ 222833 w 563872"/>
                  <a:gd name="connsiteY9" fmla="*/ 221423 h 266861"/>
                  <a:gd name="connsiteX10" fmla="*/ 253885 w 563872"/>
                  <a:gd name="connsiteY10" fmla="*/ 229348 h 266861"/>
                  <a:gd name="connsiteX11" fmla="*/ 424940 w 563872"/>
                  <a:gd name="connsiteY11" fmla="*/ 266262 h 266861"/>
                  <a:gd name="connsiteX12" fmla="*/ 441683 w 563872"/>
                  <a:gd name="connsiteY12" fmla="*/ 266861 h 266861"/>
                  <a:gd name="connsiteX13" fmla="*/ 542349 w 563872"/>
                  <a:gd name="connsiteY13" fmla="*/ 227129 h 266861"/>
                  <a:gd name="connsiteX14" fmla="*/ 560325 w 563872"/>
                  <a:gd name="connsiteY14" fmla="*/ 139739 h 266861"/>
                  <a:gd name="connsiteX15" fmla="*/ 425010 w 563872"/>
                  <a:gd name="connsiteY15" fmla="*/ 48862 h 266861"/>
                  <a:gd name="connsiteX16" fmla="*/ 345740 w 563872"/>
                  <a:gd name="connsiteY16" fmla="*/ 24170 h 266861"/>
                  <a:gd name="connsiteX17" fmla="*/ 141341 w 563872"/>
                  <a:gd name="connsiteY17" fmla="*/ 29912 h 266861"/>
                  <a:gd name="connsiteX18" fmla="*/ 20866 w 563872"/>
                  <a:gd name="connsiteY18" fmla="*/ 120613 h 266861"/>
                  <a:gd name="connsiteX19" fmla="*/ 0 w 563872"/>
                  <a:gd name="connsiteY19" fmla="*/ 137485 h 266861"/>
                  <a:gd name="connsiteX20" fmla="*/ 36305 w 563872"/>
                  <a:gd name="connsiteY20" fmla="*/ 190532 h 266861"/>
                  <a:gd name="connsiteX21" fmla="*/ 61189 w 563872"/>
                  <a:gd name="connsiteY21" fmla="*/ 170384 h 266861"/>
                  <a:gd name="connsiteX22" fmla="*/ 61260 w 563872"/>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861">
                    <a:moveTo>
                      <a:pt x="61259"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4" y="198844"/>
                      <a:pt x="460117" y="204516"/>
                      <a:pt x="429452" y="202402"/>
                    </a:cubicBezTo>
                    <a:cubicBezTo>
                      <a:pt x="406752" y="200817"/>
                      <a:pt x="319445" y="180035"/>
                      <a:pt x="269782" y="167319"/>
                    </a:cubicBezTo>
                    <a:lnTo>
                      <a:pt x="238729" y="159394"/>
                    </a:lnTo>
                    <a:lnTo>
                      <a:pt x="222833" y="221423"/>
                    </a:lnTo>
                    <a:lnTo>
                      <a:pt x="253885" y="229348"/>
                    </a:lnTo>
                    <a:cubicBezTo>
                      <a:pt x="267632" y="232871"/>
                      <a:pt x="389058" y="263726"/>
                      <a:pt x="424940" y="266262"/>
                    </a:cubicBezTo>
                    <a:cubicBezTo>
                      <a:pt x="430756" y="266685"/>
                      <a:pt x="436325" y="266861"/>
                      <a:pt x="441683" y="266861"/>
                    </a:cubicBezTo>
                    <a:cubicBezTo>
                      <a:pt x="497162" y="266861"/>
                      <a:pt x="526910" y="245762"/>
                      <a:pt x="542349" y="227129"/>
                    </a:cubicBezTo>
                    <a:cubicBezTo>
                      <a:pt x="562122" y="203247"/>
                      <a:pt x="568678" y="171405"/>
                      <a:pt x="560325" y="139739"/>
                    </a:cubicBezTo>
                    <a:cubicBezTo>
                      <a:pt x="545274" y="82747"/>
                      <a:pt x="489548" y="67038"/>
                      <a:pt x="425010"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49" name="Freihandform 48">
                <a:extLst>
                  <a:ext uri="{FF2B5EF4-FFF2-40B4-BE49-F238E27FC236}">
                    <a16:creationId xmlns:a16="http://schemas.microsoft.com/office/drawing/2014/main" id="{43C83537-419E-83A2-6A96-4075277663D3}"/>
                  </a:ext>
                </a:extLst>
              </p:cNvPr>
              <p:cNvSpPr/>
              <p:nvPr/>
            </p:nvSpPr>
            <p:spPr>
              <a:xfrm>
                <a:off x="9009603" y="4586682"/>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3 h 477173"/>
                  <a:gd name="connsiteX5" fmla="*/ 422720 w 799690"/>
                  <a:gd name="connsiteY5" fmla="*/ 138674 h 477173"/>
                  <a:gd name="connsiteX6" fmla="*/ 446265 w 799690"/>
                  <a:gd name="connsiteY6" fmla="*/ 199012 h 477173"/>
                  <a:gd name="connsiteX7" fmla="*/ 475485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5 h 477173"/>
                  <a:gd name="connsiteX16" fmla="*/ 99750 w 799690"/>
                  <a:gd name="connsiteY16" fmla="*/ 372171 h 477173"/>
                  <a:gd name="connsiteX17" fmla="*/ 0 w 799690"/>
                  <a:gd name="connsiteY17" fmla="*/ 416518 h 477173"/>
                  <a:gd name="connsiteX18" fmla="*/ 36869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3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26" y="-33077"/>
                      <a:pt x="666842" y="5881"/>
                      <a:pt x="581861" y="51002"/>
                    </a:cubicBezTo>
                    <a:cubicBezTo>
                      <a:pt x="571921" y="56286"/>
                      <a:pt x="561452" y="61851"/>
                      <a:pt x="550420" y="67557"/>
                    </a:cubicBezTo>
                    <a:lnTo>
                      <a:pt x="550702" y="68121"/>
                    </a:lnTo>
                    <a:cubicBezTo>
                      <a:pt x="537872" y="74250"/>
                      <a:pt x="510838" y="89361"/>
                      <a:pt x="444185" y="126663"/>
                    </a:cubicBezTo>
                    <a:lnTo>
                      <a:pt x="422720" y="138674"/>
                    </a:lnTo>
                    <a:lnTo>
                      <a:pt x="446265" y="199012"/>
                    </a:lnTo>
                    <a:lnTo>
                      <a:pt x="475485"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85"/>
                      <a:pt x="434386" y="332650"/>
                      <a:pt x="397377" y="359773"/>
                    </a:cubicBezTo>
                    <a:cubicBezTo>
                      <a:pt x="338162" y="403168"/>
                      <a:pt x="309329" y="415990"/>
                      <a:pt x="278735" y="412643"/>
                    </a:cubicBezTo>
                    <a:cubicBezTo>
                      <a:pt x="244757" y="408910"/>
                      <a:pt x="145888" y="384218"/>
                      <a:pt x="110676" y="375025"/>
                    </a:cubicBezTo>
                    <a:lnTo>
                      <a:pt x="99750" y="372171"/>
                    </a:lnTo>
                    <a:lnTo>
                      <a:pt x="0" y="416518"/>
                    </a:lnTo>
                    <a:lnTo>
                      <a:pt x="36869"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57"/>
                      <a:pt x="718796" y="213876"/>
                      <a:pt x="737336" y="202253"/>
                    </a:cubicBezTo>
                    <a:cubicBezTo>
                      <a:pt x="806280" y="159068"/>
                      <a:pt x="810262" y="82140"/>
                      <a:pt x="786612" y="43253"/>
                    </a:cubicBezTo>
                  </a:path>
                </a:pathLst>
              </a:custGeom>
              <a:solidFill>
                <a:srgbClr val="FFFFFF"/>
              </a:solidFill>
              <a:ln w="3521"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682D653-0F33-A9C9-92DB-EEACDBD052D1}"/>
              </a:ext>
            </a:extLst>
          </p:cNvPr>
          <p:cNvGrpSpPr/>
          <p:nvPr/>
        </p:nvGrpSpPr>
        <p:grpSpPr>
          <a:xfrm>
            <a:off x="518902" y="4122514"/>
            <a:ext cx="1998233" cy="1891809"/>
            <a:chOff x="6096000" y="3729680"/>
            <a:chExt cx="1998233" cy="1891809"/>
          </a:xfrm>
        </p:grpSpPr>
        <p:sp>
          <p:nvSpPr>
            <p:cNvPr id="34" name="Freihandform 33">
              <a:extLst>
                <a:ext uri="{FF2B5EF4-FFF2-40B4-BE49-F238E27FC236}">
                  <a16:creationId xmlns:a16="http://schemas.microsoft.com/office/drawing/2014/main" id="{492627DC-BF5F-BEE4-10E7-9350A172FD96}"/>
                </a:ext>
              </a:extLst>
            </p:cNvPr>
            <p:cNvSpPr/>
            <p:nvPr/>
          </p:nvSpPr>
          <p:spPr>
            <a:xfrm>
              <a:off x="6096000" y="3729680"/>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70" name="Gruppieren 69">
              <a:extLst>
                <a:ext uri="{FF2B5EF4-FFF2-40B4-BE49-F238E27FC236}">
                  <a16:creationId xmlns:a16="http://schemas.microsoft.com/office/drawing/2014/main" id="{97B2C27E-9364-E125-ADE7-480A62C6B4BE}"/>
                </a:ext>
              </a:extLst>
            </p:cNvPr>
            <p:cNvGrpSpPr/>
            <p:nvPr/>
          </p:nvGrpSpPr>
          <p:grpSpPr>
            <a:xfrm>
              <a:off x="6434690" y="4019650"/>
              <a:ext cx="1210919" cy="1210284"/>
              <a:chOff x="6434690" y="4019650"/>
              <a:chExt cx="1210919" cy="1210284"/>
            </a:xfrm>
          </p:grpSpPr>
          <p:sp>
            <p:nvSpPr>
              <p:cNvPr id="50" name="Freihandform 49">
                <a:extLst>
                  <a:ext uri="{FF2B5EF4-FFF2-40B4-BE49-F238E27FC236}">
                    <a16:creationId xmlns:a16="http://schemas.microsoft.com/office/drawing/2014/main" id="{FEB36A71-E96A-5290-A301-2B2C0A3A510A}"/>
                  </a:ext>
                </a:extLst>
              </p:cNvPr>
              <p:cNvSpPr/>
              <p:nvPr/>
            </p:nvSpPr>
            <p:spPr>
              <a:xfrm>
                <a:off x="6821387" y="4019650"/>
                <a:ext cx="624662" cy="594610"/>
              </a:xfrm>
              <a:custGeom>
                <a:avLst/>
                <a:gdLst>
                  <a:gd name="connsiteX0" fmla="*/ 505480 w 624662"/>
                  <a:gd name="connsiteY0" fmla="*/ 320183 h 594610"/>
                  <a:gd name="connsiteX1" fmla="*/ 347044 w 624662"/>
                  <a:gd name="connsiteY1" fmla="*/ 478548 h 594610"/>
                  <a:gd name="connsiteX2" fmla="*/ 188608 w 624662"/>
                  <a:gd name="connsiteY2" fmla="*/ 320183 h 594610"/>
                  <a:gd name="connsiteX3" fmla="*/ 347044 w 624662"/>
                  <a:gd name="connsiteY3" fmla="*/ 161817 h 594610"/>
                  <a:gd name="connsiteX4" fmla="*/ 505480 w 624662"/>
                  <a:gd name="connsiteY4" fmla="*/ 320183 h 594610"/>
                  <a:gd name="connsiteX5" fmla="*/ 298685 w 624662"/>
                  <a:gd name="connsiteY5" fmla="*/ 259669 h 594610"/>
                  <a:gd name="connsiteX6" fmla="*/ 395368 w 624662"/>
                  <a:gd name="connsiteY6" fmla="*/ 259669 h 594610"/>
                  <a:gd name="connsiteX7" fmla="*/ 377321 w 624662"/>
                  <a:gd name="connsiteY7" fmla="*/ 199859 h 594610"/>
                  <a:gd name="connsiteX8" fmla="*/ 347009 w 624662"/>
                  <a:gd name="connsiteY8" fmla="*/ 195984 h 594610"/>
                  <a:gd name="connsiteX9" fmla="*/ 316696 w 624662"/>
                  <a:gd name="connsiteY9" fmla="*/ 199859 h 594610"/>
                  <a:gd name="connsiteX10" fmla="*/ 298649 w 624662"/>
                  <a:gd name="connsiteY10" fmla="*/ 259669 h 594610"/>
                  <a:gd name="connsiteX11" fmla="*/ 273342 w 624662"/>
                  <a:gd name="connsiteY11" fmla="*/ 359352 h 594610"/>
                  <a:gd name="connsiteX12" fmla="*/ 271298 w 624662"/>
                  <a:gd name="connsiteY12" fmla="*/ 321803 h 594610"/>
                  <a:gd name="connsiteX13" fmla="*/ 273730 w 624662"/>
                  <a:gd name="connsiteY13" fmla="*/ 281014 h 594610"/>
                  <a:gd name="connsiteX14" fmla="*/ 229212 w 624662"/>
                  <a:gd name="connsiteY14" fmla="*/ 281014 h 594610"/>
                  <a:gd name="connsiteX15" fmla="*/ 222762 w 624662"/>
                  <a:gd name="connsiteY15" fmla="*/ 320183 h 594610"/>
                  <a:gd name="connsiteX16" fmla="*/ 229212 w 624662"/>
                  <a:gd name="connsiteY16" fmla="*/ 359352 h 594610"/>
                  <a:gd name="connsiteX17" fmla="*/ 273342 w 624662"/>
                  <a:gd name="connsiteY17" fmla="*/ 359352 h 594610"/>
                  <a:gd name="connsiteX18" fmla="*/ 288604 w 624662"/>
                  <a:gd name="connsiteY18" fmla="*/ 429729 h 594610"/>
                  <a:gd name="connsiteX19" fmla="*/ 276373 w 624662"/>
                  <a:gd name="connsiteY19" fmla="*/ 380697 h 594610"/>
                  <a:gd name="connsiteX20" fmla="*/ 238623 w 624662"/>
                  <a:gd name="connsiteY20" fmla="*/ 380697 h 594610"/>
                  <a:gd name="connsiteX21" fmla="*/ 288604 w 624662"/>
                  <a:gd name="connsiteY21" fmla="*/ 429729 h 594610"/>
                  <a:gd name="connsiteX22" fmla="*/ 289943 w 624662"/>
                  <a:gd name="connsiteY22" fmla="*/ 210003 h 594610"/>
                  <a:gd name="connsiteX23" fmla="*/ 238623 w 624662"/>
                  <a:gd name="connsiteY23" fmla="*/ 259669 h 594610"/>
                  <a:gd name="connsiteX24" fmla="*/ 276972 w 624662"/>
                  <a:gd name="connsiteY24" fmla="*/ 259669 h 594610"/>
                  <a:gd name="connsiteX25" fmla="*/ 289943 w 624662"/>
                  <a:gd name="connsiteY25" fmla="*/ 210003 h 594610"/>
                  <a:gd name="connsiteX26" fmla="*/ 396037 w 624662"/>
                  <a:gd name="connsiteY26" fmla="*/ 380697 h 594610"/>
                  <a:gd name="connsiteX27" fmla="*/ 298085 w 624662"/>
                  <a:gd name="connsiteY27" fmla="*/ 380697 h 594610"/>
                  <a:gd name="connsiteX28" fmla="*/ 315216 w 624662"/>
                  <a:gd name="connsiteY28" fmla="*/ 440084 h 594610"/>
                  <a:gd name="connsiteX29" fmla="*/ 347044 w 624662"/>
                  <a:gd name="connsiteY29" fmla="*/ 444381 h 594610"/>
                  <a:gd name="connsiteX30" fmla="*/ 378907 w 624662"/>
                  <a:gd name="connsiteY30" fmla="*/ 440084 h 594610"/>
                  <a:gd name="connsiteX31" fmla="*/ 396037 w 624662"/>
                  <a:gd name="connsiteY31" fmla="*/ 380697 h 594610"/>
                  <a:gd name="connsiteX32" fmla="*/ 401430 w 624662"/>
                  <a:gd name="connsiteY32" fmla="*/ 321803 h 594610"/>
                  <a:gd name="connsiteX33" fmla="*/ 398787 w 624662"/>
                  <a:gd name="connsiteY33" fmla="*/ 281014 h 594610"/>
                  <a:gd name="connsiteX34" fmla="*/ 295266 w 624662"/>
                  <a:gd name="connsiteY34" fmla="*/ 281014 h 594610"/>
                  <a:gd name="connsiteX35" fmla="*/ 292622 w 624662"/>
                  <a:gd name="connsiteY35" fmla="*/ 321803 h 594610"/>
                  <a:gd name="connsiteX36" fmla="*/ 294843 w 624662"/>
                  <a:gd name="connsiteY36" fmla="*/ 359352 h 594610"/>
                  <a:gd name="connsiteX37" fmla="*/ 399210 w 624662"/>
                  <a:gd name="connsiteY37" fmla="*/ 359352 h 594610"/>
                  <a:gd name="connsiteX38" fmla="*/ 401430 w 624662"/>
                  <a:gd name="connsiteY38" fmla="*/ 321803 h 594610"/>
                  <a:gd name="connsiteX39" fmla="*/ 404144 w 624662"/>
                  <a:gd name="connsiteY39" fmla="*/ 210003 h 594610"/>
                  <a:gd name="connsiteX40" fmla="*/ 417115 w 624662"/>
                  <a:gd name="connsiteY40" fmla="*/ 259669 h 594610"/>
                  <a:gd name="connsiteX41" fmla="*/ 455464 w 624662"/>
                  <a:gd name="connsiteY41" fmla="*/ 259669 h 594610"/>
                  <a:gd name="connsiteX42" fmla="*/ 404144 w 624662"/>
                  <a:gd name="connsiteY42" fmla="*/ 210003 h 594610"/>
                  <a:gd name="connsiteX43" fmla="*/ 455464 w 624662"/>
                  <a:gd name="connsiteY43" fmla="*/ 380697 h 594610"/>
                  <a:gd name="connsiteX44" fmla="*/ 417714 w 624662"/>
                  <a:gd name="connsiteY44" fmla="*/ 380697 h 594610"/>
                  <a:gd name="connsiteX45" fmla="*/ 405484 w 624662"/>
                  <a:gd name="connsiteY45" fmla="*/ 429729 h 594610"/>
                  <a:gd name="connsiteX46" fmla="*/ 455429 w 624662"/>
                  <a:gd name="connsiteY46" fmla="*/ 380697 h 594610"/>
                  <a:gd name="connsiteX47" fmla="*/ 464875 w 624662"/>
                  <a:gd name="connsiteY47" fmla="*/ 359352 h 594610"/>
                  <a:gd name="connsiteX48" fmla="*/ 471325 w 624662"/>
                  <a:gd name="connsiteY48" fmla="*/ 320183 h 594610"/>
                  <a:gd name="connsiteX49" fmla="*/ 464875 w 624662"/>
                  <a:gd name="connsiteY49" fmla="*/ 281014 h 594610"/>
                  <a:gd name="connsiteX50" fmla="*/ 420358 w 624662"/>
                  <a:gd name="connsiteY50" fmla="*/ 281014 h 594610"/>
                  <a:gd name="connsiteX51" fmla="*/ 422790 w 624662"/>
                  <a:gd name="connsiteY51" fmla="*/ 321803 h 594610"/>
                  <a:gd name="connsiteX52" fmla="*/ 420746 w 624662"/>
                  <a:gd name="connsiteY52" fmla="*/ 359352 h 594610"/>
                  <a:gd name="connsiteX53" fmla="*/ 464875 w 624662"/>
                  <a:gd name="connsiteY53" fmla="*/ 359352 h 594610"/>
                  <a:gd name="connsiteX54" fmla="*/ 73667 w 624662"/>
                  <a:gd name="connsiteY54" fmla="*/ 297429 h 594610"/>
                  <a:gd name="connsiteX55" fmla="*/ 139544 w 624662"/>
                  <a:gd name="connsiteY55" fmla="*/ 508453 h 594610"/>
                  <a:gd name="connsiteX56" fmla="*/ 340911 w 624662"/>
                  <a:gd name="connsiteY56" fmla="*/ 594610 h 594610"/>
                  <a:gd name="connsiteX57" fmla="*/ 363293 w 624662"/>
                  <a:gd name="connsiteY57" fmla="*/ 593800 h 594610"/>
                  <a:gd name="connsiteX58" fmla="*/ 380352 w 624662"/>
                  <a:gd name="connsiteY58" fmla="*/ 592532 h 594610"/>
                  <a:gd name="connsiteX59" fmla="*/ 377850 w 624662"/>
                  <a:gd name="connsiteY59" fmla="*/ 558471 h 594610"/>
                  <a:gd name="connsiteX60" fmla="*/ 360790 w 624662"/>
                  <a:gd name="connsiteY60" fmla="*/ 559704 h 594610"/>
                  <a:gd name="connsiteX61" fmla="*/ 164851 w 624662"/>
                  <a:gd name="connsiteY61" fmla="*/ 485523 h 594610"/>
                  <a:gd name="connsiteX62" fmla="*/ 107257 w 624662"/>
                  <a:gd name="connsiteY62" fmla="*/ 305917 h 594610"/>
                  <a:gd name="connsiteX63" fmla="*/ 142575 w 624662"/>
                  <a:gd name="connsiteY63" fmla="*/ 357907 h 594610"/>
                  <a:gd name="connsiteX64" fmla="*/ 170878 w 624662"/>
                  <a:gd name="connsiteY64" fmla="*/ 338675 h 594610"/>
                  <a:gd name="connsiteX65" fmla="*/ 101723 w 624662"/>
                  <a:gd name="connsiteY65" fmla="*/ 236985 h 594610"/>
                  <a:gd name="connsiteX66" fmla="*/ 0 w 624662"/>
                  <a:gd name="connsiteY66" fmla="*/ 306094 h 594610"/>
                  <a:gd name="connsiteX67" fmla="*/ 19245 w 624662"/>
                  <a:gd name="connsiteY67" fmla="*/ 334413 h 594610"/>
                  <a:gd name="connsiteX68" fmla="*/ 73667 w 624662"/>
                  <a:gd name="connsiteY68" fmla="*/ 297464 h 594610"/>
                  <a:gd name="connsiteX69" fmla="*/ 73667 w 624662"/>
                  <a:gd name="connsiteY69" fmla="*/ 297429 h 594610"/>
                  <a:gd name="connsiteX70" fmla="*/ 167530 w 624662"/>
                  <a:gd name="connsiteY70" fmla="*/ 150757 h 594610"/>
                  <a:gd name="connsiteX71" fmla="*/ 177082 w 624662"/>
                  <a:gd name="connsiteY71" fmla="*/ 141634 h 594610"/>
                  <a:gd name="connsiteX72" fmla="*/ 458636 w 624662"/>
                  <a:gd name="connsiteY72" fmla="*/ 103170 h 594610"/>
                  <a:gd name="connsiteX73" fmla="*/ 397483 w 624662"/>
                  <a:gd name="connsiteY73" fmla="*/ 125009 h 594610"/>
                  <a:gd name="connsiteX74" fmla="*/ 409008 w 624662"/>
                  <a:gd name="connsiteY74" fmla="*/ 157203 h 594610"/>
                  <a:gd name="connsiteX75" fmla="*/ 524831 w 624662"/>
                  <a:gd name="connsiteY75" fmla="*/ 115745 h 594610"/>
                  <a:gd name="connsiteX76" fmla="*/ 483380 w 624662"/>
                  <a:gd name="connsiteY76" fmla="*/ 0 h 594610"/>
                  <a:gd name="connsiteX77" fmla="*/ 451129 w 624662"/>
                  <a:gd name="connsiteY77" fmla="*/ 11518 h 594610"/>
                  <a:gd name="connsiteX78" fmla="*/ 472806 w 624662"/>
                  <a:gd name="connsiteY78" fmla="*/ 72032 h 594610"/>
                  <a:gd name="connsiteX79" fmla="*/ 154136 w 624662"/>
                  <a:gd name="connsiteY79" fmla="*/ 116273 h 594610"/>
                  <a:gd name="connsiteX80" fmla="*/ 143350 w 624662"/>
                  <a:gd name="connsiteY80" fmla="*/ 126559 h 594610"/>
                  <a:gd name="connsiteX81" fmla="*/ 131296 w 624662"/>
                  <a:gd name="connsiteY81" fmla="*/ 138640 h 594610"/>
                  <a:gd name="connsiteX82" fmla="*/ 155475 w 624662"/>
                  <a:gd name="connsiteY82" fmla="*/ 162769 h 594610"/>
                  <a:gd name="connsiteX83" fmla="*/ 167530 w 624662"/>
                  <a:gd name="connsiteY83" fmla="*/ 150687 h 594610"/>
                  <a:gd name="connsiteX84" fmla="*/ 167530 w 624662"/>
                  <a:gd name="connsiteY84" fmla="*/ 150757 h 594610"/>
                  <a:gd name="connsiteX85" fmla="*/ 508652 w 624662"/>
                  <a:gd name="connsiteY85" fmla="*/ 506833 h 594610"/>
                  <a:gd name="connsiteX86" fmla="*/ 508370 w 624662"/>
                  <a:gd name="connsiteY86" fmla="*/ 507080 h 594610"/>
                  <a:gd name="connsiteX87" fmla="*/ 513270 w 624662"/>
                  <a:gd name="connsiteY87" fmla="*/ 442656 h 594610"/>
                  <a:gd name="connsiteX88" fmla="*/ 479115 w 624662"/>
                  <a:gd name="connsiteY88" fmla="*/ 440084 h 594610"/>
                  <a:gd name="connsiteX89" fmla="*/ 469880 w 624662"/>
                  <a:gd name="connsiteY89" fmla="*/ 562698 h 594610"/>
                  <a:gd name="connsiteX90" fmla="*/ 592541 w 624662"/>
                  <a:gd name="connsiteY90" fmla="*/ 571926 h 594610"/>
                  <a:gd name="connsiteX91" fmla="*/ 595114 w 624662"/>
                  <a:gd name="connsiteY91" fmla="*/ 537795 h 594610"/>
                  <a:gd name="connsiteX92" fmla="*/ 530682 w 624662"/>
                  <a:gd name="connsiteY92" fmla="*/ 532969 h 594610"/>
                  <a:gd name="connsiteX93" fmla="*/ 531633 w 624662"/>
                  <a:gd name="connsiteY93" fmla="*/ 532159 h 594610"/>
                  <a:gd name="connsiteX94" fmla="*/ 599731 w 624662"/>
                  <a:gd name="connsiteY94" fmla="*/ 201937 h 594610"/>
                  <a:gd name="connsiteX95" fmla="*/ 592893 w 624662"/>
                  <a:gd name="connsiteY95" fmla="*/ 186298 h 594610"/>
                  <a:gd name="connsiteX96" fmla="*/ 561594 w 624662"/>
                  <a:gd name="connsiteY96" fmla="*/ 200000 h 594610"/>
                  <a:gd name="connsiteX97" fmla="*/ 568431 w 624662"/>
                  <a:gd name="connsiteY97" fmla="*/ 215639 h 594610"/>
                  <a:gd name="connsiteX98" fmla="*/ 508687 w 624662"/>
                  <a:gd name="connsiteY98" fmla="*/ 506868 h 59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4662" h="594610">
                    <a:moveTo>
                      <a:pt x="505480" y="320183"/>
                    </a:moveTo>
                    <a:cubicBezTo>
                      <a:pt x="505480" y="407502"/>
                      <a:pt x="434422" y="478548"/>
                      <a:pt x="347044" y="478548"/>
                    </a:cubicBezTo>
                    <a:cubicBezTo>
                      <a:pt x="259666" y="478548"/>
                      <a:pt x="188608" y="407502"/>
                      <a:pt x="188608" y="320183"/>
                    </a:cubicBezTo>
                    <a:cubicBezTo>
                      <a:pt x="188608" y="232863"/>
                      <a:pt x="259666" y="161817"/>
                      <a:pt x="347044" y="161817"/>
                    </a:cubicBezTo>
                    <a:cubicBezTo>
                      <a:pt x="434422" y="161817"/>
                      <a:pt x="505480" y="232863"/>
                      <a:pt x="505480" y="320183"/>
                    </a:cubicBezTo>
                    <a:moveTo>
                      <a:pt x="298685" y="259669"/>
                    </a:moveTo>
                    <a:lnTo>
                      <a:pt x="395368" y="259669"/>
                    </a:lnTo>
                    <a:cubicBezTo>
                      <a:pt x="391350" y="238887"/>
                      <a:pt x="385287" y="218774"/>
                      <a:pt x="377321" y="199859"/>
                    </a:cubicBezTo>
                    <a:cubicBezTo>
                      <a:pt x="367593" y="197393"/>
                      <a:pt x="357512" y="195984"/>
                      <a:pt x="347009" y="195984"/>
                    </a:cubicBezTo>
                    <a:cubicBezTo>
                      <a:pt x="336505" y="195984"/>
                      <a:pt x="326424" y="197429"/>
                      <a:pt x="316696" y="199859"/>
                    </a:cubicBezTo>
                    <a:cubicBezTo>
                      <a:pt x="308695" y="218774"/>
                      <a:pt x="302668" y="238852"/>
                      <a:pt x="298649" y="259669"/>
                    </a:cubicBezTo>
                    <a:moveTo>
                      <a:pt x="273342" y="359352"/>
                    </a:moveTo>
                    <a:cubicBezTo>
                      <a:pt x="272003" y="346953"/>
                      <a:pt x="271298" y="334413"/>
                      <a:pt x="271298" y="321803"/>
                    </a:cubicBezTo>
                    <a:cubicBezTo>
                      <a:pt x="271298" y="308101"/>
                      <a:pt x="272179" y="294470"/>
                      <a:pt x="273730" y="281014"/>
                    </a:cubicBezTo>
                    <a:lnTo>
                      <a:pt x="229212" y="281014"/>
                    </a:lnTo>
                    <a:cubicBezTo>
                      <a:pt x="225089" y="293342"/>
                      <a:pt x="222762" y="306481"/>
                      <a:pt x="222762" y="320183"/>
                    </a:cubicBezTo>
                    <a:cubicBezTo>
                      <a:pt x="222762" y="333885"/>
                      <a:pt x="225089" y="347023"/>
                      <a:pt x="229212" y="359352"/>
                    </a:cubicBezTo>
                    <a:lnTo>
                      <a:pt x="273342" y="359352"/>
                    </a:lnTo>
                    <a:close/>
                    <a:moveTo>
                      <a:pt x="288604" y="429729"/>
                    </a:moveTo>
                    <a:cubicBezTo>
                      <a:pt x="283317" y="413913"/>
                      <a:pt x="279263" y="397499"/>
                      <a:pt x="276373" y="380697"/>
                    </a:cubicBezTo>
                    <a:lnTo>
                      <a:pt x="238623" y="380697"/>
                    </a:lnTo>
                    <a:cubicBezTo>
                      <a:pt x="250255" y="401409"/>
                      <a:pt x="267597" y="418492"/>
                      <a:pt x="288604" y="429729"/>
                    </a:cubicBezTo>
                    <a:moveTo>
                      <a:pt x="289943" y="210003"/>
                    </a:moveTo>
                    <a:cubicBezTo>
                      <a:pt x="268372" y="221204"/>
                      <a:pt x="250502" y="238534"/>
                      <a:pt x="238623" y="259669"/>
                    </a:cubicBezTo>
                    <a:lnTo>
                      <a:pt x="276972" y="259669"/>
                    </a:lnTo>
                    <a:cubicBezTo>
                      <a:pt x="280074" y="242621"/>
                      <a:pt x="284374" y="225995"/>
                      <a:pt x="289943" y="210003"/>
                    </a:cubicBezTo>
                    <a:moveTo>
                      <a:pt x="396037" y="380697"/>
                    </a:moveTo>
                    <a:lnTo>
                      <a:pt x="298085" y="380697"/>
                    </a:lnTo>
                    <a:cubicBezTo>
                      <a:pt x="301857" y="401303"/>
                      <a:pt x="307567" y="421275"/>
                      <a:pt x="315216" y="440084"/>
                    </a:cubicBezTo>
                    <a:cubicBezTo>
                      <a:pt x="325402" y="442797"/>
                      <a:pt x="336011" y="444381"/>
                      <a:pt x="347044" y="444381"/>
                    </a:cubicBezTo>
                    <a:cubicBezTo>
                      <a:pt x="358076" y="444381"/>
                      <a:pt x="368721" y="442797"/>
                      <a:pt x="378907" y="440084"/>
                    </a:cubicBezTo>
                    <a:cubicBezTo>
                      <a:pt x="386521" y="421275"/>
                      <a:pt x="392266" y="401303"/>
                      <a:pt x="396037" y="380697"/>
                    </a:cubicBezTo>
                    <a:moveTo>
                      <a:pt x="401430" y="321803"/>
                    </a:moveTo>
                    <a:cubicBezTo>
                      <a:pt x="401430" y="308066"/>
                      <a:pt x="400479" y="294434"/>
                      <a:pt x="398787" y="281014"/>
                    </a:cubicBezTo>
                    <a:lnTo>
                      <a:pt x="295266" y="281014"/>
                    </a:lnTo>
                    <a:cubicBezTo>
                      <a:pt x="293574" y="294434"/>
                      <a:pt x="292622" y="308066"/>
                      <a:pt x="292622" y="321803"/>
                    </a:cubicBezTo>
                    <a:cubicBezTo>
                      <a:pt x="292622" y="334413"/>
                      <a:pt x="293433" y="346953"/>
                      <a:pt x="294843" y="359352"/>
                    </a:cubicBezTo>
                    <a:lnTo>
                      <a:pt x="399210" y="359352"/>
                    </a:lnTo>
                    <a:cubicBezTo>
                      <a:pt x="400620" y="346953"/>
                      <a:pt x="401430" y="334413"/>
                      <a:pt x="401430" y="321803"/>
                    </a:cubicBezTo>
                    <a:moveTo>
                      <a:pt x="404144" y="210003"/>
                    </a:moveTo>
                    <a:cubicBezTo>
                      <a:pt x="409713" y="225995"/>
                      <a:pt x="414049" y="242656"/>
                      <a:pt x="417115" y="259669"/>
                    </a:cubicBezTo>
                    <a:lnTo>
                      <a:pt x="455464" y="259669"/>
                    </a:lnTo>
                    <a:cubicBezTo>
                      <a:pt x="443586" y="238499"/>
                      <a:pt x="425716" y="221204"/>
                      <a:pt x="404144" y="210003"/>
                    </a:cubicBezTo>
                    <a:moveTo>
                      <a:pt x="455464" y="380697"/>
                    </a:moveTo>
                    <a:lnTo>
                      <a:pt x="417714" y="380697"/>
                    </a:lnTo>
                    <a:cubicBezTo>
                      <a:pt x="414824" y="397499"/>
                      <a:pt x="410771" y="413913"/>
                      <a:pt x="405484" y="429729"/>
                    </a:cubicBezTo>
                    <a:cubicBezTo>
                      <a:pt x="426456" y="418492"/>
                      <a:pt x="443833" y="401444"/>
                      <a:pt x="455429" y="380697"/>
                    </a:cubicBezTo>
                    <a:moveTo>
                      <a:pt x="464875" y="359352"/>
                    </a:moveTo>
                    <a:cubicBezTo>
                      <a:pt x="468999" y="347023"/>
                      <a:pt x="471325" y="333885"/>
                      <a:pt x="471325" y="320183"/>
                    </a:cubicBezTo>
                    <a:cubicBezTo>
                      <a:pt x="471325" y="306481"/>
                      <a:pt x="468999" y="293342"/>
                      <a:pt x="464875" y="281014"/>
                    </a:cubicBezTo>
                    <a:lnTo>
                      <a:pt x="420358" y="281014"/>
                    </a:lnTo>
                    <a:cubicBezTo>
                      <a:pt x="421944" y="294470"/>
                      <a:pt x="422790" y="308066"/>
                      <a:pt x="422790" y="321803"/>
                    </a:cubicBezTo>
                    <a:cubicBezTo>
                      <a:pt x="422790" y="334413"/>
                      <a:pt x="422085" y="346953"/>
                      <a:pt x="420746" y="359352"/>
                    </a:cubicBezTo>
                    <a:lnTo>
                      <a:pt x="464875" y="359352"/>
                    </a:lnTo>
                    <a:close/>
                    <a:moveTo>
                      <a:pt x="73667" y="297429"/>
                    </a:moveTo>
                    <a:cubicBezTo>
                      <a:pt x="65313" y="376470"/>
                      <a:pt x="88929" y="452659"/>
                      <a:pt x="139544" y="508453"/>
                    </a:cubicBezTo>
                    <a:cubicBezTo>
                      <a:pt x="189806" y="563860"/>
                      <a:pt x="262239" y="594610"/>
                      <a:pt x="340911" y="594610"/>
                    </a:cubicBezTo>
                    <a:cubicBezTo>
                      <a:pt x="348313" y="594610"/>
                      <a:pt x="355785" y="594329"/>
                      <a:pt x="363293" y="593800"/>
                    </a:cubicBezTo>
                    <a:lnTo>
                      <a:pt x="380352" y="592532"/>
                    </a:lnTo>
                    <a:lnTo>
                      <a:pt x="377850" y="558471"/>
                    </a:lnTo>
                    <a:lnTo>
                      <a:pt x="360790" y="559704"/>
                    </a:lnTo>
                    <a:cubicBezTo>
                      <a:pt x="284092" y="565304"/>
                      <a:pt x="212717" y="538288"/>
                      <a:pt x="164851" y="485523"/>
                    </a:cubicBezTo>
                    <a:cubicBezTo>
                      <a:pt x="121850" y="438147"/>
                      <a:pt x="101371" y="373547"/>
                      <a:pt x="107257" y="305917"/>
                    </a:cubicBezTo>
                    <a:lnTo>
                      <a:pt x="142575" y="357907"/>
                    </a:lnTo>
                    <a:lnTo>
                      <a:pt x="170878" y="338675"/>
                    </a:lnTo>
                    <a:lnTo>
                      <a:pt x="101723" y="236985"/>
                    </a:lnTo>
                    <a:lnTo>
                      <a:pt x="0" y="306094"/>
                    </a:lnTo>
                    <a:lnTo>
                      <a:pt x="19245" y="334413"/>
                    </a:lnTo>
                    <a:lnTo>
                      <a:pt x="73667" y="297464"/>
                    </a:lnTo>
                    <a:lnTo>
                      <a:pt x="73667" y="297429"/>
                    </a:lnTo>
                    <a:close/>
                    <a:moveTo>
                      <a:pt x="167530" y="150757"/>
                    </a:moveTo>
                    <a:cubicBezTo>
                      <a:pt x="170632" y="147657"/>
                      <a:pt x="173804" y="144628"/>
                      <a:pt x="177082" y="141634"/>
                    </a:cubicBezTo>
                    <a:cubicBezTo>
                      <a:pt x="253322" y="72525"/>
                      <a:pt x="364632" y="57943"/>
                      <a:pt x="458636" y="103170"/>
                    </a:cubicBezTo>
                    <a:lnTo>
                      <a:pt x="397483" y="125009"/>
                    </a:lnTo>
                    <a:lnTo>
                      <a:pt x="409008" y="157203"/>
                    </a:lnTo>
                    <a:lnTo>
                      <a:pt x="524831" y="115745"/>
                    </a:lnTo>
                    <a:lnTo>
                      <a:pt x="483380" y="0"/>
                    </a:lnTo>
                    <a:lnTo>
                      <a:pt x="451129" y="11518"/>
                    </a:lnTo>
                    <a:lnTo>
                      <a:pt x="472806" y="72032"/>
                    </a:lnTo>
                    <a:cubicBezTo>
                      <a:pt x="366500" y="21169"/>
                      <a:pt x="240562" y="37936"/>
                      <a:pt x="154136" y="116273"/>
                    </a:cubicBezTo>
                    <a:cubicBezTo>
                      <a:pt x="150435" y="119620"/>
                      <a:pt x="146840" y="123071"/>
                      <a:pt x="143350" y="126559"/>
                    </a:cubicBezTo>
                    <a:lnTo>
                      <a:pt x="131296" y="138640"/>
                    </a:lnTo>
                    <a:lnTo>
                      <a:pt x="155475" y="162769"/>
                    </a:lnTo>
                    <a:lnTo>
                      <a:pt x="167530" y="150687"/>
                    </a:lnTo>
                    <a:lnTo>
                      <a:pt x="167530" y="150757"/>
                    </a:lnTo>
                    <a:close/>
                    <a:moveTo>
                      <a:pt x="508652" y="506833"/>
                    </a:moveTo>
                    <a:cubicBezTo>
                      <a:pt x="508652" y="506833"/>
                      <a:pt x="508441" y="507009"/>
                      <a:pt x="508370" y="507080"/>
                    </a:cubicBezTo>
                    <a:lnTo>
                      <a:pt x="513270" y="442656"/>
                    </a:lnTo>
                    <a:lnTo>
                      <a:pt x="479115" y="440084"/>
                    </a:lnTo>
                    <a:lnTo>
                      <a:pt x="469880" y="562698"/>
                    </a:lnTo>
                    <a:lnTo>
                      <a:pt x="592541" y="571926"/>
                    </a:lnTo>
                    <a:lnTo>
                      <a:pt x="595114" y="537795"/>
                    </a:lnTo>
                    <a:lnTo>
                      <a:pt x="530682" y="532969"/>
                    </a:lnTo>
                    <a:cubicBezTo>
                      <a:pt x="530999" y="532687"/>
                      <a:pt x="531316" y="532441"/>
                      <a:pt x="531633" y="532159"/>
                    </a:cubicBezTo>
                    <a:cubicBezTo>
                      <a:pt x="622677" y="449665"/>
                      <a:pt x="650029" y="316942"/>
                      <a:pt x="599731" y="201937"/>
                    </a:cubicBezTo>
                    <a:lnTo>
                      <a:pt x="592893" y="186298"/>
                    </a:lnTo>
                    <a:lnTo>
                      <a:pt x="561594" y="200000"/>
                    </a:lnTo>
                    <a:lnTo>
                      <a:pt x="568431" y="215639"/>
                    </a:lnTo>
                    <a:cubicBezTo>
                      <a:pt x="612878" y="317189"/>
                      <a:pt x="588840" y="434237"/>
                      <a:pt x="508687" y="506868"/>
                    </a:cubicBezTo>
                  </a:path>
                </a:pathLst>
              </a:custGeom>
              <a:solidFill>
                <a:srgbClr val="FFFFFF"/>
              </a:solidFill>
              <a:ln w="3521" cap="flat">
                <a:noFill/>
                <a:prstDash val="solid"/>
                <a:miter/>
              </a:ln>
            </p:spPr>
            <p:txBody>
              <a:bodyPr rtlCol="0" anchor="ctr"/>
              <a:lstStyle/>
              <a:p>
                <a:endParaRPr lang="de-DE"/>
              </a:p>
            </p:txBody>
          </p:sp>
          <p:sp>
            <p:nvSpPr>
              <p:cNvPr id="51" name="Freihandform 50">
                <a:extLst>
                  <a:ext uri="{FF2B5EF4-FFF2-40B4-BE49-F238E27FC236}">
                    <a16:creationId xmlns:a16="http://schemas.microsoft.com/office/drawing/2014/main" id="{C677C8C6-7D4A-7013-7A96-075AB382DC87}"/>
                  </a:ext>
                </a:extLst>
              </p:cNvPr>
              <p:cNvSpPr/>
              <p:nvPr/>
            </p:nvSpPr>
            <p:spPr>
              <a:xfrm>
                <a:off x="6434690" y="4737437"/>
                <a:ext cx="438651" cy="492497"/>
              </a:xfrm>
              <a:custGeom>
                <a:avLst/>
                <a:gdLst>
                  <a:gd name="connsiteX0" fmla="*/ 0 w 438651"/>
                  <a:gd name="connsiteY0" fmla="*/ 116344 h 492497"/>
                  <a:gd name="connsiteX1" fmla="*/ 34719 w 438651"/>
                  <a:gd name="connsiteY1" fmla="*/ 170165 h 492497"/>
                  <a:gd name="connsiteX2" fmla="*/ 162913 w 438651"/>
                  <a:gd name="connsiteY2" fmla="*/ 87496 h 492497"/>
                  <a:gd name="connsiteX3" fmla="*/ 352049 w 438651"/>
                  <a:gd name="connsiteY3" fmla="*/ 361817 h 492497"/>
                  <a:gd name="connsiteX4" fmla="*/ 251277 w 438651"/>
                  <a:gd name="connsiteY4" fmla="*/ 442515 h 492497"/>
                  <a:gd name="connsiteX5" fmla="*/ 291353 w 438651"/>
                  <a:gd name="connsiteY5" fmla="*/ 492497 h 492497"/>
                  <a:gd name="connsiteX6" fmla="*/ 438651 w 438651"/>
                  <a:gd name="connsiteY6" fmla="*/ 374533 h 492497"/>
                  <a:gd name="connsiteX7" fmla="*/ 180395 w 438651"/>
                  <a:gd name="connsiteY7" fmla="*/ 0 h 492497"/>
                  <a:gd name="connsiteX8" fmla="*/ 0 w 438651"/>
                  <a:gd name="connsiteY8" fmla="*/ 116344 h 49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97">
                    <a:moveTo>
                      <a:pt x="0" y="116344"/>
                    </a:moveTo>
                    <a:lnTo>
                      <a:pt x="34719" y="170165"/>
                    </a:lnTo>
                    <a:lnTo>
                      <a:pt x="162913" y="87496"/>
                    </a:lnTo>
                    <a:lnTo>
                      <a:pt x="352049" y="361817"/>
                    </a:lnTo>
                    <a:lnTo>
                      <a:pt x="251277" y="442515"/>
                    </a:lnTo>
                    <a:lnTo>
                      <a:pt x="291353" y="492497"/>
                    </a:lnTo>
                    <a:lnTo>
                      <a:pt x="438651" y="374533"/>
                    </a:lnTo>
                    <a:lnTo>
                      <a:pt x="180395" y="0"/>
                    </a:lnTo>
                    <a:lnTo>
                      <a:pt x="0" y="116344"/>
                    </a:lnTo>
                    <a:close/>
                  </a:path>
                </a:pathLst>
              </a:custGeom>
              <a:solidFill>
                <a:srgbClr val="FFFFFF"/>
              </a:solidFill>
              <a:ln w="3521" cap="flat">
                <a:noFill/>
                <a:prstDash val="solid"/>
                <a:miter/>
              </a:ln>
            </p:spPr>
            <p:txBody>
              <a:bodyPr rtlCol="0" anchor="ctr"/>
              <a:lstStyle/>
              <a:p>
                <a:endParaRPr lang="de-DE"/>
              </a:p>
            </p:txBody>
          </p:sp>
          <p:sp>
            <p:nvSpPr>
              <p:cNvPr id="52" name="Freihandform 51">
                <a:extLst>
                  <a:ext uri="{FF2B5EF4-FFF2-40B4-BE49-F238E27FC236}">
                    <a16:creationId xmlns:a16="http://schemas.microsoft.com/office/drawing/2014/main" id="{208DFD1F-9FDA-853C-D115-4B6AF84A41A2}"/>
                  </a:ext>
                </a:extLst>
              </p:cNvPr>
              <p:cNvSpPr/>
              <p:nvPr/>
            </p:nvSpPr>
            <p:spPr>
              <a:xfrm>
                <a:off x="6681984" y="4628378"/>
                <a:ext cx="563872" cy="266931"/>
              </a:xfrm>
              <a:custGeom>
                <a:avLst/>
                <a:gdLst>
                  <a:gd name="connsiteX0" fmla="*/ 61260 w 563872"/>
                  <a:gd name="connsiteY0" fmla="*/ 170384 h 266931"/>
                  <a:gd name="connsiteX1" fmla="*/ 176624 w 563872"/>
                  <a:gd name="connsiteY1" fmla="*/ 83381 h 266931"/>
                  <a:gd name="connsiteX2" fmla="*/ 323851 w 563872"/>
                  <a:gd name="connsiteY2" fmla="*/ 84332 h 266931"/>
                  <a:gd name="connsiteX3" fmla="*/ 407634 w 563872"/>
                  <a:gd name="connsiteY3" fmla="*/ 110468 h 266931"/>
                  <a:gd name="connsiteX4" fmla="*/ 498360 w 563872"/>
                  <a:gd name="connsiteY4" fmla="*/ 156083 h 266931"/>
                  <a:gd name="connsiteX5" fmla="*/ 493002 w 563872"/>
                  <a:gd name="connsiteY5" fmla="*/ 186305 h 266931"/>
                  <a:gd name="connsiteX6" fmla="*/ 429452 w 563872"/>
                  <a:gd name="connsiteY6" fmla="*/ 202402 h 266931"/>
                  <a:gd name="connsiteX7" fmla="*/ 269782 w 563872"/>
                  <a:gd name="connsiteY7" fmla="*/ 167319 h 266931"/>
                  <a:gd name="connsiteX8" fmla="*/ 238729 w 563872"/>
                  <a:gd name="connsiteY8" fmla="*/ 159394 h 266931"/>
                  <a:gd name="connsiteX9" fmla="*/ 222833 w 563872"/>
                  <a:gd name="connsiteY9" fmla="*/ 221458 h 266931"/>
                  <a:gd name="connsiteX10" fmla="*/ 253886 w 563872"/>
                  <a:gd name="connsiteY10" fmla="*/ 229383 h 266931"/>
                  <a:gd name="connsiteX11" fmla="*/ 424940 w 563872"/>
                  <a:gd name="connsiteY11" fmla="*/ 266333 h 266931"/>
                  <a:gd name="connsiteX12" fmla="*/ 441683 w 563872"/>
                  <a:gd name="connsiteY12" fmla="*/ 266932 h 266931"/>
                  <a:gd name="connsiteX13" fmla="*/ 542349 w 563872"/>
                  <a:gd name="connsiteY13" fmla="*/ 227164 h 266931"/>
                  <a:gd name="connsiteX14" fmla="*/ 560325 w 563872"/>
                  <a:gd name="connsiteY14" fmla="*/ 139739 h 266931"/>
                  <a:gd name="connsiteX15" fmla="*/ 425011 w 563872"/>
                  <a:gd name="connsiteY15" fmla="*/ 48862 h 266931"/>
                  <a:gd name="connsiteX16" fmla="*/ 345740 w 563872"/>
                  <a:gd name="connsiteY16" fmla="*/ 24170 h 266931"/>
                  <a:gd name="connsiteX17" fmla="*/ 141341 w 563872"/>
                  <a:gd name="connsiteY17" fmla="*/ 29912 h 266931"/>
                  <a:gd name="connsiteX18" fmla="*/ 20866 w 563872"/>
                  <a:gd name="connsiteY18" fmla="*/ 120648 h 266931"/>
                  <a:gd name="connsiteX19" fmla="*/ 0 w 563872"/>
                  <a:gd name="connsiteY19" fmla="*/ 137520 h 266931"/>
                  <a:gd name="connsiteX20" fmla="*/ 36305 w 563872"/>
                  <a:gd name="connsiteY20" fmla="*/ 190567 h 266931"/>
                  <a:gd name="connsiteX21" fmla="*/ 61189 w 563872"/>
                  <a:gd name="connsiteY21" fmla="*/ 170419 h 266931"/>
                  <a:gd name="connsiteX22" fmla="*/ 61260 w 563872"/>
                  <a:gd name="connsiteY22" fmla="*/ 170384 h 26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93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5" y="198845"/>
                      <a:pt x="460117" y="204516"/>
                      <a:pt x="429452" y="202402"/>
                    </a:cubicBezTo>
                    <a:cubicBezTo>
                      <a:pt x="406753" y="200782"/>
                      <a:pt x="319445" y="180035"/>
                      <a:pt x="269782" y="167319"/>
                    </a:cubicBezTo>
                    <a:lnTo>
                      <a:pt x="238729" y="159394"/>
                    </a:lnTo>
                    <a:lnTo>
                      <a:pt x="222833" y="221458"/>
                    </a:lnTo>
                    <a:lnTo>
                      <a:pt x="253886" y="229383"/>
                    </a:lnTo>
                    <a:cubicBezTo>
                      <a:pt x="267632" y="232906"/>
                      <a:pt x="389059" y="263797"/>
                      <a:pt x="424940" y="266333"/>
                    </a:cubicBezTo>
                    <a:cubicBezTo>
                      <a:pt x="430756" y="266756"/>
                      <a:pt x="436325" y="266932"/>
                      <a:pt x="441683" y="266932"/>
                    </a:cubicBezTo>
                    <a:cubicBezTo>
                      <a:pt x="497162" y="266932"/>
                      <a:pt x="526910" y="245833"/>
                      <a:pt x="542349" y="227164"/>
                    </a:cubicBezTo>
                    <a:cubicBezTo>
                      <a:pt x="562122" y="203283"/>
                      <a:pt x="568678" y="171405"/>
                      <a:pt x="560325" y="139739"/>
                    </a:cubicBezTo>
                    <a:cubicBezTo>
                      <a:pt x="545274" y="82747"/>
                      <a:pt x="489548" y="67038"/>
                      <a:pt x="425011" y="48862"/>
                    </a:cubicBezTo>
                    <a:cubicBezTo>
                      <a:pt x="401184" y="42134"/>
                      <a:pt x="374184" y="34526"/>
                      <a:pt x="345740" y="24170"/>
                    </a:cubicBezTo>
                    <a:cubicBezTo>
                      <a:pt x="252687" y="-9679"/>
                      <a:pt x="199182" y="-8165"/>
                      <a:pt x="141341" y="29912"/>
                    </a:cubicBezTo>
                    <a:cubicBezTo>
                      <a:pt x="96754" y="59253"/>
                      <a:pt x="23968" y="118147"/>
                      <a:pt x="20866" y="120648"/>
                    </a:cubicBezTo>
                    <a:lnTo>
                      <a:pt x="0" y="137520"/>
                    </a:lnTo>
                    <a:lnTo>
                      <a:pt x="36305" y="190567"/>
                    </a:lnTo>
                    <a:lnTo>
                      <a:pt x="61189" y="170419"/>
                    </a:lnTo>
                    <a:lnTo>
                      <a:pt x="61260" y="170384"/>
                    </a:lnTo>
                    <a:close/>
                  </a:path>
                </a:pathLst>
              </a:custGeom>
              <a:solidFill>
                <a:srgbClr val="FFFFFF"/>
              </a:solidFill>
              <a:ln w="3521" cap="flat">
                <a:noFill/>
                <a:prstDash val="solid"/>
                <a:miter/>
              </a:ln>
            </p:spPr>
            <p:txBody>
              <a:bodyPr rtlCol="0" anchor="ctr"/>
              <a:lstStyle/>
              <a:p>
                <a:endParaRPr lang="de-DE"/>
              </a:p>
            </p:txBody>
          </p:sp>
          <p:sp>
            <p:nvSpPr>
              <p:cNvPr id="53" name="Freihandform 52">
                <a:extLst>
                  <a:ext uri="{FF2B5EF4-FFF2-40B4-BE49-F238E27FC236}">
                    <a16:creationId xmlns:a16="http://schemas.microsoft.com/office/drawing/2014/main" id="{2140172C-0E53-DA9A-07C0-341D6FE8E895}"/>
                  </a:ext>
                </a:extLst>
              </p:cNvPr>
              <p:cNvSpPr/>
              <p:nvPr/>
            </p:nvSpPr>
            <p:spPr>
              <a:xfrm>
                <a:off x="6845919" y="4586596"/>
                <a:ext cx="799690" cy="477328"/>
              </a:xfrm>
              <a:custGeom>
                <a:avLst/>
                <a:gdLst>
                  <a:gd name="connsiteX0" fmla="*/ 786717 w 799690"/>
                  <a:gd name="connsiteY0" fmla="*/ 43338 h 477328"/>
                  <a:gd name="connsiteX1" fmla="*/ 581931 w 799690"/>
                  <a:gd name="connsiteY1" fmla="*/ 51017 h 477328"/>
                  <a:gd name="connsiteX2" fmla="*/ 550491 w 799690"/>
                  <a:gd name="connsiteY2" fmla="*/ 67572 h 477328"/>
                  <a:gd name="connsiteX3" fmla="*/ 550773 w 799690"/>
                  <a:gd name="connsiteY3" fmla="*/ 68136 h 477328"/>
                  <a:gd name="connsiteX4" fmla="*/ 444256 w 799690"/>
                  <a:gd name="connsiteY4" fmla="*/ 126677 h 477328"/>
                  <a:gd name="connsiteX5" fmla="*/ 422825 w 799690"/>
                  <a:gd name="connsiteY5" fmla="*/ 138689 h 477328"/>
                  <a:gd name="connsiteX6" fmla="*/ 446370 w 799690"/>
                  <a:gd name="connsiteY6" fmla="*/ 199062 h 477328"/>
                  <a:gd name="connsiteX7" fmla="*/ 475590 w 799690"/>
                  <a:gd name="connsiteY7" fmla="*/ 182577 h 477328"/>
                  <a:gd name="connsiteX8" fmla="*/ 578688 w 799690"/>
                  <a:gd name="connsiteY8" fmla="*/ 125128 h 477328"/>
                  <a:gd name="connsiteX9" fmla="*/ 580098 w 799690"/>
                  <a:gd name="connsiteY9" fmla="*/ 124388 h 477328"/>
                  <a:gd name="connsiteX10" fmla="*/ 611962 w 799690"/>
                  <a:gd name="connsiteY10" fmla="*/ 107586 h 477328"/>
                  <a:gd name="connsiteX11" fmla="*/ 731908 w 799690"/>
                  <a:gd name="connsiteY11" fmla="*/ 76590 h 477328"/>
                  <a:gd name="connsiteX12" fmla="*/ 703358 w 799690"/>
                  <a:gd name="connsiteY12" fmla="*/ 148094 h 477328"/>
                  <a:gd name="connsiteX13" fmla="*/ 397412 w 799690"/>
                  <a:gd name="connsiteY13" fmla="*/ 359858 h 477328"/>
                  <a:gd name="connsiteX14" fmla="*/ 278770 w 799690"/>
                  <a:gd name="connsiteY14" fmla="*/ 412729 h 477328"/>
                  <a:gd name="connsiteX15" fmla="*/ 110711 w 799690"/>
                  <a:gd name="connsiteY15" fmla="*/ 375110 h 477328"/>
                  <a:gd name="connsiteX16" fmla="*/ 99750 w 799690"/>
                  <a:gd name="connsiteY16" fmla="*/ 372257 h 477328"/>
                  <a:gd name="connsiteX17" fmla="*/ 0 w 799690"/>
                  <a:gd name="connsiteY17" fmla="*/ 416639 h 477328"/>
                  <a:gd name="connsiteX18" fmla="*/ 36869 w 799690"/>
                  <a:gd name="connsiteY18" fmla="*/ 470813 h 477328"/>
                  <a:gd name="connsiteX19" fmla="*/ 105495 w 799690"/>
                  <a:gd name="connsiteY19" fmla="*/ 439921 h 477328"/>
                  <a:gd name="connsiteX20" fmla="*/ 271756 w 799690"/>
                  <a:gd name="connsiteY20" fmla="*/ 476413 h 477328"/>
                  <a:gd name="connsiteX21" fmla="*/ 288111 w 799690"/>
                  <a:gd name="connsiteY21" fmla="*/ 477329 h 477328"/>
                  <a:gd name="connsiteX22" fmla="*/ 435268 w 799690"/>
                  <a:gd name="connsiteY22" fmla="*/ 411531 h 477328"/>
                  <a:gd name="connsiteX23" fmla="*/ 737336 w 799690"/>
                  <a:gd name="connsiteY23" fmla="*/ 202373 h 477328"/>
                  <a:gd name="connsiteX24" fmla="*/ 786612 w 799690"/>
                  <a:gd name="connsiteY24" fmla="*/ 43374 h 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328">
                    <a:moveTo>
                      <a:pt x="786717" y="43338"/>
                    </a:moveTo>
                    <a:cubicBezTo>
                      <a:pt x="740297" y="-33097"/>
                      <a:pt x="666912" y="5896"/>
                      <a:pt x="581931" y="51017"/>
                    </a:cubicBezTo>
                    <a:cubicBezTo>
                      <a:pt x="571991" y="56301"/>
                      <a:pt x="561523" y="61866"/>
                      <a:pt x="550491" y="67572"/>
                    </a:cubicBezTo>
                    <a:lnTo>
                      <a:pt x="550773" y="68136"/>
                    </a:lnTo>
                    <a:cubicBezTo>
                      <a:pt x="537943" y="74265"/>
                      <a:pt x="510908" y="89411"/>
                      <a:pt x="444256" y="126677"/>
                    </a:cubicBezTo>
                    <a:lnTo>
                      <a:pt x="422825" y="138689"/>
                    </a:lnTo>
                    <a:lnTo>
                      <a:pt x="446370" y="199062"/>
                    </a:lnTo>
                    <a:lnTo>
                      <a:pt x="475590" y="182577"/>
                    </a:lnTo>
                    <a:cubicBezTo>
                      <a:pt x="511472" y="162500"/>
                      <a:pt x="569172" y="130270"/>
                      <a:pt x="578688" y="125128"/>
                    </a:cubicBezTo>
                    <a:lnTo>
                      <a:pt x="580098" y="124388"/>
                    </a:lnTo>
                    <a:cubicBezTo>
                      <a:pt x="591272" y="118576"/>
                      <a:pt x="601881" y="112940"/>
                      <a:pt x="611962" y="107586"/>
                    </a:cubicBezTo>
                    <a:cubicBezTo>
                      <a:pt x="707200" y="57005"/>
                      <a:pt x="719748" y="56547"/>
                      <a:pt x="731908" y="76590"/>
                    </a:cubicBezTo>
                    <a:cubicBezTo>
                      <a:pt x="736878" y="84797"/>
                      <a:pt x="742447" y="123578"/>
                      <a:pt x="703358" y="148094"/>
                    </a:cubicBezTo>
                    <a:cubicBezTo>
                      <a:pt x="680341" y="162535"/>
                      <a:pt x="434457" y="332736"/>
                      <a:pt x="397412" y="359858"/>
                    </a:cubicBezTo>
                    <a:cubicBezTo>
                      <a:pt x="338197" y="403254"/>
                      <a:pt x="309329" y="416075"/>
                      <a:pt x="278770" y="412729"/>
                    </a:cubicBezTo>
                    <a:cubicBezTo>
                      <a:pt x="244827" y="408995"/>
                      <a:pt x="145923" y="384303"/>
                      <a:pt x="110711" y="375110"/>
                    </a:cubicBezTo>
                    <a:lnTo>
                      <a:pt x="99750" y="372257"/>
                    </a:lnTo>
                    <a:lnTo>
                      <a:pt x="0" y="416639"/>
                    </a:lnTo>
                    <a:lnTo>
                      <a:pt x="36869" y="470813"/>
                    </a:lnTo>
                    <a:lnTo>
                      <a:pt x="105495" y="439921"/>
                    </a:lnTo>
                    <a:cubicBezTo>
                      <a:pt x="138134" y="448269"/>
                      <a:pt x="233477" y="472186"/>
                      <a:pt x="271756" y="476413"/>
                    </a:cubicBezTo>
                    <a:cubicBezTo>
                      <a:pt x="277290" y="477012"/>
                      <a:pt x="282718" y="477329"/>
                      <a:pt x="288111" y="477329"/>
                    </a:cubicBezTo>
                    <a:cubicBezTo>
                      <a:pt x="335835" y="477329"/>
                      <a:pt x="377956" y="453553"/>
                      <a:pt x="435268" y="411531"/>
                    </a:cubicBezTo>
                    <a:cubicBezTo>
                      <a:pt x="474780" y="382577"/>
                      <a:pt x="718796" y="213997"/>
                      <a:pt x="737336" y="202373"/>
                    </a:cubicBezTo>
                    <a:cubicBezTo>
                      <a:pt x="806280" y="159189"/>
                      <a:pt x="810263" y="82261"/>
                      <a:pt x="786612" y="43374"/>
                    </a:cubicBezTo>
                  </a:path>
                </a:pathLst>
              </a:custGeom>
              <a:solidFill>
                <a:srgbClr val="FFFFFF"/>
              </a:solidFill>
              <a:ln w="3521" cap="flat">
                <a:noFill/>
                <a:prstDash val="solid"/>
                <a:miter/>
              </a:ln>
            </p:spPr>
            <p:txBody>
              <a:bodyPr rtlCol="0" anchor="ctr"/>
              <a:lstStyle/>
              <a:p>
                <a:endParaRPr lang="de-DE"/>
              </a:p>
            </p:txBody>
          </p:sp>
        </p:grpSp>
      </p:grpSp>
      <p:pic>
        <p:nvPicPr>
          <p:cNvPr id="64" name="Grafik 63">
            <a:extLst>
              <a:ext uri="{FF2B5EF4-FFF2-40B4-BE49-F238E27FC236}">
                <a16:creationId xmlns:a16="http://schemas.microsoft.com/office/drawing/2014/main" id="{1AC0518B-E84B-916C-22F1-21B2F90CECB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922" r="14922"/>
          <a:stretch/>
        </p:blipFill>
        <p:spPr>
          <a:xfrm>
            <a:off x="518902" y="1974738"/>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5" name="Grafik 64">
            <a:extLst>
              <a:ext uri="{FF2B5EF4-FFF2-40B4-BE49-F238E27FC236}">
                <a16:creationId xmlns:a16="http://schemas.microsoft.com/office/drawing/2014/main" id="{07BC6866-2D3A-776D-4502-55C8316A5C8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3663" t="30789" r="16872" b="31609"/>
          <a:stretch/>
        </p:blipFill>
        <p:spPr>
          <a:xfrm>
            <a:off x="4847214" y="1974738"/>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6" name="Grafik 65">
            <a:extLst>
              <a:ext uri="{FF2B5EF4-FFF2-40B4-BE49-F238E27FC236}">
                <a16:creationId xmlns:a16="http://schemas.microsoft.com/office/drawing/2014/main" id="{732D4900-CCC0-452D-16A1-E556BDA7F936}"/>
              </a:ext>
            </a:extLst>
          </p:cNvPr>
          <p:cNvPicPr>
            <a:picLocks noChangeAspect="1"/>
          </p:cNvPicPr>
          <p:nvPr/>
        </p:nvPicPr>
        <p:blipFill>
          <a:blip r:embed="rId4" cstate="print">
            <a:extLst>
              <a:ext uri="{28A0092B-C50C-407E-A947-70E740481C1C}">
                <a14:useLocalDpi xmlns:a14="http://schemas.microsoft.com/office/drawing/2010/main"/>
              </a:ext>
            </a:extLst>
          </a:blip>
          <a:srcRect t="18383" r="28" b="18383"/>
          <a:stretch/>
        </p:blipFill>
        <p:spPr>
          <a:xfrm>
            <a:off x="2683058" y="1974738"/>
            <a:ext cx="1997679"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67" name="Grafik 66">
            <a:extLst>
              <a:ext uri="{FF2B5EF4-FFF2-40B4-BE49-F238E27FC236}">
                <a16:creationId xmlns:a16="http://schemas.microsoft.com/office/drawing/2014/main" id="{11DE635E-50CE-2519-F5EE-8D6B6ACE2BB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3167" t="29257" b="16089"/>
          <a:stretch/>
        </p:blipFill>
        <p:spPr>
          <a:xfrm>
            <a:off x="7011369" y="1974738"/>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spTree>
    <p:extLst>
      <p:ext uri="{BB962C8B-B14F-4D97-AF65-F5344CB8AC3E}">
        <p14:creationId xmlns:p14="http://schemas.microsoft.com/office/powerpoint/2010/main" val="19878340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CF9C249-1B36-C2BB-9C1E-0F2B14D10536}"/>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0FE4FD1-FA5D-0801-E7CD-7BF24738726E}"/>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9D6B1E14-9CE4-C3FB-3CCB-AC1E3DABB574}"/>
              </a:ext>
            </a:extLst>
          </p:cNvPr>
          <p:cNvSpPr>
            <a:spLocks noGrp="1"/>
          </p:cNvSpPr>
          <p:nvPr>
            <p:ph type="sldNum" sz="quarter" idx="12"/>
          </p:nvPr>
        </p:nvSpPr>
        <p:spPr/>
        <p:txBody>
          <a:bodyPr/>
          <a:lstStyle/>
          <a:p>
            <a:fld id="{E84006A6-0E15-460A-BCD4-002C20F8AC9F}" type="slidenum">
              <a:rPr lang="de-DE" smtClean="0"/>
              <a:pPr/>
              <a:t>102</a:t>
            </a:fld>
            <a:endParaRPr lang="de-DE"/>
          </a:p>
        </p:txBody>
      </p:sp>
      <p:sp>
        <p:nvSpPr>
          <p:cNvPr id="5" name="Titel 4">
            <a:extLst>
              <a:ext uri="{FF2B5EF4-FFF2-40B4-BE49-F238E27FC236}">
                <a16:creationId xmlns:a16="http://schemas.microsoft.com/office/drawing/2014/main" id="{418628EC-BA10-AE79-44C6-367F438D4DA4}"/>
              </a:ext>
            </a:extLst>
          </p:cNvPr>
          <p:cNvSpPr>
            <a:spLocks noGrp="1"/>
          </p:cNvSpPr>
          <p:nvPr>
            <p:ph type="title"/>
          </p:nvPr>
        </p:nvSpPr>
        <p:spPr/>
        <p:txBody>
          <a:bodyPr/>
          <a:lstStyle/>
          <a:p>
            <a:r>
              <a:rPr lang="de-DE" dirty="0"/>
              <a:t>Layoutvorlage </a:t>
            </a:r>
            <a:r>
              <a:rPr lang="de-DE" dirty="0" err="1"/>
              <a:t>protecting</a:t>
            </a:r>
            <a:r>
              <a:rPr lang="de-DE" dirty="0"/>
              <a:t> planet</a:t>
            </a:r>
          </a:p>
        </p:txBody>
      </p:sp>
      <p:grpSp>
        <p:nvGrpSpPr>
          <p:cNvPr id="9" name="Gruppieren 8">
            <a:extLst>
              <a:ext uri="{FF2B5EF4-FFF2-40B4-BE49-F238E27FC236}">
                <a16:creationId xmlns:a16="http://schemas.microsoft.com/office/drawing/2014/main" id="{3559EF72-C91A-A38A-C7FC-226855F7CC05}"/>
              </a:ext>
            </a:extLst>
          </p:cNvPr>
          <p:cNvGrpSpPr/>
          <p:nvPr/>
        </p:nvGrpSpPr>
        <p:grpSpPr>
          <a:xfrm>
            <a:off x="515938" y="2114989"/>
            <a:ext cx="2350830" cy="3759083"/>
            <a:chOff x="515938" y="2077222"/>
            <a:chExt cx="2350830" cy="3759083"/>
          </a:xfrm>
        </p:grpSpPr>
        <p:sp>
          <p:nvSpPr>
            <p:cNvPr id="6" name="Freihandform 5">
              <a:extLst>
                <a:ext uri="{FF2B5EF4-FFF2-40B4-BE49-F238E27FC236}">
                  <a16:creationId xmlns:a16="http://schemas.microsoft.com/office/drawing/2014/main" id="{5788F159-9DF4-055E-3E75-62CC43D57CD7}"/>
                </a:ext>
              </a:extLst>
            </p:cNvPr>
            <p:cNvSpPr/>
            <p:nvPr/>
          </p:nvSpPr>
          <p:spPr>
            <a:xfrm>
              <a:off x="515938" y="2077222"/>
              <a:ext cx="936922" cy="883465"/>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5"/>
                    <a:pt x="50466" y="1038999"/>
                    <a:pt x="112724" y="1069794"/>
                  </a:cubicBezTo>
                  <a:lnTo>
                    <a:pt x="592648" y="1307177"/>
                  </a:lnTo>
                  <a:cubicBezTo>
                    <a:pt x="654906" y="1337972"/>
                    <a:pt x="755850" y="1337972"/>
                    <a:pt x="818108" y="1307177"/>
                  </a:cubicBezTo>
                  <a:lnTo>
                    <a:pt x="1298032" y="1069794"/>
                  </a:lnTo>
                  <a:cubicBezTo>
                    <a:pt x="1360290" y="1038999"/>
                    <a:pt x="1410766" y="957935"/>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chemeClr val="tx2"/>
            </a:solidFill>
            <a:ln w="16623" cap="flat">
              <a:noFill/>
              <a:prstDash val="solid"/>
              <a:miter/>
            </a:ln>
          </p:spPr>
          <p:txBody>
            <a:bodyPr rtlCol="0" anchor="ctr"/>
            <a:lstStyle/>
            <a:p>
              <a:pPr algn="ctr"/>
              <a:r>
                <a:rPr lang="de-DE" sz="1600" b="1" dirty="0">
                  <a:solidFill>
                    <a:schemeClr val="bg1"/>
                  </a:solidFill>
                </a:rPr>
                <a:t>A</a:t>
              </a:r>
            </a:p>
          </p:txBody>
        </p:sp>
        <p:sp>
          <p:nvSpPr>
            <p:cNvPr id="7" name="Textplatzhalter 4">
              <a:extLst>
                <a:ext uri="{FF2B5EF4-FFF2-40B4-BE49-F238E27FC236}">
                  <a16:creationId xmlns:a16="http://schemas.microsoft.com/office/drawing/2014/main" id="{F82884EF-F457-15B6-A6C9-47E150E5D82D}"/>
                </a:ext>
              </a:extLst>
            </p:cNvPr>
            <p:cNvSpPr txBox="1">
              <a:spLocks/>
            </p:cNvSpPr>
            <p:nvPr/>
          </p:nvSpPr>
          <p:spPr bwMode="black">
            <a:xfrm>
              <a:off x="520640" y="3897313"/>
              <a:ext cx="2346128" cy="193899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Nunc viverra imperdiet enim.</a:t>
              </a:r>
            </a:p>
          </p:txBody>
        </p:sp>
        <p:sp>
          <p:nvSpPr>
            <p:cNvPr id="8" name="Textplatzhalter 4">
              <a:extLst>
                <a:ext uri="{FF2B5EF4-FFF2-40B4-BE49-F238E27FC236}">
                  <a16:creationId xmlns:a16="http://schemas.microsoft.com/office/drawing/2014/main" id="{2B1F86B9-9400-5F79-E3D7-5CC186A4EBE0}"/>
                </a:ext>
              </a:extLst>
            </p:cNvPr>
            <p:cNvSpPr txBox="1">
              <a:spLocks/>
            </p:cNvSpPr>
            <p:nvPr/>
          </p:nvSpPr>
          <p:spPr bwMode="black">
            <a:xfrm>
              <a:off x="520640" y="3255866"/>
              <a:ext cx="234612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 </a:t>
              </a:r>
              <a:r>
                <a:rPr lang="de-DE" altLang="de-DE" sz="1600" dirty="0" err="1">
                  <a:solidFill>
                    <a:srgbClr val="50936E"/>
                  </a:solidFill>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endParaRPr>
            </a:p>
          </p:txBody>
        </p:sp>
      </p:grpSp>
      <p:grpSp>
        <p:nvGrpSpPr>
          <p:cNvPr id="10" name="Gruppieren 9">
            <a:extLst>
              <a:ext uri="{FF2B5EF4-FFF2-40B4-BE49-F238E27FC236}">
                <a16:creationId xmlns:a16="http://schemas.microsoft.com/office/drawing/2014/main" id="{F4102413-BB63-AAD3-6880-6A95ED7F3A90}"/>
              </a:ext>
            </a:extLst>
          </p:cNvPr>
          <p:cNvGrpSpPr/>
          <p:nvPr/>
        </p:nvGrpSpPr>
        <p:grpSpPr>
          <a:xfrm>
            <a:off x="3450802" y="2114989"/>
            <a:ext cx="2350830" cy="3759083"/>
            <a:chOff x="515938" y="2077222"/>
            <a:chExt cx="2350830" cy="3759083"/>
          </a:xfrm>
        </p:grpSpPr>
        <p:sp>
          <p:nvSpPr>
            <p:cNvPr id="11" name="Freihandform 10">
              <a:extLst>
                <a:ext uri="{FF2B5EF4-FFF2-40B4-BE49-F238E27FC236}">
                  <a16:creationId xmlns:a16="http://schemas.microsoft.com/office/drawing/2014/main" id="{B00FEC41-9F2D-1867-836B-68B743D9D1EC}"/>
                </a:ext>
              </a:extLst>
            </p:cNvPr>
            <p:cNvSpPr/>
            <p:nvPr/>
          </p:nvSpPr>
          <p:spPr>
            <a:xfrm>
              <a:off x="515938" y="2077222"/>
              <a:ext cx="936922" cy="883465"/>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5"/>
                    <a:pt x="50466" y="1038999"/>
                    <a:pt x="112724" y="1069794"/>
                  </a:cubicBezTo>
                  <a:lnTo>
                    <a:pt x="592648" y="1307177"/>
                  </a:lnTo>
                  <a:cubicBezTo>
                    <a:pt x="654906" y="1337972"/>
                    <a:pt x="755850" y="1337972"/>
                    <a:pt x="818108" y="1307177"/>
                  </a:cubicBezTo>
                  <a:lnTo>
                    <a:pt x="1298032" y="1069794"/>
                  </a:lnTo>
                  <a:cubicBezTo>
                    <a:pt x="1360290" y="1038999"/>
                    <a:pt x="1410766" y="957935"/>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chemeClr val="tx2"/>
            </a:solidFill>
            <a:ln w="16623" cap="flat">
              <a:noFill/>
              <a:prstDash val="solid"/>
              <a:miter/>
            </a:ln>
          </p:spPr>
          <p:txBody>
            <a:bodyPr rtlCol="0" anchor="ctr"/>
            <a:lstStyle/>
            <a:p>
              <a:pPr algn="ctr"/>
              <a:r>
                <a:rPr lang="de-DE" sz="1600" b="1" dirty="0">
                  <a:solidFill>
                    <a:schemeClr val="bg1"/>
                  </a:solidFill>
                </a:rPr>
                <a:t>B</a:t>
              </a:r>
            </a:p>
          </p:txBody>
        </p:sp>
        <p:sp>
          <p:nvSpPr>
            <p:cNvPr id="12" name="Textplatzhalter 4">
              <a:extLst>
                <a:ext uri="{FF2B5EF4-FFF2-40B4-BE49-F238E27FC236}">
                  <a16:creationId xmlns:a16="http://schemas.microsoft.com/office/drawing/2014/main" id="{E6A65812-F850-8702-29C3-F16C977FC9A9}"/>
                </a:ext>
              </a:extLst>
            </p:cNvPr>
            <p:cNvSpPr txBox="1">
              <a:spLocks/>
            </p:cNvSpPr>
            <p:nvPr/>
          </p:nvSpPr>
          <p:spPr bwMode="black">
            <a:xfrm>
              <a:off x="520640" y="3897313"/>
              <a:ext cx="2346128" cy="193899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Nunc viverra imperdiet enim.</a:t>
              </a:r>
            </a:p>
          </p:txBody>
        </p:sp>
        <p:sp>
          <p:nvSpPr>
            <p:cNvPr id="13" name="Textplatzhalter 4">
              <a:extLst>
                <a:ext uri="{FF2B5EF4-FFF2-40B4-BE49-F238E27FC236}">
                  <a16:creationId xmlns:a16="http://schemas.microsoft.com/office/drawing/2014/main" id="{B92291A9-DB16-A4CC-EE0E-4D0F9A7395A6}"/>
                </a:ext>
              </a:extLst>
            </p:cNvPr>
            <p:cNvSpPr txBox="1">
              <a:spLocks/>
            </p:cNvSpPr>
            <p:nvPr/>
          </p:nvSpPr>
          <p:spPr bwMode="black">
            <a:xfrm>
              <a:off x="520640" y="3255866"/>
              <a:ext cx="234612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 </a:t>
              </a:r>
              <a:r>
                <a:rPr lang="de-DE" altLang="de-DE" sz="1600" dirty="0" err="1">
                  <a:solidFill>
                    <a:srgbClr val="50936E"/>
                  </a:solidFill>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endParaRPr>
            </a:p>
          </p:txBody>
        </p:sp>
      </p:grpSp>
      <p:grpSp>
        <p:nvGrpSpPr>
          <p:cNvPr id="14" name="Gruppieren 13">
            <a:extLst>
              <a:ext uri="{FF2B5EF4-FFF2-40B4-BE49-F238E27FC236}">
                <a16:creationId xmlns:a16="http://schemas.microsoft.com/office/drawing/2014/main" id="{F6A4A820-4231-5125-306B-6DD352E03D71}"/>
              </a:ext>
            </a:extLst>
          </p:cNvPr>
          <p:cNvGrpSpPr/>
          <p:nvPr/>
        </p:nvGrpSpPr>
        <p:grpSpPr>
          <a:xfrm>
            <a:off x="6385666" y="2114989"/>
            <a:ext cx="2350830" cy="3759083"/>
            <a:chOff x="515938" y="2077222"/>
            <a:chExt cx="2350830" cy="3759083"/>
          </a:xfrm>
        </p:grpSpPr>
        <p:sp>
          <p:nvSpPr>
            <p:cNvPr id="15" name="Freihandform 14">
              <a:extLst>
                <a:ext uri="{FF2B5EF4-FFF2-40B4-BE49-F238E27FC236}">
                  <a16:creationId xmlns:a16="http://schemas.microsoft.com/office/drawing/2014/main" id="{5DA02E1B-0412-597C-678D-7D6F4859C5B7}"/>
                </a:ext>
              </a:extLst>
            </p:cNvPr>
            <p:cNvSpPr/>
            <p:nvPr/>
          </p:nvSpPr>
          <p:spPr>
            <a:xfrm>
              <a:off x="515938" y="2077222"/>
              <a:ext cx="936922" cy="883465"/>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5"/>
                    <a:pt x="50466" y="1038999"/>
                    <a:pt x="112724" y="1069794"/>
                  </a:cubicBezTo>
                  <a:lnTo>
                    <a:pt x="592648" y="1307177"/>
                  </a:lnTo>
                  <a:cubicBezTo>
                    <a:pt x="654906" y="1337972"/>
                    <a:pt x="755850" y="1337972"/>
                    <a:pt x="818108" y="1307177"/>
                  </a:cubicBezTo>
                  <a:lnTo>
                    <a:pt x="1298032" y="1069794"/>
                  </a:lnTo>
                  <a:cubicBezTo>
                    <a:pt x="1360290" y="1038999"/>
                    <a:pt x="1410766" y="957935"/>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chemeClr val="tx2"/>
            </a:solidFill>
            <a:ln w="16623" cap="flat">
              <a:noFill/>
              <a:prstDash val="solid"/>
              <a:miter/>
            </a:ln>
          </p:spPr>
          <p:txBody>
            <a:bodyPr rtlCol="0" anchor="ctr"/>
            <a:lstStyle/>
            <a:p>
              <a:pPr algn="ctr"/>
              <a:r>
                <a:rPr lang="de-DE" sz="1600" b="1" dirty="0">
                  <a:solidFill>
                    <a:schemeClr val="bg1"/>
                  </a:solidFill>
                </a:rPr>
                <a:t>C</a:t>
              </a:r>
            </a:p>
          </p:txBody>
        </p:sp>
        <p:sp>
          <p:nvSpPr>
            <p:cNvPr id="16" name="Textplatzhalter 4">
              <a:extLst>
                <a:ext uri="{FF2B5EF4-FFF2-40B4-BE49-F238E27FC236}">
                  <a16:creationId xmlns:a16="http://schemas.microsoft.com/office/drawing/2014/main" id="{4633FCCC-76BF-1365-47F1-49AC3D4F4626}"/>
                </a:ext>
              </a:extLst>
            </p:cNvPr>
            <p:cNvSpPr txBox="1">
              <a:spLocks/>
            </p:cNvSpPr>
            <p:nvPr/>
          </p:nvSpPr>
          <p:spPr bwMode="black">
            <a:xfrm>
              <a:off x="520640" y="3897313"/>
              <a:ext cx="2346128" cy="193899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Nunc viverra imperdiet enim.</a:t>
              </a:r>
            </a:p>
          </p:txBody>
        </p:sp>
        <p:sp>
          <p:nvSpPr>
            <p:cNvPr id="17" name="Textplatzhalter 4">
              <a:extLst>
                <a:ext uri="{FF2B5EF4-FFF2-40B4-BE49-F238E27FC236}">
                  <a16:creationId xmlns:a16="http://schemas.microsoft.com/office/drawing/2014/main" id="{207BFC33-0E36-5983-51D2-49989E3B88CA}"/>
                </a:ext>
              </a:extLst>
            </p:cNvPr>
            <p:cNvSpPr txBox="1">
              <a:spLocks/>
            </p:cNvSpPr>
            <p:nvPr/>
          </p:nvSpPr>
          <p:spPr bwMode="black">
            <a:xfrm>
              <a:off x="520640" y="3255866"/>
              <a:ext cx="234612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 </a:t>
              </a:r>
              <a:r>
                <a:rPr lang="de-DE" altLang="de-DE" sz="1600" dirty="0" err="1">
                  <a:solidFill>
                    <a:srgbClr val="50936E"/>
                  </a:solidFill>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endParaRPr>
            </a:p>
          </p:txBody>
        </p:sp>
      </p:grpSp>
      <p:grpSp>
        <p:nvGrpSpPr>
          <p:cNvPr id="18" name="Gruppieren 17">
            <a:extLst>
              <a:ext uri="{FF2B5EF4-FFF2-40B4-BE49-F238E27FC236}">
                <a16:creationId xmlns:a16="http://schemas.microsoft.com/office/drawing/2014/main" id="{FA8CD1DA-F2D0-D62D-02F3-6690F591BD58}"/>
              </a:ext>
            </a:extLst>
          </p:cNvPr>
          <p:cNvGrpSpPr/>
          <p:nvPr/>
        </p:nvGrpSpPr>
        <p:grpSpPr>
          <a:xfrm>
            <a:off x="9320530" y="2114989"/>
            <a:ext cx="2350830" cy="3759083"/>
            <a:chOff x="515938" y="2077222"/>
            <a:chExt cx="2350830" cy="3759083"/>
          </a:xfrm>
        </p:grpSpPr>
        <p:sp>
          <p:nvSpPr>
            <p:cNvPr id="19" name="Freihandform 18">
              <a:extLst>
                <a:ext uri="{FF2B5EF4-FFF2-40B4-BE49-F238E27FC236}">
                  <a16:creationId xmlns:a16="http://schemas.microsoft.com/office/drawing/2014/main" id="{BA04A1E6-7C96-9C9B-D0CD-3C409F20EE7C}"/>
                </a:ext>
              </a:extLst>
            </p:cNvPr>
            <p:cNvSpPr/>
            <p:nvPr/>
          </p:nvSpPr>
          <p:spPr>
            <a:xfrm>
              <a:off x="515938" y="2077222"/>
              <a:ext cx="936922" cy="883465"/>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5"/>
                    <a:pt x="50466" y="1038999"/>
                    <a:pt x="112724" y="1069794"/>
                  </a:cubicBezTo>
                  <a:lnTo>
                    <a:pt x="592648" y="1307177"/>
                  </a:lnTo>
                  <a:cubicBezTo>
                    <a:pt x="654906" y="1337972"/>
                    <a:pt x="755850" y="1337972"/>
                    <a:pt x="818108" y="1307177"/>
                  </a:cubicBezTo>
                  <a:lnTo>
                    <a:pt x="1298032" y="1069794"/>
                  </a:lnTo>
                  <a:cubicBezTo>
                    <a:pt x="1360290" y="1038999"/>
                    <a:pt x="1410766" y="957935"/>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chemeClr val="tx2"/>
            </a:solidFill>
            <a:ln w="16623" cap="flat">
              <a:noFill/>
              <a:prstDash val="solid"/>
              <a:miter/>
            </a:ln>
          </p:spPr>
          <p:txBody>
            <a:bodyPr rtlCol="0" anchor="ctr"/>
            <a:lstStyle/>
            <a:p>
              <a:pPr algn="ctr"/>
              <a:r>
                <a:rPr lang="de-DE" sz="1600" b="1" dirty="0">
                  <a:solidFill>
                    <a:schemeClr val="bg1"/>
                  </a:solidFill>
                </a:rPr>
                <a:t>D</a:t>
              </a:r>
            </a:p>
          </p:txBody>
        </p:sp>
        <p:sp>
          <p:nvSpPr>
            <p:cNvPr id="20" name="Textplatzhalter 4">
              <a:extLst>
                <a:ext uri="{FF2B5EF4-FFF2-40B4-BE49-F238E27FC236}">
                  <a16:creationId xmlns:a16="http://schemas.microsoft.com/office/drawing/2014/main" id="{0AE83A89-CD7E-A538-C25D-77AB066F528B}"/>
                </a:ext>
              </a:extLst>
            </p:cNvPr>
            <p:cNvSpPr txBox="1">
              <a:spLocks/>
            </p:cNvSpPr>
            <p:nvPr/>
          </p:nvSpPr>
          <p:spPr bwMode="black">
            <a:xfrm>
              <a:off x="520640" y="3897313"/>
              <a:ext cx="2346128" cy="193899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Nunc viverra imperdiet enim.</a:t>
              </a:r>
            </a:p>
          </p:txBody>
        </p:sp>
        <p:sp>
          <p:nvSpPr>
            <p:cNvPr id="21" name="Textplatzhalter 4">
              <a:extLst>
                <a:ext uri="{FF2B5EF4-FFF2-40B4-BE49-F238E27FC236}">
                  <a16:creationId xmlns:a16="http://schemas.microsoft.com/office/drawing/2014/main" id="{DC036860-4EBB-F26C-3B2E-2093B4C88ACE}"/>
                </a:ext>
              </a:extLst>
            </p:cNvPr>
            <p:cNvSpPr txBox="1">
              <a:spLocks/>
            </p:cNvSpPr>
            <p:nvPr/>
          </p:nvSpPr>
          <p:spPr bwMode="black">
            <a:xfrm>
              <a:off x="520640" y="3255866"/>
              <a:ext cx="234612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solidFill>
                    <a:srgbClr val="50936E"/>
                  </a:solidFill>
                  <a:latin typeface="NeueHaasGroteskText Pro" panose="020B0504020202020204" pitchFamily="34" charset="77"/>
                  <a:ea typeface="TeleNeo Thin" charset="0"/>
                  <a:cs typeface="Arial" panose="020B0604020202020204" pitchFamily="34" charset="0"/>
                </a:rPr>
                <a:t> </a:t>
              </a:r>
              <a:r>
                <a:rPr lang="de-DE" altLang="de-DE" sz="1600" dirty="0" err="1">
                  <a:solidFill>
                    <a:srgbClr val="50936E"/>
                  </a:solidFill>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endParaRPr>
            </a:p>
          </p:txBody>
        </p:sp>
      </p:grpSp>
    </p:spTree>
    <p:extLst>
      <p:ext uri="{BB962C8B-B14F-4D97-AF65-F5344CB8AC3E}">
        <p14:creationId xmlns:p14="http://schemas.microsoft.com/office/powerpoint/2010/main" val="95079354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CF9C249-1B36-C2BB-9C1E-0F2B14D10536}"/>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0FE4FD1-FA5D-0801-E7CD-7BF24738726E}"/>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9D6B1E14-9CE4-C3FB-3CCB-AC1E3DABB574}"/>
              </a:ext>
            </a:extLst>
          </p:cNvPr>
          <p:cNvSpPr>
            <a:spLocks noGrp="1"/>
          </p:cNvSpPr>
          <p:nvPr>
            <p:ph type="sldNum" sz="quarter" idx="12"/>
          </p:nvPr>
        </p:nvSpPr>
        <p:spPr/>
        <p:txBody>
          <a:bodyPr/>
          <a:lstStyle/>
          <a:p>
            <a:fld id="{E84006A6-0E15-460A-BCD4-002C20F8AC9F}" type="slidenum">
              <a:rPr lang="de-DE" smtClean="0"/>
              <a:pPr/>
              <a:t>103</a:t>
            </a:fld>
            <a:endParaRPr lang="de-DE"/>
          </a:p>
        </p:txBody>
      </p:sp>
      <p:sp>
        <p:nvSpPr>
          <p:cNvPr id="5" name="Titel 4">
            <a:extLst>
              <a:ext uri="{FF2B5EF4-FFF2-40B4-BE49-F238E27FC236}">
                <a16:creationId xmlns:a16="http://schemas.microsoft.com/office/drawing/2014/main" id="{418628EC-BA10-AE79-44C6-367F438D4DA4}"/>
              </a:ext>
            </a:extLst>
          </p:cNvPr>
          <p:cNvSpPr>
            <a:spLocks noGrp="1"/>
          </p:cNvSpPr>
          <p:nvPr>
            <p:ph type="title"/>
          </p:nvPr>
        </p:nvSpPr>
        <p:spPr/>
        <p:txBody>
          <a:bodyPr/>
          <a:lstStyle/>
          <a:p>
            <a:r>
              <a:rPr lang="de-DE" dirty="0"/>
              <a:t>Layoutvorlage </a:t>
            </a:r>
            <a:r>
              <a:rPr lang="de-DE" dirty="0" err="1"/>
              <a:t>protecting</a:t>
            </a:r>
            <a:r>
              <a:rPr lang="de-DE" dirty="0"/>
              <a:t> planet</a:t>
            </a:r>
          </a:p>
        </p:txBody>
      </p:sp>
      <p:sp>
        <p:nvSpPr>
          <p:cNvPr id="7" name="Textplatzhalter 4">
            <a:extLst>
              <a:ext uri="{FF2B5EF4-FFF2-40B4-BE49-F238E27FC236}">
                <a16:creationId xmlns:a16="http://schemas.microsoft.com/office/drawing/2014/main" id="{F82884EF-F457-15B6-A6C9-47E150E5D82D}"/>
              </a:ext>
            </a:extLst>
          </p:cNvPr>
          <p:cNvSpPr txBox="1">
            <a:spLocks/>
          </p:cNvSpPr>
          <p:nvPr/>
        </p:nvSpPr>
        <p:spPr bwMode="black">
          <a:xfrm>
            <a:off x="520640" y="2871751"/>
            <a:ext cx="5077210" cy="86177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 </a:t>
            </a:r>
          </a:p>
        </p:txBody>
      </p:sp>
      <p:sp>
        <p:nvSpPr>
          <p:cNvPr id="8" name="Textplatzhalter 4">
            <a:extLst>
              <a:ext uri="{FF2B5EF4-FFF2-40B4-BE49-F238E27FC236}">
                <a16:creationId xmlns:a16="http://schemas.microsoft.com/office/drawing/2014/main" id="{2B1F86B9-9400-5F79-E3D7-5CC186A4EBE0}"/>
              </a:ext>
            </a:extLst>
          </p:cNvPr>
          <p:cNvSpPr txBox="1">
            <a:spLocks/>
          </p:cNvSpPr>
          <p:nvPr/>
        </p:nvSpPr>
        <p:spPr bwMode="black">
          <a:xfrm>
            <a:off x="520640" y="2558661"/>
            <a:ext cx="5321360" cy="21544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Ökologische Transformation</a:t>
            </a:r>
          </a:p>
        </p:txBody>
      </p:sp>
      <p:sp>
        <p:nvSpPr>
          <p:cNvPr id="13" name="Textplatzhalter 4">
            <a:extLst>
              <a:ext uri="{FF2B5EF4-FFF2-40B4-BE49-F238E27FC236}">
                <a16:creationId xmlns:a16="http://schemas.microsoft.com/office/drawing/2014/main" id="{B92291A9-DB16-A4CC-EE0E-4D0F9A7395A6}"/>
              </a:ext>
            </a:extLst>
          </p:cNvPr>
          <p:cNvSpPr txBox="1">
            <a:spLocks/>
          </p:cNvSpPr>
          <p:nvPr/>
        </p:nvSpPr>
        <p:spPr bwMode="black">
          <a:xfrm>
            <a:off x="6096000" y="2558661"/>
            <a:ext cx="5321360" cy="21544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Innovationstreiber Kreislaufwirtschaft</a:t>
            </a:r>
          </a:p>
        </p:txBody>
      </p:sp>
      <p:sp>
        <p:nvSpPr>
          <p:cNvPr id="17" name="Textplatzhalter 4">
            <a:extLst>
              <a:ext uri="{FF2B5EF4-FFF2-40B4-BE49-F238E27FC236}">
                <a16:creationId xmlns:a16="http://schemas.microsoft.com/office/drawing/2014/main" id="{207BFC33-0E36-5983-51D2-49989E3B88CA}"/>
              </a:ext>
            </a:extLst>
          </p:cNvPr>
          <p:cNvSpPr txBox="1">
            <a:spLocks/>
          </p:cNvSpPr>
          <p:nvPr/>
        </p:nvSpPr>
        <p:spPr bwMode="black">
          <a:xfrm>
            <a:off x="515938" y="4953988"/>
            <a:ext cx="5321360" cy="21544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Gesellschaftliche Verantwortung</a:t>
            </a:r>
          </a:p>
        </p:txBody>
      </p:sp>
      <p:sp>
        <p:nvSpPr>
          <p:cNvPr id="21" name="Textplatzhalter 4">
            <a:extLst>
              <a:ext uri="{FF2B5EF4-FFF2-40B4-BE49-F238E27FC236}">
                <a16:creationId xmlns:a16="http://schemas.microsoft.com/office/drawing/2014/main" id="{DC036860-4EBB-F26C-3B2E-2093B4C88ACE}"/>
              </a:ext>
            </a:extLst>
          </p:cNvPr>
          <p:cNvSpPr txBox="1">
            <a:spLocks/>
          </p:cNvSpPr>
          <p:nvPr/>
        </p:nvSpPr>
        <p:spPr bwMode="black">
          <a:xfrm>
            <a:off x="6096000" y="4953988"/>
            <a:ext cx="5321360" cy="21544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Ökologische und gesundheitliche Unbedenklichkeit</a:t>
            </a:r>
          </a:p>
        </p:txBody>
      </p:sp>
      <p:pic>
        <p:nvPicPr>
          <p:cNvPr id="22" name="Grafik 21">
            <a:extLst>
              <a:ext uri="{FF2B5EF4-FFF2-40B4-BE49-F238E27FC236}">
                <a16:creationId xmlns:a16="http://schemas.microsoft.com/office/drawing/2014/main" id="{35D2BE4A-9CC8-6708-BE0D-8AE45306F5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16911" y="4174270"/>
            <a:ext cx="576262" cy="576262"/>
          </a:xfrm>
          <a:prstGeom prst="rect">
            <a:avLst/>
          </a:prstGeom>
        </p:spPr>
      </p:pic>
      <p:pic>
        <p:nvPicPr>
          <p:cNvPr id="23" name="Grafik 22">
            <a:extLst>
              <a:ext uri="{FF2B5EF4-FFF2-40B4-BE49-F238E27FC236}">
                <a16:creationId xmlns:a16="http://schemas.microsoft.com/office/drawing/2014/main" id="{F65DC6FE-D48B-A334-3CCA-A773F4EB25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096000" y="1881118"/>
            <a:ext cx="576262" cy="474087"/>
          </a:xfrm>
          <a:prstGeom prst="rect">
            <a:avLst/>
          </a:prstGeom>
        </p:spPr>
      </p:pic>
      <p:pic>
        <p:nvPicPr>
          <p:cNvPr id="24" name="Grafik 23">
            <a:extLst>
              <a:ext uri="{FF2B5EF4-FFF2-40B4-BE49-F238E27FC236}">
                <a16:creationId xmlns:a16="http://schemas.microsoft.com/office/drawing/2014/main" id="{8791D4D2-C3A3-F2F7-84AD-CE0CEAA404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15938" y="1778943"/>
            <a:ext cx="576262" cy="576262"/>
          </a:xfrm>
          <a:prstGeom prst="rect">
            <a:avLst/>
          </a:prstGeom>
        </p:spPr>
      </p:pic>
      <p:pic>
        <p:nvPicPr>
          <p:cNvPr id="25" name="Grafik 24">
            <a:extLst>
              <a:ext uri="{FF2B5EF4-FFF2-40B4-BE49-F238E27FC236}">
                <a16:creationId xmlns:a16="http://schemas.microsoft.com/office/drawing/2014/main" id="{DD3980C1-3E1E-501A-DFDA-83C646C4720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096000" y="4174270"/>
            <a:ext cx="576262" cy="576262"/>
          </a:xfrm>
          <a:prstGeom prst="rect">
            <a:avLst/>
          </a:prstGeom>
        </p:spPr>
      </p:pic>
      <p:sp>
        <p:nvSpPr>
          <p:cNvPr id="35" name="Textplatzhalter 4">
            <a:extLst>
              <a:ext uri="{FF2B5EF4-FFF2-40B4-BE49-F238E27FC236}">
                <a16:creationId xmlns:a16="http://schemas.microsoft.com/office/drawing/2014/main" id="{795F1617-ECA4-41F5-71CF-A933373A4251}"/>
              </a:ext>
            </a:extLst>
          </p:cNvPr>
          <p:cNvSpPr txBox="1">
            <a:spLocks/>
          </p:cNvSpPr>
          <p:nvPr/>
        </p:nvSpPr>
        <p:spPr bwMode="black">
          <a:xfrm>
            <a:off x="6096000" y="2871751"/>
            <a:ext cx="5077210" cy="86177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 </a:t>
            </a:r>
          </a:p>
        </p:txBody>
      </p:sp>
      <p:sp>
        <p:nvSpPr>
          <p:cNvPr id="36" name="Textplatzhalter 4">
            <a:extLst>
              <a:ext uri="{FF2B5EF4-FFF2-40B4-BE49-F238E27FC236}">
                <a16:creationId xmlns:a16="http://schemas.microsoft.com/office/drawing/2014/main" id="{D060B143-B2E9-3BF0-5E46-18668A82E0EB}"/>
              </a:ext>
            </a:extLst>
          </p:cNvPr>
          <p:cNvSpPr txBox="1">
            <a:spLocks/>
          </p:cNvSpPr>
          <p:nvPr/>
        </p:nvSpPr>
        <p:spPr bwMode="black">
          <a:xfrm>
            <a:off x="520640" y="5267564"/>
            <a:ext cx="5077210" cy="86177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 </a:t>
            </a:r>
          </a:p>
        </p:txBody>
      </p:sp>
      <p:sp>
        <p:nvSpPr>
          <p:cNvPr id="37" name="Textplatzhalter 4">
            <a:extLst>
              <a:ext uri="{FF2B5EF4-FFF2-40B4-BE49-F238E27FC236}">
                <a16:creationId xmlns:a16="http://schemas.microsoft.com/office/drawing/2014/main" id="{40673C3D-1DED-1090-36FD-574C651DF1B9}"/>
              </a:ext>
            </a:extLst>
          </p:cNvPr>
          <p:cNvSpPr txBox="1">
            <a:spLocks/>
          </p:cNvSpPr>
          <p:nvPr/>
        </p:nvSpPr>
        <p:spPr bwMode="black">
          <a:xfrm>
            <a:off x="6096000" y="5267564"/>
            <a:ext cx="5077210" cy="86177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 </a:t>
            </a:r>
          </a:p>
        </p:txBody>
      </p:sp>
    </p:spTree>
    <p:extLst>
      <p:ext uri="{BB962C8B-B14F-4D97-AF65-F5344CB8AC3E}">
        <p14:creationId xmlns:p14="http://schemas.microsoft.com/office/powerpoint/2010/main" val="32399317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CF9C249-1B36-C2BB-9C1E-0F2B14D10536}"/>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0FE4FD1-FA5D-0801-E7CD-7BF24738726E}"/>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9D6B1E14-9CE4-C3FB-3CCB-AC1E3DABB574}"/>
              </a:ext>
            </a:extLst>
          </p:cNvPr>
          <p:cNvSpPr>
            <a:spLocks noGrp="1"/>
          </p:cNvSpPr>
          <p:nvPr>
            <p:ph type="sldNum" sz="quarter" idx="12"/>
          </p:nvPr>
        </p:nvSpPr>
        <p:spPr/>
        <p:txBody>
          <a:bodyPr/>
          <a:lstStyle/>
          <a:p>
            <a:fld id="{E84006A6-0E15-460A-BCD4-002C20F8AC9F}" type="slidenum">
              <a:rPr lang="de-DE" smtClean="0"/>
              <a:pPr/>
              <a:t>104</a:t>
            </a:fld>
            <a:endParaRPr lang="de-DE"/>
          </a:p>
        </p:txBody>
      </p:sp>
      <p:sp>
        <p:nvSpPr>
          <p:cNvPr id="5" name="Titel 4">
            <a:extLst>
              <a:ext uri="{FF2B5EF4-FFF2-40B4-BE49-F238E27FC236}">
                <a16:creationId xmlns:a16="http://schemas.microsoft.com/office/drawing/2014/main" id="{418628EC-BA10-AE79-44C6-367F438D4DA4}"/>
              </a:ext>
            </a:extLst>
          </p:cNvPr>
          <p:cNvSpPr>
            <a:spLocks noGrp="1"/>
          </p:cNvSpPr>
          <p:nvPr>
            <p:ph type="title"/>
          </p:nvPr>
        </p:nvSpPr>
        <p:spPr/>
        <p:txBody>
          <a:bodyPr/>
          <a:lstStyle/>
          <a:p>
            <a:r>
              <a:rPr lang="de-DE" dirty="0"/>
              <a:t>Layoutvorlage </a:t>
            </a:r>
            <a:r>
              <a:rPr lang="de-DE" dirty="0" err="1"/>
              <a:t>protecting</a:t>
            </a:r>
            <a:r>
              <a:rPr lang="de-DE" dirty="0"/>
              <a:t> planet</a:t>
            </a:r>
          </a:p>
        </p:txBody>
      </p:sp>
      <p:sp>
        <p:nvSpPr>
          <p:cNvPr id="22" name="Textplatzhalter 4">
            <a:extLst>
              <a:ext uri="{FF2B5EF4-FFF2-40B4-BE49-F238E27FC236}">
                <a16:creationId xmlns:a16="http://schemas.microsoft.com/office/drawing/2014/main" id="{6765A7DD-0CB5-BDE6-CBB2-04AD43C4251F}"/>
              </a:ext>
            </a:extLst>
          </p:cNvPr>
          <p:cNvSpPr txBox="1">
            <a:spLocks/>
          </p:cNvSpPr>
          <p:nvPr/>
        </p:nvSpPr>
        <p:spPr bwMode="black">
          <a:xfrm>
            <a:off x="520639" y="1773238"/>
            <a:ext cx="4243865" cy="430887"/>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a:t>
            </a:r>
            <a:r>
              <a:rPr lang="de-DE" altLang="de-DE" sz="1400" b="0" dirty="0">
                <a:solidFill>
                  <a:schemeClr val="accent3"/>
                </a:solidFill>
                <a:latin typeface="NeueHaasGroteskText Pro" panose="020B0504020202020204" pitchFamily="34" charset="77"/>
                <a:ea typeface="TeleNeo Thin" charset="0"/>
                <a:cs typeface="Arial" panose="020B0604020202020204" pitchFamily="34" charset="0"/>
              </a:rPr>
              <a:t>:</a:t>
            </a:r>
            <a:endPar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endParaRPr>
          </a:p>
        </p:txBody>
      </p:sp>
      <p:pic>
        <p:nvPicPr>
          <p:cNvPr id="24" name="Grafik 23">
            <a:extLst>
              <a:ext uri="{FF2B5EF4-FFF2-40B4-BE49-F238E27FC236}">
                <a16:creationId xmlns:a16="http://schemas.microsoft.com/office/drawing/2014/main" id="{78923D0A-0E33-2877-9ED7-E8B7F075FF8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884" r="1884"/>
          <a:stretch/>
        </p:blipFill>
        <p:spPr>
          <a:xfrm>
            <a:off x="6095999" y="1773238"/>
            <a:ext cx="5589333" cy="4356100"/>
          </a:xfrm>
          <a:prstGeom prst="rect">
            <a:avLst/>
          </a:prstGeom>
        </p:spPr>
      </p:pic>
      <p:sp>
        <p:nvSpPr>
          <p:cNvPr id="25" name="Textfeld 24">
            <a:extLst>
              <a:ext uri="{FF2B5EF4-FFF2-40B4-BE49-F238E27FC236}">
                <a16:creationId xmlns:a16="http://schemas.microsoft.com/office/drawing/2014/main" id="{199E90C5-BCBD-EB0C-1631-FE4DF1DBCB78}"/>
              </a:ext>
            </a:extLst>
          </p:cNvPr>
          <p:cNvSpPr txBox="1"/>
          <p:nvPr/>
        </p:nvSpPr>
        <p:spPr>
          <a:xfrm>
            <a:off x="515938" y="2864857"/>
            <a:ext cx="564143" cy="564143"/>
          </a:xfrm>
          <a:prstGeom prst="ellipse">
            <a:avLst/>
          </a:prstGeom>
          <a:solidFill>
            <a:srgbClr val="50936E"/>
          </a:solidFill>
        </p:spPr>
        <p:txBody>
          <a:bodyPr wrap="square" lIns="0" tIns="0" rIns="0" bIns="0" anchor="ctr" anchorCtr="0">
            <a:noAutofit/>
          </a:bodyPr>
          <a:lstStyle/>
          <a:p>
            <a:pPr algn="ctr"/>
            <a:r>
              <a:rPr lang="en-US" sz="2000" b="1" dirty="0">
                <a:solidFill>
                  <a:schemeClr val="bg1"/>
                </a:solidFill>
              </a:rPr>
              <a:t>1</a:t>
            </a:r>
            <a:endParaRPr lang="en-US" sz="1600" b="1" dirty="0">
              <a:solidFill>
                <a:schemeClr val="bg1"/>
              </a:solidFill>
            </a:endParaRPr>
          </a:p>
        </p:txBody>
      </p:sp>
      <p:sp>
        <p:nvSpPr>
          <p:cNvPr id="26" name="Textfeld 25">
            <a:extLst>
              <a:ext uri="{FF2B5EF4-FFF2-40B4-BE49-F238E27FC236}">
                <a16:creationId xmlns:a16="http://schemas.microsoft.com/office/drawing/2014/main" id="{4132903D-E8C1-C648-1EA9-1A81C66C9C15}"/>
              </a:ext>
            </a:extLst>
          </p:cNvPr>
          <p:cNvSpPr txBox="1"/>
          <p:nvPr/>
        </p:nvSpPr>
        <p:spPr>
          <a:xfrm>
            <a:off x="515938" y="3755512"/>
            <a:ext cx="564143" cy="564143"/>
          </a:xfrm>
          <a:prstGeom prst="ellipse">
            <a:avLst/>
          </a:prstGeom>
          <a:solidFill>
            <a:srgbClr val="50936E"/>
          </a:solidFill>
        </p:spPr>
        <p:txBody>
          <a:bodyPr wrap="square" lIns="0" tIns="0" rIns="0" bIns="0" anchor="ctr" anchorCtr="0">
            <a:noAutofit/>
          </a:bodyPr>
          <a:lstStyle/>
          <a:p>
            <a:pPr algn="ctr"/>
            <a:r>
              <a:rPr lang="en-US" sz="2000" b="1" dirty="0">
                <a:solidFill>
                  <a:schemeClr val="bg1"/>
                </a:solidFill>
              </a:rPr>
              <a:t>2</a:t>
            </a:r>
            <a:endParaRPr lang="en-US" sz="1600" b="1" dirty="0">
              <a:solidFill>
                <a:schemeClr val="bg1"/>
              </a:solidFill>
            </a:endParaRPr>
          </a:p>
        </p:txBody>
      </p:sp>
      <p:sp>
        <p:nvSpPr>
          <p:cNvPr id="27" name="Textfeld 26">
            <a:extLst>
              <a:ext uri="{FF2B5EF4-FFF2-40B4-BE49-F238E27FC236}">
                <a16:creationId xmlns:a16="http://schemas.microsoft.com/office/drawing/2014/main" id="{0B76403F-6004-F7D4-6C44-0211D3CF3969}"/>
              </a:ext>
            </a:extLst>
          </p:cNvPr>
          <p:cNvSpPr txBox="1"/>
          <p:nvPr/>
        </p:nvSpPr>
        <p:spPr>
          <a:xfrm>
            <a:off x="515938" y="4646167"/>
            <a:ext cx="564143" cy="564143"/>
          </a:xfrm>
          <a:prstGeom prst="ellipse">
            <a:avLst/>
          </a:prstGeom>
          <a:solidFill>
            <a:srgbClr val="50936E"/>
          </a:solidFill>
        </p:spPr>
        <p:txBody>
          <a:bodyPr wrap="square" lIns="0" tIns="0" rIns="0" bIns="0" anchor="ctr" anchorCtr="0">
            <a:noAutofit/>
          </a:bodyPr>
          <a:lstStyle/>
          <a:p>
            <a:pPr algn="ctr"/>
            <a:r>
              <a:rPr lang="en-US" sz="2000" b="1" dirty="0">
                <a:solidFill>
                  <a:schemeClr val="bg1"/>
                </a:solidFill>
              </a:rPr>
              <a:t>3</a:t>
            </a:r>
            <a:endParaRPr lang="en-US" sz="1600" b="1" dirty="0">
              <a:solidFill>
                <a:schemeClr val="bg1"/>
              </a:solidFill>
            </a:endParaRPr>
          </a:p>
        </p:txBody>
      </p:sp>
      <p:sp>
        <p:nvSpPr>
          <p:cNvPr id="28" name="Textplatzhalter 4">
            <a:extLst>
              <a:ext uri="{FF2B5EF4-FFF2-40B4-BE49-F238E27FC236}">
                <a16:creationId xmlns:a16="http://schemas.microsoft.com/office/drawing/2014/main" id="{9CD831FA-0E37-EA6B-7861-F74C47518224}"/>
              </a:ext>
            </a:extLst>
          </p:cNvPr>
          <p:cNvSpPr txBox="1">
            <a:spLocks/>
          </p:cNvSpPr>
          <p:nvPr/>
        </p:nvSpPr>
        <p:spPr bwMode="black">
          <a:xfrm>
            <a:off x="1294670" y="3008428"/>
            <a:ext cx="4243865" cy="27699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a:t>
            </a:r>
          </a:p>
        </p:txBody>
      </p:sp>
      <p:sp>
        <p:nvSpPr>
          <p:cNvPr id="29" name="Textplatzhalter 4">
            <a:extLst>
              <a:ext uri="{FF2B5EF4-FFF2-40B4-BE49-F238E27FC236}">
                <a16:creationId xmlns:a16="http://schemas.microsoft.com/office/drawing/2014/main" id="{9EE2504F-5B84-9DEF-67E2-83A62881C30F}"/>
              </a:ext>
            </a:extLst>
          </p:cNvPr>
          <p:cNvSpPr txBox="1">
            <a:spLocks/>
          </p:cNvSpPr>
          <p:nvPr/>
        </p:nvSpPr>
        <p:spPr bwMode="black">
          <a:xfrm>
            <a:off x="1294669" y="3899083"/>
            <a:ext cx="4243865" cy="27699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a:t>
            </a:r>
          </a:p>
        </p:txBody>
      </p:sp>
      <p:sp>
        <p:nvSpPr>
          <p:cNvPr id="30" name="Textplatzhalter 4">
            <a:extLst>
              <a:ext uri="{FF2B5EF4-FFF2-40B4-BE49-F238E27FC236}">
                <a16:creationId xmlns:a16="http://schemas.microsoft.com/office/drawing/2014/main" id="{42C598AD-6BA2-B449-8970-3405BE276FC6}"/>
              </a:ext>
            </a:extLst>
          </p:cNvPr>
          <p:cNvSpPr txBox="1">
            <a:spLocks/>
          </p:cNvSpPr>
          <p:nvPr/>
        </p:nvSpPr>
        <p:spPr bwMode="black">
          <a:xfrm>
            <a:off x="1294668" y="4789739"/>
            <a:ext cx="4243865" cy="27699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a:t>
            </a:r>
          </a:p>
        </p:txBody>
      </p:sp>
    </p:spTree>
    <p:extLst>
      <p:ext uri="{BB962C8B-B14F-4D97-AF65-F5344CB8AC3E}">
        <p14:creationId xmlns:p14="http://schemas.microsoft.com/office/powerpoint/2010/main" val="325560730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CF9C249-1B36-C2BB-9C1E-0F2B14D10536}"/>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0FE4FD1-FA5D-0801-E7CD-7BF24738726E}"/>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9D6B1E14-9CE4-C3FB-3CCB-AC1E3DABB574}"/>
              </a:ext>
            </a:extLst>
          </p:cNvPr>
          <p:cNvSpPr>
            <a:spLocks noGrp="1"/>
          </p:cNvSpPr>
          <p:nvPr>
            <p:ph type="sldNum" sz="quarter" idx="12"/>
          </p:nvPr>
        </p:nvSpPr>
        <p:spPr/>
        <p:txBody>
          <a:bodyPr/>
          <a:lstStyle/>
          <a:p>
            <a:fld id="{E84006A6-0E15-460A-BCD4-002C20F8AC9F}" type="slidenum">
              <a:rPr lang="de-DE" smtClean="0"/>
              <a:pPr/>
              <a:t>105</a:t>
            </a:fld>
            <a:endParaRPr lang="de-DE"/>
          </a:p>
        </p:txBody>
      </p:sp>
      <p:sp>
        <p:nvSpPr>
          <p:cNvPr id="30" name="Textplatzhalter 4">
            <a:extLst>
              <a:ext uri="{FF2B5EF4-FFF2-40B4-BE49-F238E27FC236}">
                <a16:creationId xmlns:a16="http://schemas.microsoft.com/office/drawing/2014/main" id="{42C598AD-6BA2-B449-8970-3405BE276FC6}"/>
              </a:ext>
            </a:extLst>
          </p:cNvPr>
          <p:cNvSpPr txBox="1">
            <a:spLocks/>
          </p:cNvSpPr>
          <p:nvPr/>
        </p:nvSpPr>
        <p:spPr bwMode="black">
          <a:xfrm>
            <a:off x="515938" y="1203577"/>
            <a:ext cx="4243865" cy="147732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48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a:t>
            </a:r>
          </a:p>
        </p:txBody>
      </p:sp>
      <p:sp>
        <p:nvSpPr>
          <p:cNvPr id="8" name="Textplatzhalter 4">
            <a:extLst>
              <a:ext uri="{FF2B5EF4-FFF2-40B4-BE49-F238E27FC236}">
                <a16:creationId xmlns:a16="http://schemas.microsoft.com/office/drawing/2014/main" id="{A4D0EBFA-D690-2052-8342-F18CCC83B90E}"/>
              </a:ext>
            </a:extLst>
          </p:cNvPr>
          <p:cNvSpPr txBox="1">
            <a:spLocks/>
          </p:cNvSpPr>
          <p:nvPr/>
        </p:nvSpPr>
        <p:spPr bwMode="black">
          <a:xfrm>
            <a:off x="515937" y="2936557"/>
            <a:ext cx="4243865" cy="738664"/>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Fusce posuere, magna sed pulvinar ultricies, purus lectus malesuada libero, sit amet commodo magna eros quis.</a:t>
            </a:r>
          </a:p>
        </p:txBody>
      </p:sp>
      <p:pic>
        <p:nvPicPr>
          <p:cNvPr id="10" name="Grafik 9">
            <a:extLst>
              <a:ext uri="{FF2B5EF4-FFF2-40B4-BE49-F238E27FC236}">
                <a16:creationId xmlns:a16="http://schemas.microsoft.com/office/drawing/2014/main" id="{129FA738-9195-6B0D-41EB-498FCA5DB83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43370" y="1689512"/>
            <a:ext cx="3102770" cy="2068513"/>
          </a:xfrm>
          <a:prstGeom prst="rect">
            <a:avLst/>
          </a:prstGeom>
        </p:spPr>
      </p:pic>
      <p:pic>
        <p:nvPicPr>
          <p:cNvPr id="12" name="Grafik 11">
            <a:extLst>
              <a:ext uri="{FF2B5EF4-FFF2-40B4-BE49-F238E27FC236}">
                <a16:creationId xmlns:a16="http://schemas.microsoft.com/office/drawing/2014/main" id="{A4301029-A849-7653-F17C-25EF4C2A964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8163" b="8163"/>
          <a:stretch/>
        </p:blipFill>
        <p:spPr>
          <a:xfrm>
            <a:off x="5090078" y="3871912"/>
            <a:ext cx="4056062" cy="2262719"/>
          </a:xfrm>
          <a:prstGeom prst="rect">
            <a:avLst/>
          </a:prstGeom>
        </p:spPr>
      </p:pic>
      <p:pic>
        <p:nvPicPr>
          <p:cNvPr id="14" name="Grafik 13">
            <a:extLst>
              <a:ext uri="{FF2B5EF4-FFF2-40B4-BE49-F238E27FC236}">
                <a16:creationId xmlns:a16="http://schemas.microsoft.com/office/drawing/2014/main" id="{2DAF2209-3C35-8A09-8757-2D3DFD6181A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7555" r="7555"/>
          <a:stretch/>
        </p:blipFill>
        <p:spPr>
          <a:xfrm>
            <a:off x="9247815" y="0"/>
            <a:ext cx="2943225" cy="5200650"/>
          </a:xfrm>
          <a:prstGeom prst="rect">
            <a:avLst/>
          </a:prstGeom>
        </p:spPr>
      </p:pic>
    </p:spTree>
    <p:extLst>
      <p:ext uri="{BB962C8B-B14F-4D97-AF65-F5344CB8AC3E}">
        <p14:creationId xmlns:p14="http://schemas.microsoft.com/office/powerpoint/2010/main" val="39849729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60158FE-9DA6-F1DC-480A-D739A14DB3D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73FC49A-FF27-01FB-448A-2E6D920421BA}"/>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7E0AAB1-F7F8-4361-87B1-5747ECA81322}"/>
              </a:ext>
            </a:extLst>
          </p:cNvPr>
          <p:cNvSpPr>
            <a:spLocks noGrp="1"/>
          </p:cNvSpPr>
          <p:nvPr>
            <p:ph type="sldNum" sz="quarter" idx="12"/>
          </p:nvPr>
        </p:nvSpPr>
        <p:spPr/>
        <p:txBody>
          <a:bodyPr/>
          <a:lstStyle/>
          <a:p>
            <a:fld id="{E84006A6-0E15-460A-BCD4-002C20F8AC9F}" type="slidenum">
              <a:rPr lang="de-DE" smtClean="0"/>
              <a:pPr/>
              <a:t>106</a:t>
            </a:fld>
            <a:endParaRPr lang="de-DE"/>
          </a:p>
        </p:txBody>
      </p:sp>
      <p:sp>
        <p:nvSpPr>
          <p:cNvPr id="5" name="Titel 4">
            <a:extLst>
              <a:ext uri="{FF2B5EF4-FFF2-40B4-BE49-F238E27FC236}">
                <a16:creationId xmlns:a16="http://schemas.microsoft.com/office/drawing/2014/main" id="{3A980B8B-3008-C1D1-19B4-479F3B48B5D7}"/>
              </a:ext>
            </a:extLst>
          </p:cNvPr>
          <p:cNvSpPr>
            <a:spLocks noGrp="1"/>
          </p:cNvSpPr>
          <p:nvPr>
            <p:ph type="title"/>
          </p:nvPr>
        </p:nvSpPr>
        <p:spPr/>
        <p:txBody>
          <a:bodyPr/>
          <a:lstStyle/>
          <a:p>
            <a:r>
              <a:rPr lang="de-DE" dirty="0"/>
              <a:t>Layoutvorlage </a:t>
            </a:r>
            <a:r>
              <a:rPr lang="de-DE" dirty="0" err="1"/>
              <a:t>protecting</a:t>
            </a:r>
            <a:r>
              <a:rPr lang="de-DE" dirty="0"/>
              <a:t> planet</a:t>
            </a:r>
          </a:p>
        </p:txBody>
      </p:sp>
      <p:pic>
        <p:nvPicPr>
          <p:cNvPr id="6" name="Grafik 5">
            <a:extLst>
              <a:ext uri="{FF2B5EF4-FFF2-40B4-BE49-F238E27FC236}">
                <a16:creationId xmlns:a16="http://schemas.microsoft.com/office/drawing/2014/main" id="{DA70208E-3E86-1383-265A-4D71734E2C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15937" y="1773238"/>
            <a:ext cx="2902905" cy="4356100"/>
          </a:xfrm>
          <a:prstGeom prst="rect">
            <a:avLst/>
          </a:prstGeom>
        </p:spPr>
      </p:pic>
      <p:sp>
        <p:nvSpPr>
          <p:cNvPr id="7" name="Textplatzhalter 4">
            <a:extLst>
              <a:ext uri="{FF2B5EF4-FFF2-40B4-BE49-F238E27FC236}">
                <a16:creationId xmlns:a16="http://schemas.microsoft.com/office/drawing/2014/main" id="{0CA0FB8E-13A8-6969-4A0C-7188921D101B}"/>
              </a:ext>
            </a:extLst>
          </p:cNvPr>
          <p:cNvSpPr txBox="1">
            <a:spLocks/>
          </p:cNvSpPr>
          <p:nvPr/>
        </p:nvSpPr>
        <p:spPr bwMode="black">
          <a:xfrm>
            <a:off x="4207072" y="4405789"/>
            <a:ext cx="6037066" cy="129266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Nunc viverra imperdiet enim. Fusce est. Vivamus a tellus.</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Pellentesque habitant morbi tristique senectus et netus et malesuada fames ac turpis egestas. Proin pharetra nonummy pede. Mauris et orci.</a:t>
            </a:r>
          </a:p>
        </p:txBody>
      </p:sp>
      <p:sp>
        <p:nvSpPr>
          <p:cNvPr id="8" name="Textplatzhalter 4">
            <a:extLst>
              <a:ext uri="{FF2B5EF4-FFF2-40B4-BE49-F238E27FC236}">
                <a16:creationId xmlns:a16="http://schemas.microsoft.com/office/drawing/2014/main" id="{0E726DB1-EF25-677C-144D-E46EE0F4C355}"/>
              </a:ext>
            </a:extLst>
          </p:cNvPr>
          <p:cNvSpPr txBox="1">
            <a:spLocks/>
          </p:cNvSpPr>
          <p:nvPr/>
        </p:nvSpPr>
        <p:spPr bwMode="black">
          <a:xfrm>
            <a:off x="4207072" y="4010183"/>
            <a:ext cx="6037064" cy="246221"/>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p:txBody>
      </p:sp>
      <p:pic>
        <p:nvPicPr>
          <p:cNvPr id="9" name="Grafik 8">
            <a:extLst>
              <a:ext uri="{FF2B5EF4-FFF2-40B4-BE49-F238E27FC236}">
                <a16:creationId xmlns:a16="http://schemas.microsoft.com/office/drawing/2014/main" id="{2EA151D8-0290-2B79-6746-6EAAD2714C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207072" y="3227236"/>
            <a:ext cx="593528" cy="593528"/>
          </a:xfrm>
          <a:prstGeom prst="rect">
            <a:avLst/>
          </a:prstGeom>
        </p:spPr>
      </p:pic>
      <p:pic>
        <p:nvPicPr>
          <p:cNvPr id="10" name="Grafik 9">
            <a:extLst>
              <a:ext uri="{FF2B5EF4-FFF2-40B4-BE49-F238E27FC236}">
                <a16:creationId xmlns:a16="http://schemas.microsoft.com/office/drawing/2014/main" id="{1ABAEB74-1E91-72EC-D8FC-0F3D50C5308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20274" y="0"/>
            <a:ext cx="4271726" cy="2847817"/>
          </a:xfrm>
          <a:prstGeom prst="rect">
            <a:avLst/>
          </a:prstGeom>
        </p:spPr>
      </p:pic>
    </p:spTree>
    <p:extLst>
      <p:ext uri="{BB962C8B-B14F-4D97-AF65-F5344CB8AC3E}">
        <p14:creationId xmlns:p14="http://schemas.microsoft.com/office/powerpoint/2010/main" val="367358795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60158FE-9DA6-F1DC-480A-D739A14DB3D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73FC49A-FF27-01FB-448A-2E6D920421BA}"/>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7E0AAB1-F7F8-4361-87B1-5747ECA81322}"/>
              </a:ext>
            </a:extLst>
          </p:cNvPr>
          <p:cNvSpPr>
            <a:spLocks noGrp="1"/>
          </p:cNvSpPr>
          <p:nvPr>
            <p:ph type="sldNum" sz="quarter" idx="12"/>
          </p:nvPr>
        </p:nvSpPr>
        <p:spPr/>
        <p:txBody>
          <a:bodyPr/>
          <a:lstStyle/>
          <a:p>
            <a:fld id="{E84006A6-0E15-460A-BCD4-002C20F8AC9F}" type="slidenum">
              <a:rPr lang="de-DE" smtClean="0"/>
              <a:pPr/>
              <a:t>107</a:t>
            </a:fld>
            <a:endParaRPr lang="de-DE"/>
          </a:p>
        </p:txBody>
      </p:sp>
      <p:sp>
        <p:nvSpPr>
          <p:cNvPr id="5" name="Titel 4">
            <a:extLst>
              <a:ext uri="{FF2B5EF4-FFF2-40B4-BE49-F238E27FC236}">
                <a16:creationId xmlns:a16="http://schemas.microsoft.com/office/drawing/2014/main" id="{3A980B8B-3008-C1D1-19B4-479F3B48B5D7}"/>
              </a:ext>
            </a:extLst>
          </p:cNvPr>
          <p:cNvSpPr>
            <a:spLocks noGrp="1"/>
          </p:cNvSpPr>
          <p:nvPr>
            <p:ph type="title"/>
          </p:nvPr>
        </p:nvSpPr>
        <p:spPr/>
        <p:txBody>
          <a:bodyPr/>
          <a:lstStyle/>
          <a:p>
            <a:r>
              <a:rPr lang="de-DE" dirty="0"/>
              <a:t>Layoutvorlage </a:t>
            </a:r>
            <a:r>
              <a:rPr lang="de-DE" dirty="0" err="1"/>
              <a:t>protecting</a:t>
            </a:r>
            <a:r>
              <a:rPr lang="de-DE" dirty="0"/>
              <a:t> planet</a:t>
            </a:r>
          </a:p>
        </p:txBody>
      </p:sp>
      <p:grpSp>
        <p:nvGrpSpPr>
          <p:cNvPr id="13" name="Gruppieren 12">
            <a:extLst>
              <a:ext uri="{FF2B5EF4-FFF2-40B4-BE49-F238E27FC236}">
                <a16:creationId xmlns:a16="http://schemas.microsoft.com/office/drawing/2014/main" id="{43352A75-018F-C41E-545F-C99494CA3271}"/>
              </a:ext>
            </a:extLst>
          </p:cNvPr>
          <p:cNvGrpSpPr/>
          <p:nvPr/>
        </p:nvGrpSpPr>
        <p:grpSpPr>
          <a:xfrm>
            <a:off x="515938" y="2017678"/>
            <a:ext cx="3755976" cy="3878302"/>
            <a:chOff x="515938" y="1773238"/>
            <a:chExt cx="3755976" cy="3878302"/>
          </a:xfrm>
        </p:grpSpPr>
        <p:pic>
          <p:nvPicPr>
            <p:cNvPr id="11" name="Grafik 10">
              <a:extLst>
                <a:ext uri="{FF2B5EF4-FFF2-40B4-BE49-F238E27FC236}">
                  <a16:creationId xmlns:a16="http://schemas.microsoft.com/office/drawing/2014/main" id="{8ADF3A8E-404C-38BC-DB3F-4EEC77313220}"/>
                </a:ext>
              </a:extLst>
            </p:cNvPr>
            <p:cNvPicPr>
              <a:picLocks noChangeAspect="1"/>
            </p:cNvPicPr>
            <p:nvPr/>
          </p:nvPicPr>
          <p:blipFill>
            <a:blip r:embed="rId2" cstate="print">
              <a:extLst>
                <a:ext uri="{28A0092B-C50C-407E-A947-70E740481C1C}">
                  <a14:useLocalDpi xmlns:a14="http://schemas.microsoft.com/office/drawing/2010/main"/>
                </a:ext>
              </a:extLst>
            </a:blip>
            <a:srcRect t="18383" b="18383"/>
            <a:stretch/>
          </p:blipFill>
          <p:spPr>
            <a:xfrm>
              <a:off x="515938" y="1773238"/>
              <a:ext cx="3755976" cy="3556000"/>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12" name="Grafik 11">
              <a:extLst>
                <a:ext uri="{FF2B5EF4-FFF2-40B4-BE49-F238E27FC236}">
                  <a16:creationId xmlns:a16="http://schemas.microsoft.com/office/drawing/2014/main" id="{8C85119C-38B7-17AA-ABF0-1820B8068F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488386" y="5006936"/>
              <a:ext cx="783528" cy="644604"/>
            </a:xfrm>
            <a:prstGeom prst="rect">
              <a:avLst/>
            </a:prstGeom>
          </p:spPr>
        </p:pic>
      </p:grpSp>
      <p:grpSp>
        <p:nvGrpSpPr>
          <p:cNvPr id="17" name="Gruppieren 16">
            <a:extLst>
              <a:ext uri="{FF2B5EF4-FFF2-40B4-BE49-F238E27FC236}">
                <a16:creationId xmlns:a16="http://schemas.microsoft.com/office/drawing/2014/main" id="{4399D013-B3EB-2E6D-F1E8-06455959CCC3}"/>
              </a:ext>
            </a:extLst>
          </p:cNvPr>
          <p:cNvGrpSpPr/>
          <p:nvPr/>
        </p:nvGrpSpPr>
        <p:grpSpPr>
          <a:xfrm>
            <a:off x="5479045" y="2389973"/>
            <a:ext cx="6197018" cy="2811409"/>
            <a:chOff x="5479045" y="2012516"/>
            <a:chExt cx="6197018" cy="2811409"/>
          </a:xfrm>
        </p:grpSpPr>
        <p:sp>
          <p:nvSpPr>
            <p:cNvPr id="14" name="Textplatzhalter 4">
              <a:extLst>
                <a:ext uri="{FF2B5EF4-FFF2-40B4-BE49-F238E27FC236}">
                  <a16:creationId xmlns:a16="http://schemas.microsoft.com/office/drawing/2014/main" id="{2C947578-594E-74C8-AECD-B460F07D4B6D}"/>
                </a:ext>
              </a:extLst>
            </p:cNvPr>
            <p:cNvSpPr txBox="1">
              <a:spLocks/>
            </p:cNvSpPr>
            <p:nvPr/>
          </p:nvSpPr>
          <p:spPr bwMode="black">
            <a:xfrm>
              <a:off x="5479045" y="3315820"/>
              <a:ext cx="6197018" cy="1508105"/>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 eros quis urna. Nunc viverra imperdiet enim. Fusce est. Vivamus a tellus. Pellentesque habitant morbi tristique senectus et netus et malesuada fames ac turpis egestas. Proin pharetra nonummy pede. Mauris et orci. Maecenas porttitor congue massa. Fusce posuere, magna sed pulvinar ultricies, purus lectus malesuada libero, sit amet commodo magna.</a:t>
              </a:r>
            </a:p>
          </p:txBody>
        </p:sp>
        <p:sp>
          <p:nvSpPr>
            <p:cNvPr id="15" name="Textplatzhalter 4">
              <a:extLst>
                <a:ext uri="{FF2B5EF4-FFF2-40B4-BE49-F238E27FC236}">
                  <a16:creationId xmlns:a16="http://schemas.microsoft.com/office/drawing/2014/main" id="{80060E96-876C-DDE2-6D88-55B9F04870AA}"/>
                </a:ext>
              </a:extLst>
            </p:cNvPr>
            <p:cNvSpPr txBox="1">
              <a:spLocks/>
            </p:cNvSpPr>
            <p:nvPr/>
          </p:nvSpPr>
          <p:spPr bwMode="black">
            <a:xfrm>
              <a:off x="5479046" y="2664168"/>
              <a:ext cx="325061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a:ln>
                    <a:noFill/>
                  </a:ln>
                  <a:solidFill>
                    <a:srgbClr val="50936E"/>
                  </a:solidFill>
                  <a:effectLst/>
                  <a:uLnTx/>
                  <a:uFillTx/>
                  <a:latin typeface="NeueHaasGroteskText Pro" panose="020B0504020202020204" pitchFamily="34" charset="77"/>
                  <a:ea typeface="TeleNeo Thin" charset="0"/>
                  <a:cs typeface="Arial" panose="020B0604020202020204" pitchFamily="34" charset="0"/>
                </a:rPr>
                <a:t>Proin pharetra nonummy pede. Mauris et orci.</a:t>
              </a:r>
            </a:p>
          </p:txBody>
        </p:sp>
        <p:sp>
          <p:nvSpPr>
            <p:cNvPr id="16" name="Textplatzhalter 4">
              <a:extLst>
                <a:ext uri="{FF2B5EF4-FFF2-40B4-BE49-F238E27FC236}">
                  <a16:creationId xmlns:a16="http://schemas.microsoft.com/office/drawing/2014/main" id="{3507F531-E8C7-4630-3D75-ADBBE142125F}"/>
                </a:ext>
              </a:extLst>
            </p:cNvPr>
            <p:cNvSpPr txBox="1">
              <a:spLocks/>
            </p:cNvSpPr>
            <p:nvPr/>
          </p:nvSpPr>
          <p:spPr bwMode="black">
            <a:xfrm>
              <a:off x="5479045" y="2012516"/>
              <a:ext cx="3250617"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p:txBody>
        </p:sp>
      </p:grpSp>
    </p:spTree>
    <p:extLst>
      <p:ext uri="{BB962C8B-B14F-4D97-AF65-F5344CB8AC3E}">
        <p14:creationId xmlns:p14="http://schemas.microsoft.com/office/powerpoint/2010/main" val="10723127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C2CE4A5-5F8A-5A44-470B-ED03D53B53EB}"/>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65F38C3-1939-B9B7-ADCA-999BA97668AF}"/>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EA1B7B4-5BCA-CB7B-37A9-839584F98E6D}"/>
              </a:ext>
            </a:extLst>
          </p:cNvPr>
          <p:cNvSpPr>
            <a:spLocks noGrp="1"/>
          </p:cNvSpPr>
          <p:nvPr>
            <p:ph type="sldNum" sz="quarter" idx="12"/>
          </p:nvPr>
        </p:nvSpPr>
        <p:spPr/>
        <p:txBody>
          <a:bodyPr/>
          <a:lstStyle/>
          <a:p>
            <a:fld id="{E84006A6-0E15-460A-BCD4-002C20F8AC9F}" type="slidenum">
              <a:rPr lang="de-DE" smtClean="0"/>
              <a:pPr/>
              <a:t>108</a:t>
            </a:fld>
            <a:endParaRPr lang="de-DE"/>
          </a:p>
        </p:txBody>
      </p:sp>
      <p:grpSp>
        <p:nvGrpSpPr>
          <p:cNvPr id="6" name="Gruppieren 5">
            <a:extLst>
              <a:ext uri="{FF2B5EF4-FFF2-40B4-BE49-F238E27FC236}">
                <a16:creationId xmlns:a16="http://schemas.microsoft.com/office/drawing/2014/main" id="{930A0C5B-CC0C-8329-624E-9D946988C682}"/>
              </a:ext>
            </a:extLst>
          </p:cNvPr>
          <p:cNvGrpSpPr/>
          <p:nvPr/>
        </p:nvGrpSpPr>
        <p:grpSpPr>
          <a:xfrm>
            <a:off x="515938" y="1490663"/>
            <a:ext cx="3891932" cy="1599958"/>
            <a:chOff x="1217876" y="3093719"/>
            <a:chExt cx="3065142" cy="1260068"/>
          </a:xfrm>
        </p:grpSpPr>
        <p:grpSp>
          <p:nvGrpSpPr>
            <p:cNvPr id="7" name="Grafik 7">
              <a:extLst>
                <a:ext uri="{FF2B5EF4-FFF2-40B4-BE49-F238E27FC236}">
                  <a16:creationId xmlns:a16="http://schemas.microsoft.com/office/drawing/2014/main" id="{282EE595-B1D0-03EF-80FD-6744B23BE098}"/>
                </a:ext>
              </a:extLst>
            </p:cNvPr>
            <p:cNvGrpSpPr/>
            <p:nvPr/>
          </p:nvGrpSpPr>
          <p:grpSpPr>
            <a:xfrm>
              <a:off x="1217876" y="3093719"/>
              <a:ext cx="3065142" cy="584366"/>
              <a:chOff x="3394242" y="3093718"/>
              <a:chExt cx="3143926" cy="599386"/>
            </a:xfrm>
            <a:solidFill>
              <a:srgbClr val="50936E"/>
            </a:solidFill>
          </p:grpSpPr>
          <p:sp>
            <p:nvSpPr>
              <p:cNvPr id="15" name="Freihandform 14">
                <a:extLst>
                  <a:ext uri="{FF2B5EF4-FFF2-40B4-BE49-F238E27FC236}">
                    <a16:creationId xmlns:a16="http://schemas.microsoft.com/office/drawing/2014/main" id="{E35B7DCB-3697-5DF8-A7F1-B10703C877E4}"/>
                  </a:ext>
                </a:extLst>
              </p:cNvPr>
              <p:cNvSpPr/>
              <p:nvPr/>
            </p:nvSpPr>
            <p:spPr>
              <a:xfrm>
                <a:off x="3394242" y="3220328"/>
                <a:ext cx="344572" cy="468064"/>
              </a:xfrm>
              <a:custGeom>
                <a:avLst/>
                <a:gdLst>
                  <a:gd name="connsiteX0" fmla="*/ 0 w 344572"/>
                  <a:gd name="connsiteY0" fmla="*/ 9433 h 468064"/>
                  <a:gd name="connsiteX1" fmla="*/ 88842 w 344572"/>
                  <a:gd name="connsiteY1" fmla="*/ 9433 h 468064"/>
                  <a:gd name="connsiteX2" fmla="*/ 88842 w 344572"/>
                  <a:gd name="connsiteY2" fmla="*/ 52526 h 468064"/>
                  <a:gd name="connsiteX3" fmla="*/ 90884 w 344572"/>
                  <a:gd name="connsiteY3" fmla="*/ 52526 h 468064"/>
                  <a:gd name="connsiteX4" fmla="*/ 193310 w 344572"/>
                  <a:gd name="connsiteY4" fmla="*/ 0 h 468064"/>
                  <a:gd name="connsiteX5" fmla="*/ 344573 w 344572"/>
                  <a:gd name="connsiteY5" fmla="*/ 182511 h 468064"/>
                  <a:gd name="connsiteX6" fmla="*/ 193988 w 344572"/>
                  <a:gd name="connsiteY6" fmla="*/ 365012 h 468064"/>
                  <a:gd name="connsiteX7" fmla="*/ 93604 w 344572"/>
                  <a:gd name="connsiteY7" fmla="*/ 315841 h 468064"/>
                  <a:gd name="connsiteX8" fmla="*/ 92239 w 344572"/>
                  <a:gd name="connsiteY8" fmla="*/ 315841 h 468064"/>
                  <a:gd name="connsiteX9" fmla="*/ 92239 w 344572"/>
                  <a:gd name="connsiteY9" fmla="*/ 468065 h 468064"/>
                  <a:gd name="connsiteX10" fmla="*/ 0 w 344572"/>
                  <a:gd name="connsiteY10" fmla="*/ 468065 h 468064"/>
                  <a:gd name="connsiteX11" fmla="*/ 0 w 344572"/>
                  <a:gd name="connsiteY11" fmla="*/ 9433 h 468064"/>
                  <a:gd name="connsiteX12" fmla="*/ 250969 w 344572"/>
                  <a:gd name="connsiteY12" fmla="*/ 185212 h 468064"/>
                  <a:gd name="connsiteX13" fmla="*/ 170931 w 344572"/>
                  <a:gd name="connsiteY13" fmla="*/ 74083 h 468064"/>
                  <a:gd name="connsiteX14" fmla="*/ 90207 w 344572"/>
                  <a:gd name="connsiteY14" fmla="*/ 185212 h 468064"/>
                  <a:gd name="connsiteX15" fmla="*/ 174321 w 344572"/>
                  <a:gd name="connsiteY15" fmla="*/ 288920 h 468064"/>
                  <a:gd name="connsiteX16" fmla="*/ 250969 w 344572"/>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72" h="468064">
                    <a:moveTo>
                      <a:pt x="0" y="9433"/>
                    </a:moveTo>
                    <a:lnTo>
                      <a:pt x="88842" y="9433"/>
                    </a:lnTo>
                    <a:lnTo>
                      <a:pt x="88842" y="52526"/>
                    </a:lnTo>
                    <a:lnTo>
                      <a:pt x="90884" y="52526"/>
                    </a:lnTo>
                    <a:cubicBezTo>
                      <a:pt x="113264" y="22219"/>
                      <a:pt x="145830" y="0"/>
                      <a:pt x="193310" y="0"/>
                    </a:cubicBezTo>
                    <a:cubicBezTo>
                      <a:pt x="285549" y="0"/>
                      <a:pt x="344573" y="74757"/>
                      <a:pt x="344573" y="182511"/>
                    </a:cubicBezTo>
                    <a:cubicBezTo>
                      <a:pt x="344573" y="294303"/>
                      <a:pt x="283507" y="365012"/>
                      <a:pt x="193988" y="365012"/>
                    </a:cubicBezTo>
                    <a:cubicBezTo>
                      <a:pt x="145143" y="365012"/>
                      <a:pt x="113264" y="345494"/>
                      <a:pt x="93604" y="315841"/>
                    </a:cubicBezTo>
                    <a:lnTo>
                      <a:pt x="92239" y="315841"/>
                    </a:lnTo>
                    <a:lnTo>
                      <a:pt x="92239" y="468065"/>
                    </a:lnTo>
                    <a:lnTo>
                      <a:pt x="0" y="468065"/>
                    </a:lnTo>
                    <a:lnTo>
                      <a:pt x="0" y="9433"/>
                    </a:lnTo>
                    <a:close/>
                    <a:moveTo>
                      <a:pt x="250969" y="185212"/>
                    </a:moveTo>
                    <a:cubicBezTo>
                      <a:pt x="250969" y="119869"/>
                      <a:pt x="227902" y="74083"/>
                      <a:pt x="170931" y="74083"/>
                    </a:cubicBezTo>
                    <a:cubicBezTo>
                      <a:pt x="113264" y="74083"/>
                      <a:pt x="90207" y="123244"/>
                      <a:pt x="90207" y="185212"/>
                    </a:cubicBezTo>
                    <a:cubicBezTo>
                      <a:pt x="90207" y="247825"/>
                      <a:pt x="119375" y="288920"/>
                      <a:pt x="174321" y="288920"/>
                    </a:cubicBezTo>
                    <a:cubicBezTo>
                      <a:pt x="221122" y="288920"/>
                      <a:pt x="250969" y="250517"/>
                      <a:pt x="250969" y="185212"/>
                    </a:cubicBezTo>
                    <a:close/>
                  </a:path>
                </a:pathLst>
              </a:custGeom>
              <a:solidFill>
                <a:srgbClr val="50936E"/>
              </a:solidFill>
              <a:ln w="19259" cap="flat">
                <a:noFill/>
                <a:prstDash val="solid"/>
                <a:miter/>
              </a:ln>
            </p:spPr>
            <p:txBody>
              <a:bodyPr rtlCol="0" anchor="ctr"/>
              <a:lstStyle/>
              <a:p>
                <a:endParaRPr lang="de-DE"/>
              </a:p>
            </p:txBody>
          </p:sp>
          <p:sp>
            <p:nvSpPr>
              <p:cNvPr id="16" name="Freihandform 15">
                <a:extLst>
                  <a:ext uri="{FF2B5EF4-FFF2-40B4-BE49-F238E27FC236}">
                    <a16:creationId xmlns:a16="http://schemas.microsoft.com/office/drawing/2014/main" id="{58FBA71C-A6FA-C288-AEC8-815984EC57B8}"/>
                  </a:ext>
                </a:extLst>
              </p:cNvPr>
              <p:cNvSpPr/>
              <p:nvPr/>
            </p:nvSpPr>
            <p:spPr>
              <a:xfrm>
                <a:off x="3799202" y="3225721"/>
                <a:ext cx="198081" cy="349524"/>
              </a:xfrm>
              <a:custGeom>
                <a:avLst/>
                <a:gdLst>
                  <a:gd name="connsiteX0" fmla="*/ 88869 w 198081"/>
                  <a:gd name="connsiteY0" fmla="*/ 59257 h 349524"/>
                  <a:gd name="connsiteX1" fmla="*/ 90903 w 198081"/>
                  <a:gd name="connsiteY1" fmla="*/ 59257 h 349524"/>
                  <a:gd name="connsiteX2" fmla="*/ 176353 w 198081"/>
                  <a:gd name="connsiteY2" fmla="*/ 0 h 349524"/>
                  <a:gd name="connsiteX3" fmla="*/ 198082 w 198081"/>
                  <a:gd name="connsiteY3" fmla="*/ 2684 h 349524"/>
                  <a:gd name="connsiteX4" fmla="*/ 198082 w 198081"/>
                  <a:gd name="connsiteY4" fmla="*/ 82834 h 349524"/>
                  <a:gd name="connsiteX5" fmla="*/ 196030 w 198081"/>
                  <a:gd name="connsiteY5" fmla="*/ 82834 h 349524"/>
                  <a:gd name="connsiteX6" fmla="*/ 92259 w 198081"/>
                  <a:gd name="connsiteY6" fmla="*/ 181156 h 349524"/>
                  <a:gd name="connsiteX7" fmla="*/ 92259 w 198081"/>
                  <a:gd name="connsiteY7" fmla="*/ 349524 h 349524"/>
                  <a:gd name="connsiteX8" fmla="*/ 0 w 198081"/>
                  <a:gd name="connsiteY8" fmla="*/ 349524 h 349524"/>
                  <a:gd name="connsiteX9" fmla="*/ 0 w 198081"/>
                  <a:gd name="connsiteY9" fmla="*/ 4040 h 349524"/>
                  <a:gd name="connsiteX10" fmla="*/ 88869 w 198081"/>
                  <a:gd name="connsiteY10" fmla="*/ 4040 h 349524"/>
                  <a:gd name="connsiteX11" fmla="*/ 88869 w 198081"/>
                  <a:gd name="connsiteY11" fmla="*/ 59257 h 34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1" h="349524">
                    <a:moveTo>
                      <a:pt x="88869" y="59257"/>
                    </a:moveTo>
                    <a:lnTo>
                      <a:pt x="90903" y="59257"/>
                    </a:lnTo>
                    <a:cubicBezTo>
                      <a:pt x="111936" y="20202"/>
                      <a:pt x="135680" y="0"/>
                      <a:pt x="176353" y="0"/>
                    </a:cubicBezTo>
                    <a:cubicBezTo>
                      <a:pt x="186540" y="0"/>
                      <a:pt x="192631" y="664"/>
                      <a:pt x="198082" y="2684"/>
                    </a:cubicBezTo>
                    <a:lnTo>
                      <a:pt x="198082" y="82834"/>
                    </a:lnTo>
                    <a:lnTo>
                      <a:pt x="196030" y="82834"/>
                    </a:lnTo>
                    <a:cubicBezTo>
                      <a:pt x="135680" y="76767"/>
                      <a:pt x="92259" y="108409"/>
                      <a:pt x="92259" y="181156"/>
                    </a:cubicBezTo>
                    <a:lnTo>
                      <a:pt x="92259" y="349524"/>
                    </a:lnTo>
                    <a:lnTo>
                      <a:pt x="0" y="349524"/>
                    </a:lnTo>
                    <a:lnTo>
                      <a:pt x="0" y="4040"/>
                    </a:lnTo>
                    <a:lnTo>
                      <a:pt x="88869" y="4040"/>
                    </a:lnTo>
                    <a:lnTo>
                      <a:pt x="88869" y="59257"/>
                    </a:lnTo>
                    <a:close/>
                  </a:path>
                </a:pathLst>
              </a:custGeom>
              <a:solidFill>
                <a:srgbClr val="50936E"/>
              </a:solidFill>
              <a:ln w="19259" cap="flat">
                <a:noFill/>
                <a:prstDash val="solid"/>
                <a:miter/>
              </a:ln>
            </p:spPr>
            <p:txBody>
              <a:bodyPr rtlCol="0" anchor="ctr"/>
              <a:lstStyle/>
              <a:p>
                <a:endParaRPr lang="de-DE"/>
              </a:p>
            </p:txBody>
          </p:sp>
          <p:sp>
            <p:nvSpPr>
              <p:cNvPr id="17" name="Freihandform 16">
                <a:extLst>
                  <a:ext uri="{FF2B5EF4-FFF2-40B4-BE49-F238E27FC236}">
                    <a16:creationId xmlns:a16="http://schemas.microsoft.com/office/drawing/2014/main" id="{768830D2-32E1-5057-F4FF-863A103119D6}"/>
                  </a:ext>
                </a:extLst>
              </p:cNvPr>
              <p:cNvSpPr/>
              <p:nvPr/>
            </p:nvSpPr>
            <p:spPr>
              <a:xfrm>
                <a:off x="4021510" y="3220328"/>
                <a:ext cx="363561" cy="365012"/>
              </a:xfrm>
              <a:custGeom>
                <a:avLst/>
                <a:gdLst>
                  <a:gd name="connsiteX0" fmla="*/ 0 w 363561"/>
                  <a:gd name="connsiteY0" fmla="*/ 182511 h 365012"/>
                  <a:gd name="connsiteX1" fmla="*/ 181775 w 363561"/>
                  <a:gd name="connsiteY1" fmla="*/ 0 h 365012"/>
                  <a:gd name="connsiteX2" fmla="*/ 363562 w 363561"/>
                  <a:gd name="connsiteY2" fmla="*/ 182511 h 365012"/>
                  <a:gd name="connsiteX3" fmla="*/ 181775 w 363561"/>
                  <a:gd name="connsiteY3" fmla="*/ 365012 h 365012"/>
                  <a:gd name="connsiteX4" fmla="*/ 0 w 363561"/>
                  <a:gd name="connsiteY4" fmla="*/ 182511 h 365012"/>
                  <a:gd name="connsiteX5" fmla="*/ 269977 w 363561"/>
                  <a:gd name="connsiteY5" fmla="*/ 182511 h 365012"/>
                  <a:gd name="connsiteX6" fmla="*/ 181775 w 363561"/>
                  <a:gd name="connsiteY6" fmla="*/ 69371 h 365012"/>
                  <a:gd name="connsiteX7" fmla="*/ 93595 w 363561"/>
                  <a:gd name="connsiteY7" fmla="*/ 182511 h 365012"/>
                  <a:gd name="connsiteX8" fmla="*/ 181775 w 363561"/>
                  <a:gd name="connsiteY8" fmla="*/ 294977 h 365012"/>
                  <a:gd name="connsiteX9" fmla="*/ 269977 w 363561"/>
                  <a:gd name="connsiteY9"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561" h="365012">
                    <a:moveTo>
                      <a:pt x="0" y="182511"/>
                    </a:moveTo>
                    <a:cubicBezTo>
                      <a:pt x="0" y="79468"/>
                      <a:pt x="73927" y="0"/>
                      <a:pt x="181775" y="0"/>
                    </a:cubicBezTo>
                    <a:cubicBezTo>
                      <a:pt x="289623" y="0"/>
                      <a:pt x="363562" y="79468"/>
                      <a:pt x="363562" y="182511"/>
                    </a:cubicBezTo>
                    <a:cubicBezTo>
                      <a:pt x="363562" y="285554"/>
                      <a:pt x="289635" y="365012"/>
                      <a:pt x="181775" y="365012"/>
                    </a:cubicBezTo>
                    <a:cubicBezTo>
                      <a:pt x="73916" y="365012"/>
                      <a:pt x="0" y="285554"/>
                      <a:pt x="0" y="182511"/>
                    </a:cubicBezTo>
                    <a:close/>
                    <a:moveTo>
                      <a:pt x="269977" y="182511"/>
                    </a:moveTo>
                    <a:cubicBezTo>
                      <a:pt x="269977" y="115167"/>
                      <a:pt x="238096" y="69371"/>
                      <a:pt x="181775" y="69371"/>
                    </a:cubicBezTo>
                    <a:cubicBezTo>
                      <a:pt x="124814" y="69371"/>
                      <a:pt x="93595" y="115167"/>
                      <a:pt x="93595" y="182511"/>
                    </a:cubicBezTo>
                    <a:cubicBezTo>
                      <a:pt x="93595" y="249855"/>
                      <a:pt x="124814" y="294977"/>
                      <a:pt x="181775" y="294977"/>
                    </a:cubicBezTo>
                    <a:cubicBezTo>
                      <a:pt x="238096" y="294977"/>
                      <a:pt x="269977" y="249845"/>
                      <a:pt x="269977" y="182511"/>
                    </a:cubicBezTo>
                    <a:close/>
                  </a:path>
                </a:pathLst>
              </a:custGeom>
              <a:solidFill>
                <a:srgbClr val="50936E"/>
              </a:solidFill>
              <a:ln w="19259" cap="flat">
                <a:noFill/>
                <a:prstDash val="solid"/>
                <a:miter/>
              </a:ln>
            </p:spPr>
            <p:txBody>
              <a:bodyPr rtlCol="0" anchor="ctr"/>
              <a:lstStyle/>
              <a:p>
                <a:endParaRPr lang="de-DE"/>
              </a:p>
            </p:txBody>
          </p:sp>
          <p:sp>
            <p:nvSpPr>
              <p:cNvPr id="18" name="Freihandform 17">
                <a:extLst>
                  <a:ext uri="{FF2B5EF4-FFF2-40B4-BE49-F238E27FC236}">
                    <a16:creationId xmlns:a16="http://schemas.microsoft.com/office/drawing/2014/main" id="{46550493-3DE5-A90C-FBCE-9E04D5658072}"/>
                  </a:ext>
                </a:extLst>
              </p:cNvPr>
              <p:cNvSpPr/>
              <p:nvPr/>
            </p:nvSpPr>
            <p:spPr>
              <a:xfrm>
                <a:off x="4408779" y="3121996"/>
                <a:ext cx="200106" cy="453920"/>
              </a:xfrm>
              <a:custGeom>
                <a:avLst/>
                <a:gdLst>
                  <a:gd name="connsiteX0" fmla="*/ 0 w 200106"/>
                  <a:gd name="connsiteY0" fmla="*/ 107764 h 453920"/>
                  <a:gd name="connsiteX1" fmla="*/ 48176 w 200106"/>
                  <a:gd name="connsiteY1" fmla="*/ 107764 h 453920"/>
                  <a:gd name="connsiteX2" fmla="*/ 48176 w 200106"/>
                  <a:gd name="connsiteY2" fmla="*/ 0 h 453920"/>
                  <a:gd name="connsiteX3" fmla="*/ 138371 w 200106"/>
                  <a:gd name="connsiteY3" fmla="*/ 0 h 453920"/>
                  <a:gd name="connsiteX4" fmla="*/ 138371 w 200106"/>
                  <a:gd name="connsiteY4" fmla="*/ 107764 h 453920"/>
                  <a:gd name="connsiteX5" fmla="*/ 198072 w 200106"/>
                  <a:gd name="connsiteY5" fmla="*/ 107764 h 453920"/>
                  <a:gd name="connsiteX6" fmla="*/ 198072 w 200106"/>
                  <a:gd name="connsiteY6" fmla="*/ 168367 h 453920"/>
                  <a:gd name="connsiteX7" fmla="*/ 138371 w 200106"/>
                  <a:gd name="connsiteY7" fmla="*/ 168367 h 453920"/>
                  <a:gd name="connsiteX8" fmla="*/ 138371 w 200106"/>
                  <a:gd name="connsiteY8" fmla="*/ 351542 h 453920"/>
                  <a:gd name="connsiteX9" fmla="*/ 172983 w 200106"/>
                  <a:gd name="connsiteY9" fmla="*/ 385905 h 453920"/>
                  <a:gd name="connsiteX10" fmla="*/ 200107 w 200106"/>
                  <a:gd name="connsiteY10" fmla="*/ 385231 h 453920"/>
                  <a:gd name="connsiteX11" fmla="*/ 200107 w 200106"/>
                  <a:gd name="connsiteY11" fmla="*/ 452575 h 453920"/>
                  <a:gd name="connsiteX12" fmla="*/ 142450 w 200106"/>
                  <a:gd name="connsiteY12" fmla="*/ 453921 h 453920"/>
                  <a:gd name="connsiteX13" fmla="*/ 48176 w 200106"/>
                  <a:gd name="connsiteY13" fmla="*/ 371097 h 453920"/>
                  <a:gd name="connsiteX14" fmla="*/ 48176 w 200106"/>
                  <a:gd name="connsiteY14" fmla="*/ 168367 h 453920"/>
                  <a:gd name="connsiteX15" fmla="*/ 0 w 200106"/>
                  <a:gd name="connsiteY15" fmla="*/ 168367 h 453920"/>
                  <a:gd name="connsiteX16" fmla="*/ 0 w 200106"/>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06" h="453920">
                    <a:moveTo>
                      <a:pt x="0" y="107764"/>
                    </a:moveTo>
                    <a:lnTo>
                      <a:pt x="48176" y="107764"/>
                    </a:lnTo>
                    <a:lnTo>
                      <a:pt x="48176" y="0"/>
                    </a:lnTo>
                    <a:lnTo>
                      <a:pt x="138371" y="0"/>
                    </a:lnTo>
                    <a:lnTo>
                      <a:pt x="138371" y="107764"/>
                    </a:lnTo>
                    <a:lnTo>
                      <a:pt x="198072" y="107764"/>
                    </a:lnTo>
                    <a:lnTo>
                      <a:pt x="198072" y="168367"/>
                    </a:lnTo>
                    <a:lnTo>
                      <a:pt x="138371" y="168367"/>
                    </a:lnTo>
                    <a:lnTo>
                      <a:pt x="138371" y="351542"/>
                    </a:lnTo>
                    <a:cubicBezTo>
                      <a:pt x="138371" y="377156"/>
                      <a:pt x="152617" y="385905"/>
                      <a:pt x="172983" y="385905"/>
                    </a:cubicBezTo>
                    <a:cubicBezTo>
                      <a:pt x="184506" y="385905"/>
                      <a:pt x="200107" y="385231"/>
                      <a:pt x="200107" y="385231"/>
                    </a:cubicBezTo>
                    <a:lnTo>
                      <a:pt x="200107" y="452575"/>
                    </a:lnTo>
                    <a:cubicBezTo>
                      <a:pt x="200107" y="452575"/>
                      <a:pt x="179083" y="453921"/>
                      <a:pt x="142450" y="453921"/>
                    </a:cubicBezTo>
                    <a:cubicBezTo>
                      <a:pt x="97690" y="453921"/>
                      <a:pt x="48176" y="436422"/>
                      <a:pt x="48176" y="371097"/>
                    </a:cubicBezTo>
                    <a:lnTo>
                      <a:pt x="48176"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19" name="Freihandform 18">
                <a:extLst>
                  <a:ext uri="{FF2B5EF4-FFF2-40B4-BE49-F238E27FC236}">
                    <a16:creationId xmlns:a16="http://schemas.microsoft.com/office/drawing/2014/main" id="{9A0238A4-F2C6-CA1D-DDF2-107B00944261}"/>
                  </a:ext>
                </a:extLst>
              </p:cNvPr>
              <p:cNvSpPr/>
              <p:nvPr/>
            </p:nvSpPr>
            <p:spPr>
              <a:xfrm>
                <a:off x="4646489" y="3220328"/>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3 w 343225"/>
                  <a:gd name="connsiteY3" fmla="*/ 208115 h 365012"/>
                  <a:gd name="connsiteX4" fmla="*/ 179752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3" y="208115"/>
                    </a:lnTo>
                    <a:cubicBezTo>
                      <a:pt x="97690" y="261324"/>
                      <a:pt x="127527" y="294303"/>
                      <a:pt x="179752"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5"/>
                      <a:pt x="215038"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sp>
            <p:nvSpPr>
              <p:cNvPr id="20" name="Freihandform 19">
                <a:extLst>
                  <a:ext uri="{FF2B5EF4-FFF2-40B4-BE49-F238E27FC236}">
                    <a16:creationId xmlns:a16="http://schemas.microsoft.com/office/drawing/2014/main" id="{F38AC7C7-7CFF-848B-A3EF-224CFAA4E3BF}"/>
                  </a:ext>
                </a:extLst>
              </p:cNvPr>
              <p:cNvSpPr/>
              <p:nvPr/>
            </p:nvSpPr>
            <p:spPr>
              <a:xfrm>
                <a:off x="5032138" y="3220328"/>
                <a:ext cx="335070" cy="365012"/>
              </a:xfrm>
              <a:custGeom>
                <a:avLst/>
                <a:gdLst>
                  <a:gd name="connsiteX0" fmla="*/ 0 w 335070"/>
                  <a:gd name="connsiteY0" fmla="*/ 182511 h 365012"/>
                  <a:gd name="connsiteX1" fmla="*/ 173659 w 335070"/>
                  <a:gd name="connsiteY1" fmla="*/ 0 h 365012"/>
                  <a:gd name="connsiteX2" fmla="*/ 331691 w 335070"/>
                  <a:gd name="connsiteY2" fmla="*/ 126620 h 365012"/>
                  <a:gd name="connsiteX3" fmla="*/ 241476 w 335070"/>
                  <a:gd name="connsiteY3" fmla="*/ 126620 h 365012"/>
                  <a:gd name="connsiteX4" fmla="*/ 177709 w 335070"/>
                  <a:gd name="connsiteY4" fmla="*/ 73401 h 365012"/>
                  <a:gd name="connsiteX5" fmla="*/ 93604 w 335070"/>
                  <a:gd name="connsiteY5" fmla="*/ 182511 h 365012"/>
                  <a:gd name="connsiteX6" fmla="*/ 176363 w 335070"/>
                  <a:gd name="connsiteY6" fmla="*/ 291611 h 365012"/>
                  <a:gd name="connsiteX7" fmla="*/ 246231 w 335070"/>
                  <a:gd name="connsiteY7" fmla="*/ 233019 h 365012"/>
                  <a:gd name="connsiteX8" fmla="*/ 335071 w 335070"/>
                  <a:gd name="connsiteY8" fmla="*/ 233019 h 365012"/>
                  <a:gd name="connsiteX9" fmla="*/ 178395 w 335070"/>
                  <a:gd name="connsiteY9" fmla="*/ 365012 h 365012"/>
                  <a:gd name="connsiteX10" fmla="*/ 0 w 335070"/>
                  <a:gd name="connsiteY10"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070" h="365012">
                    <a:moveTo>
                      <a:pt x="0" y="182511"/>
                    </a:moveTo>
                    <a:cubicBezTo>
                      <a:pt x="0" y="79468"/>
                      <a:pt x="67826" y="0"/>
                      <a:pt x="173659" y="0"/>
                    </a:cubicBezTo>
                    <a:cubicBezTo>
                      <a:pt x="263847" y="0"/>
                      <a:pt x="319470" y="51873"/>
                      <a:pt x="331691" y="126620"/>
                    </a:cubicBezTo>
                    <a:lnTo>
                      <a:pt x="241476" y="126620"/>
                    </a:lnTo>
                    <a:cubicBezTo>
                      <a:pt x="235375" y="96304"/>
                      <a:pt x="211631" y="73401"/>
                      <a:pt x="177709" y="73401"/>
                    </a:cubicBezTo>
                    <a:cubicBezTo>
                      <a:pt x="122094" y="73401"/>
                      <a:pt x="93604" y="115841"/>
                      <a:pt x="93604" y="182511"/>
                    </a:cubicBezTo>
                    <a:cubicBezTo>
                      <a:pt x="93604" y="247825"/>
                      <a:pt x="120069" y="291611"/>
                      <a:pt x="176363" y="291611"/>
                    </a:cubicBezTo>
                    <a:cubicBezTo>
                      <a:pt x="213646" y="291611"/>
                      <a:pt x="240101" y="272093"/>
                      <a:pt x="246231" y="233019"/>
                    </a:cubicBezTo>
                    <a:lnTo>
                      <a:pt x="335071" y="233019"/>
                    </a:lnTo>
                    <a:cubicBezTo>
                      <a:pt x="328980" y="306456"/>
                      <a:pt x="271332" y="365012"/>
                      <a:pt x="178395" y="365012"/>
                    </a:cubicBezTo>
                    <a:cubicBezTo>
                      <a:pt x="68503" y="365012"/>
                      <a:pt x="0" y="285554"/>
                      <a:pt x="0" y="182511"/>
                    </a:cubicBezTo>
                    <a:close/>
                  </a:path>
                </a:pathLst>
              </a:custGeom>
              <a:solidFill>
                <a:srgbClr val="50936E"/>
              </a:solidFill>
              <a:ln w="19259" cap="flat">
                <a:noFill/>
                <a:prstDash val="solid"/>
                <a:miter/>
              </a:ln>
            </p:spPr>
            <p:txBody>
              <a:bodyPr rtlCol="0" anchor="ctr"/>
              <a:lstStyle/>
              <a:p>
                <a:endParaRPr lang="de-DE"/>
              </a:p>
            </p:txBody>
          </p:sp>
          <p:sp>
            <p:nvSpPr>
              <p:cNvPr id="21" name="Freihandform 20">
                <a:extLst>
                  <a:ext uri="{FF2B5EF4-FFF2-40B4-BE49-F238E27FC236}">
                    <a16:creationId xmlns:a16="http://schemas.microsoft.com/office/drawing/2014/main" id="{8F6DA7FC-D71A-BE10-F1E1-F5967F2949AB}"/>
                  </a:ext>
                </a:extLst>
              </p:cNvPr>
              <p:cNvSpPr/>
              <p:nvPr/>
            </p:nvSpPr>
            <p:spPr>
              <a:xfrm>
                <a:off x="5395398" y="3121996"/>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22" name="Freihandform 21">
                <a:extLst>
                  <a:ext uri="{FF2B5EF4-FFF2-40B4-BE49-F238E27FC236}">
                    <a16:creationId xmlns:a16="http://schemas.microsoft.com/office/drawing/2014/main" id="{8481769C-170B-FAE1-5385-2767B2B0D004}"/>
                  </a:ext>
                </a:extLst>
              </p:cNvPr>
              <p:cNvSpPr/>
              <p:nvPr/>
            </p:nvSpPr>
            <p:spPr>
              <a:xfrm>
                <a:off x="5658633" y="3093718"/>
                <a:ext cx="92266" cy="481527"/>
              </a:xfrm>
              <a:custGeom>
                <a:avLst/>
                <a:gdLst>
                  <a:gd name="connsiteX0" fmla="*/ 0 w 92266"/>
                  <a:gd name="connsiteY0" fmla="*/ 0 h 481527"/>
                  <a:gd name="connsiteX1" fmla="*/ 92266 w 92266"/>
                  <a:gd name="connsiteY1" fmla="*/ 0 h 481527"/>
                  <a:gd name="connsiteX2" fmla="*/ 92266 w 92266"/>
                  <a:gd name="connsiteY2" fmla="*/ 82160 h 481527"/>
                  <a:gd name="connsiteX3" fmla="*/ 0 w 92266"/>
                  <a:gd name="connsiteY3" fmla="*/ 82160 h 481527"/>
                  <a:gd name="connsiteX4" fmla="*/ 0 w 92266"/>
                  <a:gd name="connsiteY4" fmla="*/ 0 h 481527"/>
                  <a:gd name="connsiteX5" fmla="*/ 0 w 92266"/>
                  <a:gd name="connsiteY5" fmla="*/ 136043 h 481527"/>
                  <a:gd name="connsiteX6" fmla="*/ 92266 w 92266"/>
                  <a:gd name="connsiteY6" fmla="*/ 136043 h 481527"/>
                  <a:gd name="connsiteX7" fmla="*/ 92266 w 92266"/>
                  <a:gd name="connsiteY7" fmla="*/ 481527 h 481527"/>
                  <a:gd name="connsiteX8" fmla="*/ 0 w 92266"/>
                  <a:gd name="connsiteY8" fmla="*/ 481527 h 481527"/>
                  <a:gd name="connsiteX9" fmla="*/ 0 w 92266"/>
                  <a:gd name="connsiteY9" fmla="*/ 136043 h 48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266" h="481527">
                    <a:moveTo>
                      <a:pt x="0" y="0"/>
                    </a:moveTo>
                    <a:lnTo>
                      <a:pt x="92266" y="0"/>
                    </a:lnTo>
                    <a:lnTo>
                      <a:pt x="92266" y="82160"/>
                    </a:lnTo>
                    <a:lnTo>
                      <a:pt x="0" y="82160"/>
                    </a:lnTo>
                    <a:lnTo>
                      <a:pt x="0" y="0"/>
                    </a:lnTo>
                    <a:close/>
                    <a:moveTo>
                      <a:pt x="0" y="136043"/>
                    </a:moveTo>
                    <a:lnTo>
                      <a:pt x="92266" y="136043"/>
                    </a:lnTo>
                    <a:lnTo>
                      <a:pt x="92266" y="481527"/>
                    </a:lnTo>
                    <a:lnTo>
                      <a:pt x="0" y="481527"/>
                    </a:lnTo>
                    <a:lnTo>
                      <a:pt x="0" y="136043"/>
                    </a:lnTo>
                    <a:close/>
                  </a:path>
                </a:pathLst>
              </a:custGeom>
              <a:solidFill>
                <a:srgbClr val="50936E"/>
              </a:solidFill>
              <a:ln w="19259" cap="flat">
                <a:noFill/>
                <a:prstDash val="solid"/>
                <a:miter/>
              </a:ln>
            </p:spPr>
            <p:txBody>
              <a:bodyPr rtlCol="0" anchor="ctr"/>
              <a:lstStyle/>
              <a:p>
                <a:endParaRPr lang="de-DE"/>
              </a:p>
            </p:txBody>
          </p:sp>
          <p:sp>
            <p:nvSpPr>
              <p:cNvPr id="23" name="Freihandform 22">
                <a:extLst>
                  <a:ext uri="{FF2B5EF4-FFF2-40B4-BE49-F238E27FC236}">
                    <a16:creationId xmlns:a16="http://schemas.microsoft.com/office/drawing/2014/main" id="{3B766515-B49E-B308-C3C1-64BC3D65C79A}"/>
                  </a:ext>
                </a:extLst>
              </p:cNvPr>
              <p:cNvSpPr/>
              <p:nvPr/>
            </p:nvSpPr>
            <p:spPr>
              <a:xfrm>
                <a:off x="5831155" y="3220328"/>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24" name="Freihandform 23">
                <a:extLst>
                  <a:ext uri="{FF2B5EF4-FFF2-40B4-BE49-F238E27FC236}">
                    <a16:creationId xmlns:a16="http://schemas.microsoft.com/office/drawing/2014/main" id="{A7F6D249-BE69-C499-6E1C-3E780EFB357C}"/>
                  </a:ext>
                </a:extLst>
              </p:cNvPr>
              <p:cNvSpPr/>
              <p:nvPr/>
            </p:nvSpPr>
            <p:spPr>
              <a:xfrm>
                <a:off x="6201053" y="3220328"/>
                <a:ext cx="337114" cy="472776"/>
              </a:xfrm>
              <a:custGeom>
                <a:avLst/>
                <a:gdLst>
                  <a:gd name="connsiteX0" fmla="*/ 7456 w 337114"/>
                  <a:gd name="connsiteY0" fmla="*/ 365012 h 472776"/>
                  <a:gd name="connsiteX1" fmla="*/ 99026 w 337114"/>
                  <a:gd name="connsiteY1" fmla="*/ 365012 h 472776"/>
                  <a:gd name="connsiteX2" fmla="*/ 168905 w 337114"/>
                  <a:gd name="connsiteY2" fmla="*/ 403415 h 472776"/>
                  <a:gd name="connsiteX3" fmla="*/ 246221 w 337114"/>
                  <a:gd name="connsiteY3" fmla="*/ 331360 h 472776"/>
                  <a:gd name="connsiteX4" fmla="*/ 246221 w 337114"/>
                  <a:gd name="connsiteY4" fmla="*/ 293631 h 472776"/>
                  <a:gd name="connsiteX5" fmla="*/ 244187 w 337114"/>
                  <a:gd name="connsiteY5" fmla="*/ 293631 h 472776"/>
                  <a:gd name="connsiteX6" fmla="*/ 153294 w 337114"/>
                  <a:gd name="connsiteY6" fmla="*/ 334051 h 472776"/>
                  <a:gd name="connsiteX7" fmla="*/ 0 w 337114"/>
                  <a:gd name="connsiteY7" fmla="*/ 169050 h 472776"/>
                  <a:gd name="connsiteX8" fmla="*/ 150583 w 337114"/>
                  <a:gd name="connsiteY8" fmla="*/ 0 h 472776"/>
                  <a:gd name="connsiteX9" fmla="*/ 246918 w 337114"/>
                  <a:gd name="connsiteY9" fmla="*/ 45796 h 472776"/>
                  <a:gd name="connsiteX10" fmla="*/ 248256 w 337114"/>
                  <a:gd name="connsiteY10" fmla="*/ 45796 h 472776"/>
                  <a:gd name="connsiteX11" fmla="*/ 248256 w 337114"/>
                  <a:gd name="connsiteY11" fmla="*/ 9433 h 472776"/>
                  <a:gd name="connsiteX12" fmla="*/ 337115 w 337114"/>
                  <a:gd name="connsiteY12" fmla="*/ 9433 h 472776"/>
                  <a:gd name="connsiteX13" fmla="*/ 337115 w 337114"/>
                  <a:gd name="connsiteY13" fmla="*/ 328630 h 472776"/>
                  <a:gd name="connsiteX14" fmla="*/ 295743 w 337114"/>
                  <a:gd name="connsiteY14" fmla="*/ 433702 h 472776"/>
                  <a:gd name="connsiteX15" fmla="*/ 170260 w 337114"/>
                  <a:gd name="connsiteY15" fmla="*/ 472776 h 472776"/>
                  <a:gd name="connsiteX16" fmla="*/ 7456 w 337114"/>
                  <a:gd name="connsiteY16" fmla="*/ 365012 h 472776"/>
                  <a:gd name="connsiteX17" fmla="*/ 250986 w 337114"/>
                  <a:gd name="connsiteY17" fmla="*/ 167021 h 472776"/>
                  <a:gd name="connsiteX18" fmla="*/ 168228 w 337114"/>
                  <a:gd name="connsiteY18" fmla="*/ 73401 h 472776"/>
                  <a:gd name="connsiteX19" fmla="*/ 90215 w 337114"/>
                  <a:gd name="connsiteY19" fmla="*/ 167695 h 472776"/>
                  <a:gd name="connsiteX20" fmla="*/ 168905 w 337114"/>
                  <a:gd name="connsiteY20" fmla="*/ 260650 h 472776"/>
                  <a:gd name="connsiteX21" fmla="*/ 250986 w 337114"/>
                  <a:gd name="connsiteY21" fmla="*/ 167021 h 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7114" h="472776">
                    <a:moveTo>
                      <a:pt x="7456" y="365012"/>
                    </a:moveTo>
                    <a:lnTo>
                      <a:pt x="99026" y="365012"/>
                    </a:lnTo>
                    <a:cubicBezTo>
                      <a:pt x="106502" y="386550"/>
                      <a:pt x="126160" y="403415"/>
                      <a:pt x="168905" y="403415"/>
                    </a:cubicBezTo>
                    <a:cubicBezTo>
                      <a:pt x="221120" y="403415"/>
                      <a:pt x="246221" y="378473"/>
                      <a:pt x="246221" y="331360"/>
                    </a:cubicBezTo>
                    <a:lnTo>
                      <a:pt x="246221" y="293631"/>
                    </a:lnTo>
                    <a:lnTo>
                      <a:pt x="244187" y="293631"/>
                    </a:lnTo>
                    <a:cubicBezTo>
                      <a:pt x="223850" y="316553"/>
                      <a:pt x="197396" y="334051"/>
                      <a:pt x="153294" y="334051"/>
                    </a:cubicBezTo>
                    <a:cubicBezTo>
                      <a:pt x="75979" y="334051"/>
                      <a:pt x="0" y="273403"/>
                      <a:pt x="0" y="169050"/>
                    </a:cubicBezTo>
                    <a:cubicBezTo>
                      <a:pt x="0" y="65988"/>
                      <a:pt x="62402" y="0"/>
                      <a:pt x="150583" y="0"/>
                    </a:cubicBezTo>
                    <a:cubicBezTo>
                      <a:pt x="194006" y="0"/>
                      <a:pt x="225885" y="16845"/>
                      <a:pt x="246918" y="45796"/>
                    </a:cubicBezTo>
                    <a:lnTo>
                      <a:pt x="248256" y="45796"/>
                    </a:lnTo>
                    <a:lnTo>
                      <a:pt x="248256" y="9433"/>
                    </a:lnTo>
                    <a:lnTo>
                      <a:pt x="337115" y="9433"/>
                    </a:lnTo>
                    <a:lnTo>
                      <a:pt x="337115" y="328630"/>
                    </a:lnTo>
                    <a:cubicBezTo>
                      <a:pt x="337115" y="377127"/>
                      <a:pt x="321523" y="410144"/>
                      <a:pt x="295743" y="433702"/>
                    </a:cubicBezTo>
                    <a:cubicBezTo>
                      <a:pt x="266576" y="460662"/>
                      <a:pt x="221799" y="472776"/>
                      <a:pt x="170260" y="472776"/>
                    </a:cubicBezTo>
                    <a:cubicBezTo>
                      <a:pt x="75300" y="472776"/>
                      <a:pt x="16964" y="432356"/>
                      <a:pt x="7456" y="365012"/>
                    </a:cubicBezTo>
                    <a:close/>
                    <a:moveTo>
                      <a:pt x="250986" y="167021"/>
                    </a:moveTo>
                    <a:cubicBezTo>
                      <a:pt x="250986" y="116513"/>
                      <a:pt x="223850" y="73401"/>
                      <a:pt x="168228" y="73401"/>
                    </a:cubicBezTo>
                    <a:cubicBezTo>
                      <a:pt x="121434" y="73401"/>
                      <a:pt x="90215" y="109765"/>
                      <a:pt x="90215" y="167695"/>
                    </a:cubicBezTo>
                    <a:cubicBezTo>
                      <a:pt x="90215" y="226287"/>
                      <a:pt x="121434" y="260650"/>
                      <a:pt x="168905" y="260650"/>
                    </a:cubicBezTo>
                    <a:cubicBezTo>
                      <a:pt x="227221" y="260650"/>
                      <a:pt x="250986" y="218210"/>
                      <a:pt x="250986" y="167021"/>
                    </a:cubicBezTo>
                    <a:close/>
                  </a:path>
                </a:pathLst>
              </a:custGeom>
              <a:solidFill>
                <a:srgbClr val="50936E"/>
              </a:solidFill>
              <a:ln w="19259" cap="flat">
                <a:noFill/>
                <a:prstDash val="solid"/>
                <a:miter/>
              </a:ln>
            </p:spPr>
            <p:txBody>
              <a:bodyPr rtlCol="0" anchor="ctr"/>
              <a:lstStyle/>
              <a:p>
                <a:endParaRPr lang="de-DE"/>
              </a:p>
            </p:txBody>
          </p:sp>
        </p:grpSp>
        <p:grpSp>
          <p:nvGrpSpPr>
            <p:cNvPr id="8" name="Grafik 7">
              <a:extLst>
                <a:ext uri="{FF2B5EF4-FFF2-40B4-BE49-F238E27FC236}">
                  <a16:creationId xmlns:a16="http://schemas.microsoft.com/office/drawing/2014/main" id="{8D843050-A580-C6E3-549F-4E68E5C0BA2D}"/>
                </a:ext>
              </a:extLst>
            </p:cNvPr>
            <p:cNvGrpSpPr/>
            <p:nvPr/>
          </p:nvGrpSpPr>
          <p:grpSpPr>
            <a:xfrm>
              <a:off x="1217876" y="3774014"/>
              <a:ext cx="1854882" cy="579773"/>
              <a:chOff x="3395850" y="3805292"/>
              <a:chExt cx="1902558" cy="594675"/>
            </a:xfrm>
            <a:solidFill>
              <a:srgbClr val="50936E"/>
            </a:solidFill>
          </p:grpSpPr>
          <p:sp>
            <p:nvSpPr>
              <p:cNvPr id="9" name="Freihandform 8">
                <a:extLst>
                  <a:ext uri="{FF2B5EF4-FFF2-40B4-BE49-F238E27FC236}">
                    <a16:creationId xmlns:a16="http://schemas.microsoft.com/office/drawing/2014/main" id="{D2DDF285-D81A-8655-AA1D-BFA59D0484A8}"/>
                  </a:ext>
                </a:extLst>
              </p:cNvPr>
              <p:cNvSpPr/>
              <p:nvPr/>
            </p:nvSpPr>
            <p:spPr>
              <a:xfrm>
                <a:off x="3952641" y="3933048"/>
                <a:ext cx="339131" cy="366082"/>
              </a:xfrm>
              <a:custGeom>
                <a:avLst/>
                <a:gdLst>
                  <a:gd name="connsiteX0" fmla="*/ 325993 w 339131"/>
                  <a:gd name="connsiteY0" fmla="*/ 302773 h 366082"/>
                  <a:gd name="connsiteX1" fmla="*/ 325993 w 339131"/>
                  <a:gd name="connsiteY1" fmla="*/ 124644 h 366082"/>
                  <a:gd name="connsiteX2" fmla="*/ 312850 w 339131"/>
                  <a:gd name="connsiteY2" fmla="*/ 63310 h 366082"/>
                  <a:gd name="connsiteX3" fmla="*/ 272809 w 339131"/>
                  <a:gd name="connsiteY3" fmla="*/ 20866 h 366082"/>
                  <a:gd name="connsiteX4" fmla="*/ 230013 w 339131"/>
                  <a:gd name="connsiteY4" fmla="*/ 5228 h 366082"/>
                  <a:gd name="connsiteX5" fmla="*/ 172223 w 339131"/>
                  <a:gd name="connsiteY5" fmla="*/ 0 h 366082"/>
                  <a:gd name="connsiteX6" fmla="*/ 104475 w 339131"/>
                  <a:gd name="connsiteY6" fmla="*/ 9796 h 366082"/>
                  <a:gd name="connsiteX7" fmla="*/ 56560 w 339131"/>
                  <a:gd name="connsiteY7" fmla="*/ 35232 h 366082"/>
                  <a:gd name="connsiteX8" fmla="*/ 27618 w 339131"/>
                  <a:gd name="connsiteY8" fmla="*/ 71789 h 366082"/>
                  <a:gd name="connsiteX9" fmla="*/ 17086 w 339131"/>
                  <a:gd name="connsiteY9" fmla="*/ 114842 h 366082"/>
                  <a:gd name="connsiteX10" fmla="*/ 112449 w 339131"/>
                  <a:gd name="connsiteY10" fmla="*/ 114842 h 366082"/>
                  <a:gd name="connsiteX11" fmla="*/ 128865 w 339131"/>
                  <a:gd name="connsiteY11" fmla="*/ 81587 h 366082"/>
                  <a:gd name="connsiteX12" fmla="*/ 173557 w 339131"/>
                  <a:gd name="connsiteY12" fmla="*/ 69195 h 366082"/>
                  <a:gd name="connsiteX13" fmla="*/ 213029 w 339131"/>
                  <a:gd name="connsiteY13" fmla="*/ 80927 h 366082"/>
                  <a:gd name="connsiteX14" fmla="*/ 225457 w 339131"/>
                  <a:gd name="connsiteY14" fmla="*/ 110887 h 366082"/>
                  <a:gd name="connsiteX15" fmla="*/ 204439 w 339131"/>
                  <a:gd name="connsiteY15" fmla="*/ 139669 h 366082"/>
                  <a:gd name="connsiteX16" fmla="*/ 137399 w 339131"/>
                  <a:gd name="connsiteY16" fmla="*/ 155306 h 366082"/>
                  <a:gd name="connsiteX17" fmla="*/ 83506 w 339131"/>
                  <a:gd name="connsiteY17" fmla="*/ 165055 h 366082"/>
                  <a:gd name="connsiteX18" fmla="*/ 40141 w 339131"/>
                  <a:gd name="connsiteY18" fmla="*/ 182676 h 366082"/>
                  <a:gd name="connsiteX19" fmla="*/ 10534 w 339131"/>
                  <a:gd name="connsiteY19" fmla="*/ 213365 h 366082"/>
                  <a:gd name="connsiteX20" fmla="*/ 0 w 339131"/>
                  <a:gd name="connsiteY20" fmla="*/ 261037 h 366082"/>
                  <a:gd name="connsiteX21" fmla="*/ 8542 w 339131"/>
                  <a:gd name="connsiteY21" fmla="*/ 306732 h 366082"/>
                  <a:gd name="connsiteX22" fmla="*/ 33498 w 339131"/>
                  <a:gd name="connsiteY22" fmla="*/ 339326 h 366082"/>
                  <a:gd name="connsiteX23" fmla="*/ 71640 w 339131"/>
                  <a:gd name="connsiteY23" fmla="*/ 358924 h 366082"/>
                  <a:gd name="connsiteX24" fmla="*/ 119654 w 339131"/>
                  <a:gd name="connsiteY24" fmla="*/ 366083 h 366082"/>
                  <a:gd name="connsiteX25" fmla="*/ 184037 w 339131"/>
                  <a:gd name="connsiteY25" fmla="*/ 352423 h 366082"/>
                  <a:gd name="connsiteX26" fmla="*/ 226785 w 339131"/>
                  <a:gd name="connsiteY26" fmla="*/ 314552 h 366082"/>
                  <a:gd name="connsiteX27" fmla="*/ 231337 w 339131"/>
                  <a:gd name="connsiteY27" fmla="*/ 340649 h 366082"/>
                  <a:gd name="connsiteX28" fmla="*/ 238599 w 339131"/>
                  <a:gd name="connsiteY28" fmla="*/ 356949 h 366082"/>
                  <a:gd name="connsiteX29" fmla="*/ 339132 w 339131"/>
                  <a:gd name="connsiteY29" fmla="*/ 356949 h 366082"/>
                  <a:gd name="connsiteX30" fmla="*/ 339132 w 339131"/>
                  <a:gd name="connsiteY30" fmla="*/ 351108 h 366082"/>
                  <a:gd name="connsiteX31" fmla="*/ 325991 w 339131"/>
                  <a:gd name="connsiteY31" fmla="*/ 302773 h 366082"/>
                  <a:gd name="connsiteX32" fmla="*/ 228112 w 339131"/>
                  <a:gd name="connsiteY32" fmla="*/ 232303 h 366082"/>
                  <a:gd name="connsiteX33" fmla="*/ 207046 w 339131"/>
                  <a:gd name="connsiteY33" fmla="*/ 279975 h 366082"/>
                  <a:gd name="connsiteX34" fmla="*/ 151822 w 339131"/>
                  <a:gd name="connsiteY34" fmla="*/ 298909 h 366082"/>
                  <a:gd name="connsiteX35" fmla="*/ 115673 w 339131"/>
                  <a:gd name="connsiteY35" fmla="*/ 289676 h 366082"/>
                  <a:gd name="connsiteX36" fmla="*/ 100584 w 339131"/>
                  <a:gd name="connsiteY36" fmla="*/ 257738 h 366082"/>
                  <a:gd name="connsiteX37" fmla="*/ 116999 w 339131"/>
                  <a:gd name="connsiteY37" fmla="*/ 224484 h 366082"/>
                  <a:gd name="connsiteX38" fmla="*/ 167622 w 339131"/>
                  <a:gd name="connsiteY38" fmla="*/ 206863 h 366082"/>
                  <a:gd name="connsiteX39" fmla="*/ 200455 w 339131"/>
                  <a:gd name="connsiteY39" fmla="*/ 199044 h 366082"/>
                  <a:gd name="connsiteX40" fmla="*/ 228114 w 339131"/>
                  <a:gd name="connsiteY40" fmla="*/ 187245 h 366082"/>
                  <a:gd name="connsiteX41" fmla="*/ 228114 w 339131"/>
                  <a:gd name="connsiteY41" fmla="*/ 232305 h 36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9131" h="366082">
                    <a:moveTo>
                      <a:pt x="325993" y="302773"/>
                    </a:moveTo>
                    <a:lnTo>
                      <a:pt x="325993" y="124644"/>
                    </a:lnTo>
                    <a:cubicBezTo>
                      <a:pt x="325993" y="101134"/>
                      <a:pt x="321623" y="80691"/>
                      <a:pt x="312850" y="63310"/>
                    </a:cubicBezTo>
                    <a:cubicBezTo>
                      <a:pt x="304499" y="45457"/>
                      <a:pt x="291168" y="31325"/>
                      <a:pt x="272809" y="20866"/>
                    </a:cubicBezTo>
                    <a:cubicBezTo>
                      <a:pt x="260517" y="13472"/>
                      <a:pt x="246239" y="8242"/>
                      <a:pt x="230013" y="5228"/>
                    </a:cubicBezTo>
                    <a:cubicBezTo>
                      <a:pt x="213883" y="1740"/>
                      <a:pt x="194571" y="0"/>
                      <a:pt x="172223" y="0"/>
                    </a:cubicBezTo>
                    <a:cubicBezTo>
                      <a:pt x="146416" y="0"/>
                      <a:pt x="123787" y="3251"/>
                      <a:pt x="104475" y="9796"/>
                    </a:cubicBezTo>
                    <a:cubicBezTo>
                      <a:pt x="85261" y="15875"/>
                      <a:pt x="69272" y="24354"/>
                      <a:pt x="56560" y="35232"/>
                    </a:cubicBezTo>
                    <a:cubicBezTo>
                      <a:pt x="43845" y="45689"/>
                      <a:pt x="34210" y="57846"/>
                      <a:pt x="27618" y="71789"/>
                    </a:cubicBezTo>
                    <a:cubicBezTo>
                      <a:pt x="21069" y="85681"/>
                      <a:pt x="17558" y="100052"/>
                      <a:pt x="17086" y="114842"/>
                    </a:cubicBezTo>
                    <a:lnTo>
                      <a:pt x="112449" y="114842"/>
                    </a:lnTo>
                    <a:cubicBezTo>
                      <a:pt x="113775" y="100901"/>
                      <a:pt x="119230" y="89829"/>
                      <a:pt x="128865" y="81587"/>
                    </a:cubicBezTo>
                    <a:cubicBezTo>
                      <a:pt x="138921" y="73294"/>
                      <a:pt x="153818" y="69195"/>
                      <a:pt x="173557" y="69195"/>
                    </a:cubicBezTo>
                    <a:cubicBezTo>
                      <a:pt x="191487" y="69195"/>
                      <a:pt x="204630" y="73106"/>
                      <a:pt x="213029" y="80927"/>
                    </a:cubicBezTo>
                    <a:cubicBezTo>
                      <a:pt x="221284" y="88321"/>
                      <a:pt x="225457" y="98312"/>
                      <a:pt x="225457" y="110887"/>
                    </a:cubicBezTo>
                    <a:cubicBezTo>
                      <a:pt x="225457" y="123982"/>
                      <a:pt x="218436" y="133542"/>
                      <a:pt x="204439" y="139669"/>
                    </a:cubicBezTo>
                    <a:cubicBezTo>
                      <a:pt x="190826" y="145745"/>
                      <a:pt x="168526" y="150928"/>
                      <a:pt x="137399" y="155306"/>
                    </a:cubicBezTo>
                    <a:cubicBezTo>
                      <a:pt x="118141" y="157473"/>
                      <a:pt x="100112" y="160724"/>
                      <a:pt x="83506" y="165055"/>
                    </a:cubicBezTo>
                    <a:cubicBezTo>
                      <a:pt x="66853" y="168966"/>
                      <a:pt x="52379" y="174857"/>
                      <a:pt x="40141" y="182676"/>
                    </a:cubicBezTo>
                    <a:cubicBezTo>
                      <a:pt x="27855" y="190567"/>
                      <a:pt x="17982" y="200741"/>
                      <a:pt x="10534" y="213365"/>
                    </a:cubicBezTo>
                    <a:cubicBezTo>
                      <a:pt x="3563" y="225989"/>
                      <a:pt x="0" y="241911"/>
                      <a:pt x="0" y="261037"/>
                    </a:cubicBezTo>
                    <a:cubicBezTo>
                      <a:pt x="0" y="277997"/>
                      <a:pt x="2846" y="293162"/>
                      <a:pt x="8542" y="306732"/>
                    </a:cubicBezTo>
                    <a:cubicBezTo>
                      <a:pt x="14710" y="319733"/>
                      <a:pt x="23057" y="330663"/>
                      <a:pt x="33498" y="339326"/>
                    </a:cubicBezTo>
                    <a:cubicBezTo>
                      <a:pt x="44503" y="347995"/>
                      <a:pt x="57221" y="354588"/>
                      <a:pt x="71640" y="358924"/>
                    </a:cubicBezTo>
                    <a:cubicBezTo>
                      <a:pt x="86584" y="363632"/>
                      <a:pt x="102572" y="366083"/>
                      <a:pt x="119654" y="366083"/>
                    </a:cubicBezTo>
                    <a:cubicBezTo>
                      <a:pt x="146794" y="366083"/>
                      <a:pt x="168285" y="361467"/>
                      <a:pt x="184037" y="352423"/>
                    </a:cubicBezTo>
                    <a:cubicBezTo>
                      <a:pt x="200265" y="343191"/>
                      <a:pt x="214071" y="330663"/>
                      <a:pt x="226785" y="314552"/>
                    </a:cubicBezTo>
                    <a:cubicBezTo>
                      <a:pt x="227639" y="324536"/>
                      <a:pt x="229155" y="333205"/>
                      <a:pt x="231337" y="340649"/>
                    </a:cubicBezTo>
                    <a:cubicBezTo>
                      <a:pt x="233617" y="347619"/>
                      <a:pt x="235986" y="352988"/>
                      <a:pt x="238599" y="356949"/>
                    </a:cubicBezTo>
                    <a:lnTo>
                      <a:pt x="339132" y="356949"/>
                    </a:lnTo>
                    <a:lnTo>
                      <a:pt x="339132" y="351108"/>
                    </a:lnTo>
                    <a:cubicBezTo>
                      <a:pt x="330401" y="345454"/>
                      <a:pt x="325991" y="329344"/>
                      <a:pt x="325991" y="302773"/>
                    </a:cubicBezTo>
                    <a:close/>
                    <a:moveTo>
                      <a:pt x="228112" y="232303"/>
                    </a:moveTo>
                    <a:cubicBezTo>
                      <a:pt x="228112" y="251428"/>
                      <a:pt x="221091" y="267351"/>
                      <a:pt x="207046" y="279975"/>
                    </a:cubicBezTo>
                    <a:cubicBezTo>
                      <a:pt x="193477" y="292599"/>
                      <a:pt x="175069" y="298909"/>
                      <a:pt x="151822" y="298909"/>
                    </a:cubicBezTo>
                    <a:cubicBezTo>
                      <a:pt x="137826" y="298909"/>
                      <a:pt x="125778" y="295802"/>
                      <a:pt x="115673" y="289676"/>
                    </a:cubicBezTo>
                    <a:cubicBezTo>
                      <a:pt x="105611" y="283647"/>
                      <a:pt x="100584" y="273001"/>
                      <a:pt x="100584" y="257738"/>
                    </a:cubicBezTo>
                    <a:cubicBezTo>
                      <a:pt x="100584" y="242574"/>
                      <a:pt x="106087" y="231455"/>
                      <a:pt x="116999" y="224484"/>
                    </a:cubicBezTo>
                    <a:cubicBezTo>
                      <a:pt x="128007" y="217510"/>
                      <a:pt x="144804" y="211672"/>
                      <a:pt x="167622" y="206863"/>
                    </a:cubicBezTo>
                    <a:cubicBezTo>
                      <a:pt x="179058" y="204229"/>
                      <a:pt x="189970" y="201683"/>
                      <a:pt x="200455" y="199044"/>
                    </a:cubicBezTo>
                    <a:cubicBezTo>
                      <a:pt x="211415" y="196029"/>
                      <a:pt x="220617" y="192074"/>
                      <a:pt x="228114" y="187245"/>
                    </a:cubicBezTo>
                    <a:lnTo>
                      <a:pt x="228114" y="232305"/>
                    </a:lnTo>
                    <a:close/>
                  </a:path>
                </a:pathLst>
              </a:custGeom>
              <a:solidFill>
                <a:srgbClr val="50936E"/>
              </a:solidFill>
              <a:ln w="19259" cap="flat">
                <a:noFill/>
                <a:prstDash val="solid"/>
                <a:miter/>
              </a:ln>
            </p:spPr>
            <p:txBody>
              <a:bodyPr rtlCol="0" anchor="ctr"/>
              <a:lstStyle/>
              <a:p>
                <a:endParaRPr lang="de-DE"/>
              </a:p>
            </p:txBody>
          </p:sp>
          <p:sp>
            <p:nvSpPr>
              <p:cNvPr id="10" name="Freihandform 9">
                <a:extLst>
                  <a:ext uri="{FF2B5EF4-FFF2-40B4-BE49-F238E27FC236}">
                    <a16:creationId xmlns:a16="http://schemas.microsoft.com/office/drawing/2014/main" id="{D788617E-85C6-D096-CFB3-8D1FB6C00819}"/>
                  </a:ext>
                </a:extLst>
              </p:cNvPr>
              <p:cNvSpPr/>
              <p:nvPr/>
            </p:nvSpPr>
            <p:spPr>
              <a:xfrm>
                <a:off x="4358418" y="3931902"/>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11" name="Freihandform 10">
                <a:extLst>
                  <a:ext uri="{FF2B5EF4-FFF2-40B4-BE49-F238E27FC236}">
                    <a16:creationId xmlns:a16="http://schemas.microsoft.com/office/drawing/2014/main" id="{8C00E688-5B78-D496-E441-56C49F97B299}"/>
                  </a:ext>
                </a:extLst>
              </p:cNvPr>
              <p:cNvSpPr/>
              <p:nvPr/>
            </p:nvSpPr>
            <p:spPr>
              <a:xfrm>
                <a:off x="3395850" y="3931903"/>
                <a:ext cx="344551" cy="468064"/>
              </a:xfrm>
              <a:custGeom>
                <a:avLst/>
                <a:gdLst>
                  <a:gd name="connsiteX0" fmla="*/ 0 w 344551"/>
                  <a:gd name="connsiteY0" fmla="*/ 9433 h 468064"/>
                  <a:gd name="connsiteX1" fmla="*/ 88859 w 344551"/>
                  <a:gd name="connsiteY1" fmla="*/ 9433 h 468064"/>
                  <a:gd name="connsiteX2" fmla="*/ 88859 w 344551"/>
                  <a:gd name="connsiteY2" fmla="*/ 52526 h 468064"/>
                  <a:gd name="connsiteX3" fmla="*/ 90892 w 344551"/>
                  <a:gd name="connsiteY3" fmla="*/ 52526 h 468064"/>
                  <a:gd name="connsiteX4" fmla="*/ 193290 w 344551"/>
                  <a:gd name="connsiteY4" fmla="*/ 0 h 468064"/>
                  <a:gd name="connsiteX5" fmla="*/ 344552 w 344551"/>
                  <a:gd name="connsiteY5" fmla="*/ 182511 h 468064"/>
                  <a:gd name="connsiteX6" fmla="*/ 193967 w 344551"/>
                  <a:gd name="connsiteY6" fmla="*/ 365012 h 468064"/>
                  <a:gd name="connsiteX7" fmla="*/ 93585 w 344551"/>
                  <a:gd name="connsiteY7" fmla="*/ 315841 h 468064"/>
                  <a:gd name="connsiteX8" fmla="*/ 92230 w 344551"/>
                  <a:gd name="connsiteY8" fmla="*/ 315841 h 468064"/>
                  <a:gd name="connsiteX9" fmla="*/ 92230 w 344551"/>
                  <a:gd name="connsiteY9" fmla="*/ 468065 h 468064"/>
                  <a:gd name="connsiteX10" fmla="*/ 0 w 344551"/>
                  <a:gd name="connsiteY10" fmla="*/ 468065 h 468064"/>
                  <a:gd name="connsiteX11" fmla="*/ 0 w 344551"/>
                  <a:gd name="connsiteY11" fmla="*/ 9433 h 468064"/>
                  <a:gd name="connsiteX12" fmla="*/ 250947 w 344551"/>
                  <a:gd name="connsiteY12" fmla="*/ 185212 h 468064"/>
                  <a:gd name="connsiteX13" fmla="*/ 170902 w 344551"/>
                  <a:gd name="connsiteY13" fmla="*/ 74083 h 468064"/>
                  <a:gd name="connsiteX14" fmla="*/ 90195 w 344551"/>
                  <a:gd name="connsiteY14" fmla="*/ 185212 h 468064"/>
                  <a:gd name="connsiteX15" fmla="*/ 174309 w 344551"/>
                  <a:gd name="connsiteY15" fmla="*/ 288920 h 468064"/>
                  <a:gd name="connsiteX16" fmla="*/ 250947 w 344551"/>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51" h="468064">
                    <a:moveTo>
                      <a:pt x="0" y="9433"/>
                    </a:moveTo>
                    <a:lnTo>
                      <a:pt x="88859" y="9433"/>
                    </a:lnTo>
                    <a:lnTo>
                      <a:pt x="88859" y="52526"/>
                    </a:lnTo>
                    <a:lnTo>
                      <a:pt x="90892" y="52526"/>
                    </a:lnTo>
                    <a:cubicBezTo>
                      <a:pt x="113263" y="22219"/>
                      <a:pt x="145820" y="0"/>
                      <a:pt x="193290" y="0"/>
                    </a:cubicBezTo>
                    <a:cubicBezTo>
                      <a:pt x="285557" y="0"/>
                      <a:pt x="344552" y="74757"/>
                      <a:pt x="344552" y="182511"/>
                    </a:cubicBezTo>
                    <a:cubicBezTo>
                      <a:pt x="344552" y="294303"/>
                      <a:pt x="283524" y="365012"/>
                      <a:pt x="193967" y="365012"/>
                    </a:cubicBezTo>
                    <a:cubicBezTo>
                      <a:pt x="145122" y="365012"/>
                      <a:pt x="113263" y="345494"/>
                      <a:pt x="93585" y="315841"/>
                    </a:cubicBezTo>
                    <a:lnTo>
                      <a:pt x="92230" y="315841"/>
                    </a:lnTo>
                    <a:lnTo>
                      <a:pt x="92230" y="468065"/>
                    </a:lnTo>
                    <a:lnTo>
                      <a:pt x="0" y="468065"/>
                    </a:lnTo>
                    <a:lnTo>
                      <a:pt x="0" y="9433"/>
                    </a:lnTo>
                    <a:close/>
                    <a:moveTo>
                      <a:pt x="250947" y="185212"/>
                    </a:moveTo>
                    <a:cubicBezTo>
                      <a:pt x="250947" y="119869"/>
                      <a:pt x="227880" y="74083"/>
                      <a:pt x="170902" y="74083"/>
                    </a:cubicBezTo>
                    <a:cubicBezTo>
                      <a:pt x="113263" y="74083"/>
                      <a:pt x="90195" y="123244"/>
                      <a:pt x="90195" y="185212"/>
                    </a:cubicBezTo>
                    <a:cubicBezTo>
                      <a:pt x="90195" y="247825"/>
                      <a:pt x="119383" y="288920"/>
                      <a:pt x="174309" y="288920"/>
                    </a:cubicBezTo>
                    <a:cubicBezTo>
                      <a:pt x="221120" y="288920"/>
                      <a:pt x="250947" y="250517"/>
                      <a:pt x="250947" y="185212"/>
                    </a:cubicBezTo>
                    <a:close/>
                  </a:path>
                </a:pathLst>
              </a:custGeom>
              <a:solidFill>
                <a:srgbClr val="50936E"/>
              </a:solidFill>
              <a:ln w="19259" cap="flat">
                <a:noFill/>
                <a:prstDash val="solid"/>
                <a:miter/>
              </a:ln>
            </p:spPr>
            <p:txBody>
              <a:bodyPr rtlCol="0" anchor="ctr"/>
              <a:lstStyle/>
              <a:p>
                <a:endParaRPr lang="de-DE"/>
              </a:p>
            </p:txBody>
          </p:sp>
          <p:sp>
            <p:nvSpPr>
              <p:cNvPr id="12" name="Freihandform 11">
                <a:extLst>
                  <a:ext uri="{FF2B5EF4-FFF2-40B4-BE49-F238E27FC236}">
                    <a16:creationId xmlns:a16="http://schemas.microsoft.com/office/drawing/2014/main" id="{ADE18B6C-61C2-BBC4-BB9E-4A3E59DE32A9}"/>
                  </a:ext>
                </a:extLst>
              </p:cNvPr>
              <p:cNvSpPr/>
              <p:nvPr/>
            </p:nvSpPr>
            <p:spPr>
              <a:xfrm>
                <a:off x="3800810" y="3805292"/>
                <a:ext cx="92248" cy="481527"/>
              </a:xfrm>
              <a:custGeom>
                <a:avLst/>
                <a:gdLst>
                  <a:gd name="connsiteX0" fmla="*/ 0 w 92248"/>
                  <a:gd name="connsiteY0" fmla="*/ 0 h 481527"/>
                  <a:gd name="connsiteX1" fmla="*/ 92249 w 92248"/>
                  <a:gd name="connsiteY1" fmla="*/ 0 h 481527"/>
                  <a:gd name="connsiteX2" fmla="*/ 92249 w 92248"/>
                  <a:gd name="connsiteY2" fmla="*/ 481527 h 481527"/>
                  <a:gd name="connsiteX3" fmla="*/ 0 w 92248"/>
                  <a:gd name="connsiteY3" fmla="*/ 481527 h 481527"/>
                  <a:gd name="connsiteX4" fmla="*/ 0 w 92248"/>
                  <a:gd name="connsiteY4" fmla="*/ 0 h 48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48" h="481527">
                    <a:moveTo>
                      <a:pt x="0" y="0"/>
                    </a:moveTo>
                    <a:lnTo>
                      <a:pt x="92249" y="0"/>
                    </a:lnTo>
                    <a:lnTo>
                      <a:pt x="92249" y="481527"/>
                    </a:lnTo>
                    <a:lnTo>
                      <a:pt x="0" y="481527"/>
                    </a:lnTo>
                    <a:lnTo>
                      <a:pt x="0" y="0"/>
                    </a:lnTo>
                    <a:close/>
                  </a:path>
                </a:pathLst>
              </a:custGeom>
              <a:solidFill>
                <a:srgbClr val="50936E"/>
              </a:solidFill>
              <a:ln w="19259" cap="flat">
                <a:noFill/>
                <a:prstDash val="solid"/>
                <a:miter/>
              </a:ln>
            </p:spPr>
            <p:txBody>
              <a:bodyPr rtlCol="0" anchor="ctr"/>
              <a:lstStyle/>
              <a:p>
                <a:endParaRPr lang="de-DE"/>
              </a:p>
            </p:txBody>
          </p:sp>
          <p:sp>
            <p:nvSpPr>
              <p:cNvPr id="13" name="Freihandform 12">
                <a:extLst>
                  <a:ext uri="{FF2B5EF4-FFF2-40B4-BE49-F238E27FC236}">
                    <a16:creationId xmlns:a16="http://schemas.microsoft.com/office/drawing/2014/main" id="{FE45F457-13E6-2613-7B52-D139C701652F}"/>
                  </a:ext>
                </a:extLst>
              </p:cNvPr>
              <p:cNvSpPr/>
              <p:nvPr/>
            </p:nvSpPr>
            <p:spPr>
              <a:xfrm>
                <a:off x="5098310" y="3833603"/>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14" name="Freihandform 13">
                <a:extLst>
                  <a:ext uri="{FF2B5EF4-FFF2-40B4-BE49-F238E27FC236}">
                    <a16:creationId xmlns:a16="http://schemas.microsoft.com/office/drawing/2014/main" id="{291D2EC5-8175-01D1-9DF8-6D34D714B2DC}"/>
                  </a:ext>
                </a:extLst>
              </p:cNvPr>
              <p:cNvSpPr/>
              <p:nvPr/>
            </p:nvSpPr>
            <p:spPr>
              <a:xfrm>
                <a:off x="4729809" y="3931934"/>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4 w 343225"/>
                  <a:gd name="connsiteY3" fmla="*/ 208115 h 365012"/>
                  <a:gd name="connsiteX4" fmla="*/ 179753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4" y="208115"/>
                    </a:lnTo>
                    <a:cubicBezTo>
                      <a:pt x="97690" y="261324"/>
                      <a:pt x="127527" y="294303"/>
                      <a:pt x="179753"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6"/>
                      <a:pt x="215039"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grpSp>
      </p:grpSp>
      <p:sp>
        <p:nvSpPr>
          <p:cNvPr id="25" name="Textplatzhalter 4">
            <a:extLst>
              <a:ext uri="{FF2B5EF4-FFF2-40B4-BE49-F238E27FC236}">
                <a16:creationId xmlns:a16="http://schemas.microsoft.com/office/drawing/2014/main" id="{A2D7C7BE-BBC6-9F3C-0C69-EE608FFB5C40}"/>
              </a:ext>
            </a:extLst>
          </p:cNvPr>
          <p:cNvSpPr txBox="1">
            <a:spLocks/>
          </p:cNvSpPr>
          <p:nvPr/>
        </p:nvSpPr>
        <p:spPr bwMode="black">
          <a:xfrm>
            <a:off x="515938" y="3680515"/>
            <a:ext cx="4259262"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 eros quis urna. Nunc viverra imperdiet enim. Fusce est. Vivamus a tellus. Pellentesque habitant morbi tristique senectus et netus et malesuada fames ac turpis egestas. Proin pharetra nonummy pede. Mauris et orci. Maecenas porttitor congue massa. Fusce posuere, magna sed pulvinar ultricies, purus lectus malesuada libero, sit amet commodo magna.</a:t>
            </a:r>
          </a:p>
        </p:txBody>
      </p:sp>
      <p:grpSp>
        <p:nvGrpSpPr>
          <p:cNvPr id="30" name="Gruppieren 29">
            <a:extLst>
              <a:ext uri="{FF2B5EF4-FFF2-40B4-BE49-F238E27FC236}">
                <a16:creationId xmlns:a16="http://schemas.microsoft.com/office/drawing/2014/main" id="{49C3209D-5A30-17C9-2C6C-F0CD42B53AD8}"/>
              </a:ext>
            </a:extLst>
          </p:cNvPr>
          <p:cNvGrpSpPr/>
          <p:nvPr/>
        </p:nvGrpSpPr>
        <p:grpSpPr>
          <a:xfrm>
            <a:off x="5847504" y="765175"/>
            <a:ext cx="5836311" cy="3913429"/>
            <a:chOff x="522698" y="2104082"/>
            <a:chExt cx="5242208" cy="3515064"/>
          </a:xfrm>
        </p:grpSpPr>
        <p:pic>
          <p:nvPicPr>
            <p:cNvPr id="26" name="Grafik 25">
              <a:extLst>
                <a:ext uri="{FF2B5EF4-FFF2-40B4-BE49-F238E27FC236}">
                  <a16:creationId xmlns:a16="http://schemas.microsoft.com/office/drawing/2014/main" id="{CE891B66-2AB5-1F3D-BFB9-77B6618FA0F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922" r="14922"/>
            <a:stretch/>
          </p:blipFill>
          <p:spPr>
            <a:xfrm>
              <a:off x="522698" y="372730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27" name="Grafik 26">
              <a:extLst>
                <a:ext uri="{FF2B5EF4-FFF2-40B4-BE49-F238E27FC236}">
                  <a16:creationId xmlns:a16="http://schemas.microsoft.com/office/drawing/2014/main" id="{D27083D6-15B9-618B-E798-144E961A6E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3663" t="30789" r="16872" b="31609"/>
            <a:stretch/>
          </p:blipFill>
          <p:spPr>
            <a:xfrm>
              <a:off x="2685348" y="372730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28" name="Grafik 27">
              <a:extLst>
                <a:ext uri="{FF2B5EF4-FFF2-40B4-BE49-F238E27FC236}">
                  <a16:creationId xmlns:a16="http://schemas.microsoft.com/office/drawing/2014/main" id="{B9B9E545-6C32-8BC1-57B1-E76473A33747}"/>
                </a:ext>
              </a:extLst>
            </p:cNvPr>
            <p:cNvPicPr>
              <a:picLocks noChangeAspect="1"/>
            </p:cNvPicPr>
            <p:nvPr/>
          </p:nvPicPr>
          <p:blipFill>
            <a:blip r:embed="rId4" cstate="print">
              <a:extLst>
                <a:ext uri="{28A0092B-C50C-407E-A947-70E740481C1C}">
                  <a14:useLocalDpi xmlns:a14="http://schemas.microsoft.com/office/drawing/2010/main"/>
                </a:ext>
              </a:extLst>
            </a:blip>
            <a:srcRect t="18383" b="18383"/>
            <a:stretch/>
          </p:blipFill>
          <p:spPr>
            <a:xfrm>
              <a:off x="1604023" y="210408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29" name="Grafik 28">
              <a:extLst>
                <a:ext uri="{FF2B5EF4-FFF2-40B4-BE49-F238E27FC236}">
                  <a16:creationId xmlns:a16="http://schemas.microsoft.com/office/drawing/2014/main" id="{67AE69AD-F46D-8B19-6D90-2C5144FF50A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3167" t="29257" b="16089"/>
            <a:stretch/>
          </p:blipFill>
          <p:spPr>
            <a:xfrm>
              <a:off x="3766672" y="2104082"/>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grpSp>
      <p:sp>
        <p:nvSpPr>
          <p:cNvPr id="31" name="Textplatzhalter 4">
            <a:extLst>
              <a:ext uri="{FF2B5EF4-FFF2-40B4-BE49-F238E27FC236}">
                <a16:creationId xmlns:a16="http://schemas.microsoft.com/office/drawing/2014/main" id="{CEC75898-1746-BEC4-B648-A0760B9682EF}"/>
              </a:ext>
            </a:extLst>
          </p:cNvPr>
          <p:cNvSpPr txBox="1">
            <a:spLocks/>
          </p:cNvSpPr>
          <p:nvPr/>
        </p:nvSpPr>
        <p:spPr bwMode="black">
          <a:xfrm>
            <a:off x="7146439" y="5188620"/>
            <a:ext cx="4537375" cy="646331"/>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a:t>
            </a: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Fusce posuere, magna sed pulvinar ultricies, purus lectus malesuada libero, sit amet commodo </a:t>
            </a:r>
            <a:r>
              <a:rPr kumimoji="0" lang="de-DE" altLang="de-DE" sz="140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gna eros quis urna. </a:t>
            </a:r>
          </a:p>
        </p:txBody>
      </p:sp>
    </p:spTree>
    <p:extLst>
      <p:ext uri="{BB962C8B-B14F-4D97-AF65-F5344CB8AC3E}">
        <p14:creationId xmlns:p14="http://schemas.microsoft.com/office/powerpoint/2010/main" val="119560802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C2CE4A5-5F8A-5A44-470B-ED03D53B53EB}"/>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65F38C3-1939-B9B7-ADCA-999BA97668AF}"/>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EA1B7B4-5BCA-CB7B-37A9-839584F98E6D}"/>
              </a:ext>
            </a:extLst>
          </p:cNvPr>
          <p:cNvSpPr>
            <a:spLocks noGrp="1"/>
          </p:cNvSpPr>
          <p:nvPr>
            <p:ph type="sldNum" sz="quarter" idx="12"/>
          </p:nvPr>
        </p:nvSpPr>
        <p:spPr/>
        <p:txBody>
          <a:bodyPr/>
          <a:lstStyle/>
          <a:p>
            <a:fld id="{E84006A6-0E15-460A-BCD4-002C20F8AC9F}" type="slidenum">
              <a:rPr lang="de-DE" smtClean="0"/>
              <a:pPr/>
              <a:t>109</a:t>
            </a:fld>
            <a:endParaRPr lang="de-DE"/>
          </a:p>
        </p:txBody>
      </p:sp>
      <p:grpSp>
        <p:nvGrpSpPr>
          <p:cNvPr id="6" name="Gruppieren 5">
            <a:extLst>
              <a:ext uri="{FF2B5EF4-FFF2-40B4-BE49-F238E27FC236}">
                <a16:creationId xmlns:a16="http://schemas.microsoft.com/office/drawing/2014/main" id="{930A0C5B-CC0C-8329-624E-9D946988C682}"/>
              </a:ext>
            </a:extLst>
          </p:cNvPr>
          <p:cNvGrpSpPr/>
          <p:nvPr/>
        </p:nvGrpSpPr>
        <p:grpSpPr>
          <a:xfrm>
            <a:off x="515938" y="1490663"/>
            <a:ext cx="3891932" cy="1599958"/>
            <a:chOff x="1217876" y="3093719"/>
            <a:chExt cx="3065142" cy="1260068"/>
          </a:xfrm>
        </p:grpSpPr>
        <p:grpSp>
          <p:nvGrpSpPr>
            <p:cNvPr id="7" name="Grafik 7">
              <a:extLst>
                <a:ext uri="{FF2B5EF4-FFF2-40B4-BE49-F238E27FC236}">
                  <a16:creationId xmlns:a16="http://schemas.microsoft.com/office/drawing/2014/main" id="{282EE595-B1D0-03EF-80FD-6744B23BE098}"/>
                </a:ext>
              </a:extLst>
            </p:cNvPr>
            <p:cNvGrpSpPr/>
            <p:nvPr/>
          </p:nvGrpSpPr>
          <p:grpSpPr>
            <a:xfrm>
              <a:off x="1217876" y="3093719"/>
              <a:ext cx="3065142" cy="584366"/>
              <a:chOff x="3394242" y="3093718"/>
              <a:chExt cx="3143926" cy="599386"/>
            </a:xfrm>
            <a:solidFill>
              <a:srgbClr val="50936E"/>
            </a:solidFill>
          </p:grpSpPr>
          <p:sp>
            <p:nvSpPr>
              <p:cNvPr id="15" name="Freihandform 14">
                <a:extLst>
                  <a:ext uri="{FF2B5EF4-FFF2-40B4-BE49-F238E27FC236}">
                    <a16:creationId xmlns:a16="http://schemas.microsoft.com/office/drawing/2014/main" id="{E35B7DCB-3697-5DF8-A7F1-B10703C877E4}"/>
                  </a:ext>
                </a:extLst>
              </p:cNvPr>
              <p:cNvSpPr/>
              <p:nvPr/>
            </p:nvSpPr>
            <p:spPr>
              <a:xfrm>
                <a:off x="3394242" y="3220328"/>
                <a:ext cx="344572" cy="468064"/>
              </a:xfrm>
              <a:custGeom>
                <a:avLst/>
                <a:gdLst>
                  <a:gd name="connsiteX0" fmla="*/ 0 w 344572"/>
                  <a:gd name="connsiteY0" fmla="*/ 9433 h 468064"/>
                  <a:gd name="connsiteX1" fmla="*/ 88842 w 344572"/>
                  <a:gd name="connsiteY1" fmla="*/ 9433 h 468064"/>
                  <a:gd name="connsiteX2" fmla="*/ 88842 w 344572"/>
                  <a:gd name="connsiteY2" fmla="*/ 52526 h 468064"/>
                  <a:gd name="connsiteX3" fmla="*/ 90884 w 344572"/>
                  <a:gd name="connsiteY3" fmla="*/ 52526 h 468064"/>
                  <a:gd name="connsiteX4" fmla="*/ 193310 w 344572"/>
                  <a:gd name="connsiteY4" fmla="*/ 0 h 468064"/>
                  <a:gd name="connsiteX5" fmla="*/ 344573 w 344572"/>
                  <a:gd name="connsiteY5" fmla="*/ 182511 h 468064"/>
                  <a:gd name="connsiteX6" fmla="*/ 193988 w 344572"/>
                  <a:gd name="connsiteY6" fmla="*/ 365012 h 468064"/>
                  <a:gd name="connsiteX7" fmla="*/ 93604 w 344572"/>
                  <a:gd name="connsiteY7" fmla="*/ 315841 h 468064"/>
                  <a:gd name="connsiteX8" fmla="*/ 92239 w 344572"/>
                  <a:gd name="connsiteY8" fmla="*/ 315841 h 468064"/>
                  <a:gd name="connsiteX9" fmla="*/ 92239 w 344572"/>
                  <a:gd name="connsiteY9" fmla="*/ 468065 h 468064"/>
                  <a:gd name="connsiteX10" fmla="*/ 0 w 344572"/>
                  <a:gd name="connsiteY10" fmla="*/ 468065 h 468064"/>
                  <a:gd name="connsiteX11" fmla="*/ 0 w 344572"/>
                  <a:gd name="connsiteY11" fmla="*/ 9433 h 468064"/>
                  <a:gd name="connsiteX12" fmla="*/ 250969 w 344572"/>
                  <a:gd name="connsiteY12" fmla="*/ 185212 h 468064"/>
                  <a:gd name="connsiteX13" fmla="*/ 170931 w 344572"/>
                  <a:gd name="connsiteY13" fmla="*/ 74083 h 468064"/>
                  <a:gd name="connsiteX14" fmla="*/ 90207 w 344572"/>
                  <a:gd name="connsiteY14" fmla="*/ 185212 h 468064"/>
                  <a:gd name="connsiteX15" fmla="*/ 174321 w 344572"/>
                  <a:gd name="connsiteY15" fmla="*/ 288920 h 468064"/>
                  <a:gd name="connsiteX16" fmla="*/ 250969 w 344572"/>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72" h="468064">
                    <a:moveTo>
                      <a:pt x="0" y="9433"/>
                    </a:moveTo>
                    <a:lnTo>
                      <a:pt x="88842" y="9433"/>
                    </a:lnTo>
                    <a:lnTo>
                      <a:pt x="88842" y="52526"/>
                    </a:lnTo>
                    <a:lnTo>
                      <a:pt x="90884" y="52526"/>
                    </a:lnTo>
                    <a:cubicBezTo>
                      <a:pt x="113264" y="22219"/>
                      <a:pt x="145830" y="0"/>
                      <a:pt x="193310" y="0"/>
                    </a:cubicBezTo>
                    <a:cubicBezTo>
                      <a:pt x="285549" y="0"/>
                      <a:pt x="344573" y="74757"/>
                      <a:pt x="344573" y="182511"/>
                    </a:cubicBezTo>
                    <a:cubicBezTo>
                      <a:pt x="344573" y="294303"/>
                      <a:pt x="283507" y="365012"/>
                      <a:pt x="193988" y="365012"/>
                    </a:cubicBezTo>
                    <a:cubicBezTo>
                      <a:pt x="145143" y="365012"/>
                      <a:pt x="113264" y="345494"/>
                      <a:pt x="93604" y="315841"/>
                    </a:cubicBezTo>
                    <a:lnTo>
                      <a:pt x="92239" y="315841"/>
                    </a:lnTo>
                    <a:lnTo>
                      <a:pt x="92239" y="468065"/>
                    </a:lnTo>
                    <a:lnTo>
                      <a:pt x="0" y="468065"/>
                    </a:lnTo>
                    <a:lnTo>
                      <a:pt x="0" y="9433"/>
                    </a:lnTo>
                    <a:close/>
                    <a:moveTo>
                      <a:pt x="250969" y="185212"/>
                    </a:moveTo>
                    <a:cubicBezTo>
                      <a:pt x="250969" y="119869"/>
                      <a:pt x="227902" y="74083"/>
                      <a:pt x="170931" y="74083"/>
                    </a:cubicBezTo>
                    <a:cubicBezTo>
                      <a:pt x="113264" y="74083"/>
                      <a:pt x="90207" y="123244"/>
                      <a:pt x="90207" y="185212"/>
                    </a:cubicBezTo>
                    <a:cubicBezTo>
                      <a:pt x="90207" y="247825"/>
                      <a:pt x="119375" y="288920"/>
                      <a:pt x="174321" y="288920"/>
                    </a:cubicBezTo>
                    <a:cubicBezTo>
                      <a:pt x="221122" y="288920"/>
                      <a:pt x="250969" y="250517"/>
                      <a:pt x="250969" y="185212"/>
                    </a:cubicBezTo>
                    <a:close/>
                  </a:path>
                </a:pathLst>
              </a:custGeom>
              <a:solidFill>
                <a:srgbClr val="50936E"/>
              </a:solidFill>
              <a:ln w="19259" cap="flat">
                <a:noFill/>
                <a:prstDash val="solid"/>
                <a:miter/>
              </a:ln>
            </p:spPr>
            <p:txBody>
              <a:bodyPr rtlCol="0" anchor="ctr"/>
              <a:lstStyle/>
              <a:p>
                <a:endParaRPr lang="de-DE"/>
              </a:p>
            </p:txBody>
          </p:sp>
          <p:sp>
            <p:nvSpPr>
              <p:cNvPr id="16" name="Freihandform 15">
                <a:extLst>
                  <a:ext uri="{FF2B5EF4-FFF2-40B4-BE49-F238E27FC236}">
                    <a16:creationId xmlns:a16="http://schemas.microsoft.com/office/drawing/2014/main" id="{58FBA71C-A6FA-C288-AEC8-815984EC57B8}"/>
                  </a:ext>
                </a:extLst>
              </p:cNvPr>
              <p:cNvSpPr/>
              <p:nvPr/>
            </p:nvSpPr>
            <p:spPr>
              <a:xfrm>
                <a:off x="3799202" y="3225721"/>
                <a:ext cx="198081" cy="349524"/>
              </a:xfrm>
              <a:custGeom>
                <a:avLst/>
                <a:gdLst>
                  <a:gd name="connsiteX0" fmla="*/ 88869 w 198081"/>
                  <a:gd name="connsiteY0" fmla="*/ 59257 h 349524"/>
                  <a:gd name="connsiteX1" fmla="*/ 90903 w 198081"/>
                  <a:gd name="connsiteY1" fmla="*/ 59257 h 349524"/>
                  <a:gd name="connsiteX2" fmla="*/ 176353 w 198081"/>
                  <a:gd name="connsiteY2" fmla="*/ 0 h 349524"/>
                  <a:gd name="connsiteX3" fmla="*/ 198082 w 198081"/>
                  <a:gd name="connsiteY3" fmla="*/ 2684 h 349524"/>
                  <a:gd name="connsiteX4" fmla="*/ 198082 w 198081"/>
                  <a:gd name="connsiteY4" fmla="*/ 82834 h 349524"/>
                  <a:gd name="connsiteX5" fmla="*/ 196030 w 198081"/>
                  <a:gd name="connsiteY5" fmla="*/ 82834 h 349524"/>
                  <a:gd name="connsiteX6" fmla="*/ 92259 w 198081"/>
                  <a:gd name="connsiteY6" fmla="*/ 181156 h 349524"/>
                  <a:gd name="connsiteX7" fmla="*/ 92259 w 198081"/>
                  <a:gd name="connsiteY7" fmla="*/ 349524 h 349524"/>
                  <a:gd name="connsiteX8" fmla="*/ 0 w 198081"/>
                  <a:gd name="connsiteY8" fmla="*/ 349524 h 349524"/>
                  <a:gd name="connsiteX9" fmla="*/ 0 w 198081"/>
                  <a:gd name="connsiteY9" fmla="*/ 4040 h 349524"/>
                  <a:gd name="connsiteX10" fmla="*/ 88869 w 198081"/>
                  <a:gd name="connsiteY10" fmla="*/ 4040 h 349524"/>
                  <a:gd name="connsiteX11" fmla="*/ 88869 w 198081"/>
                  <a:gd name="connsiteY11" fmla="*/ 59257 h 34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1" h="349524">
                    <a:moveTo>
                      <a:pt x="88869" y="59257"/>
                    </a:moveTo>
                    <a:lnTo>
                      <a:pt x="90903" y="59257"/>
                    </a:lnTo>
                    <a:cubicBezTo>
                      <a:pt x="111936" y="20202"/>
                      <a:pt x="135680" y="0"/>
                      <a:pt x="176353" y="0"/>
                    </a:cubicBezTo>
                    <a:cubicBezTo>
                      <a:pt x="186540" y="0"/>
                      <a:pt x="192631" y="664"/>
                      <a:pt x="198082" y="2684"/>
                    </a:cubicBezTo>
                    <a:lnTo>
                      <a:pt x="198082" y="82834"/>
                    </a:lnTo>
                    <a:lnTo>
                      <a:pt x="196030" y="82834"/>
                    </a:lnTo>
                    <a:cubicBezTo>
                      <a:pt x="135680" y="76767"/>
                      <a:pt x="92259" y="108409"/>
                      <a:pt x="92259" y="181156"/>
                    </a:cubicBezTo>
                    <a:lnTo>
                      <a:pt x="92259" y="349524"/>
                    </a:lnTo>
                    <a:lnTo>
                      <a:pt x="0" y="349524"/>
                    </a:lnTo>
                    <a:lnTo>
                      <a:pt x="0" y="4040"/>
                    </a:lnTo>
                    <a:lnTo>
                      <a:pt x="88869" y="4040"/>
                    </a:lnTo>
                    <a:lnTo>
                      <a:pt x="88869" y="59257"/>
                    </a:lnTo>
                    <a:close/>
                  </a:path>
                </a:pathLst>
              </a:custGeom>
              <a:solidFill>
                <a:srgbClr val="50936E"/>
              </a:solidFill>
              <a:ln w="19259" cap="flat">
                <a:noFill/>
                <a:prstDash val="solid"/>
                <a:miter/>
              </a:ln>
            </p:spPr>
            <p:txBody>
              <a:bodyPr rtlCol="0" anchor="ctr"/>
              <a:lstStyle/>
              <a:p>
                <a:endParaRPr lang="de-DE"/>
              </a:p>
            </p:txBody>
          </p:sp>
          <p:sp>
            <p:nvSpPr>
              <p:cNvPr id="17" name="Freihandform 16">
                <a:extLst>
                  <a:ext uri="{FF2B5EF4-FFF2-40B4-BE49-F238E27FC236}">
                    <a16:creationId xmlns:a16="http://schemas.microsoft.com/office/drawing/2014/main" id="{768830D2-32E1-5057-F4FF-863A103119D6}"/>
                  </a:ext>
                </a:extLst>
              </p:cNvPr>
              <p:cNvSpPr/>
              <p:nvPr/>
            </p:nvSpPr>
            <p:spPr>
              <a:xfrm>
                <a:off x="4021510" y="3220328"/>
                <a:ext cx="363561" cy="365012"/>
              </a:xfrm>
              <a:custGeom>
                <a:avLst/>
                <a:gdLst>
                  <a:gd name="connsiteX0" fmla="*/ 0 w 363561"/>
                  <a:gd name="connsiteY0" fmla="*/ 182511 h 365012"/>
                  <a:gd name="connsiteX1" fmla="*/ 181775 w 363561"/>
                  <a:gd name="connsiteY1" fmla="*/ 0 h 365012"/>
                  <a:gd name="connsiteX2" fmla="*/ 363562 w 363561"/>
                  <a:gd name="connsiteY2" fmla="*/ 182511 h 365012"/>
                  <a:gd name="connsiteX3" fmla="*/ 181775 w 363561"/>
                  <a:gd name="connsiteY3" fmla="*/ 365012 h 365012"/>
                  <a:gd name="connsiteX4" fmla="*/ 0 w 363561"/>
                  <a:gd name="connsiteY4" fmla="*/ 182511 h 365012"/>
                  <a:gd name="connsiteX5" fmla="*/ 269977 w 363561"/>
                  <a:gd name="connsiteY5" fmla="*/ 182511 h 365012"/>
                  <a:gd name="connsiteX6" fmla="*/ 181775 w 363561"/>
                  <a:gd name="connsiteY6" fmla="*/ 69371 h 365012"/>
                  <a:gd name="connsiteX7" fmla="*/ 93595 w 363561"/>
                  <a:gd name="connsiteY7" fmla="*/ 182511 h 365012"/>
                  <a:gd name="connsiteX8" fmla="*/ 181775 w 363561"/>
                  <a:gd name="connsiteY8" fmla="*/ 294977 h 365012"/>
                  <a:gd name="connsiteX9" fmla="*/ 269977 w 363561"/>
                  <a:gd name="connsiteY9"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561" h="365012">
                    <a:moveTo>
                      <a:pt x="0" y="182511"/>
                    </a:moveTo>
                    <a:cubicBezTo>
                      <a:pt x="0" y="79468"/>
                      <a:pt x="73927" y="0"/>
                      <a:pt x="181775" y="0"/>
                    </a:cubicBezTo>
                    <a:cubicBezTo>
                      <a:pt x="289623" y="0"/>
                      <a:pt x="363562" y="79468"/>
                      <a:pt x="363562" y="182511"/>
                    </a:cubicBezTo>
                    <a:cubicBezTo>
                      <a:pt x="363562" y="285554"/>
                      <a:pt x="289635" y="365012"/>
                      <a:pt x="181775" y="365012"/>
                    </a:cubicBezTo>
                    <a:cubicBezTo>
                      <a:pt x="73916" y="365012"/>
                      <a:pt x="0" y="285554"/>
                      <a:pt x="0" y="182511"/>
                    </a:cubicBezTo>
                    <a:close/>
                    <a:moveTo>
                      <a:pt x="269977" y="182511"/>
                    </a:moveTo>
                    <a:cubicBezTo>
                      <a:pt x="269977" y="115167"/>
                      <a:pt x="238096" y="69371"/>
                      <a:pt x="181775" y="69371"/>
                    </a:cubicBezTo>
                    <a:cubicBezTo>
                      <a:pt x="124814" y="69371"/>
                      <a:pt x="93595" y="115167"/>
                      <a:pt x="93595" y="182511"/>
                    </a:cubicBezTo>
                    <a:cubicBezTo>
                      <a:pt x="93595" y="249855"/>
                      <a:pt x="124814" y="294977"/>
                      <a:pt x="181775" y="294977"/>
                    </a:cubicBezTo>
                    <a:cubicBezTo>
                      <a:pt x="238096" y="294977"/>
                      <a:pt x="269977" y="249845"/>
                      <a:pt x="269977" y="182511"/>
                    </a:cubicBezTo>
                    <a:close/>
                  </a:path>
                </a:pathLst>
              </a:custGeom>
              <a:solidFill>
                <a:srgbClr val="50936E"/>
              </a:solidFill>
              <a:ln w="19259" cap="flat">
                <a:noFill/>
                <a:prstDash val="solid"/>
                <a:miter/>
              </a:ln>
            </p:spPr>
            <p:txBody>
              <a:bodyPr rtlCol="0" anchor="ctr"/>
              <a:lstStyle/>
              <a:p>
                <a:endParaRPr lang="de-DE"/>
              </a:p>
            </p:txBody>
          </p:sp>
          <p:sp>
            <p:nvSpPr>
              <p:cNvPr id="18" name="Freihandform 17">
                <a:extLst>
                  <a:ext uri="{FF2B5EF4-FFF2-40B4-BE49-F238E27FC236}">
                    <a16:creationId xmlns:a16="http://schemas.microsoft.com/office/drawing/2014/main" id="{46550493-3DE5-A90C-FBCE-9E04D5658072}"/>
                  </a:ext>
                </a:extLst>
              </p:cNvPr>
              <p:cNvSpPr/>
              <p:nvPr/>
            </p:nvSpPr>
            <p:spPr>
              <a:xfrm>
                <a:off x="4408779" y="3121996"/>
                <a:ext cx="200106" cy="453920"/>
              </a:xfrm>
              <a:custGeom>
                <a:avLst/>
                <a:gdLst>
                  <a:gd name="connsiteX0" fmla="*/ 0 w 200106"/>
                  <a:gd name="connsiteY0" fmla="*/ 107764 h 453920"/>
                  <a:gd name="connsiteX1" fmla="*/ 48176 w 200106"/>
                  <a:gd name="connsiteY1" fmla="*/ 107764 h 453920"/>
                  <a:gd name="connsiteX2" fmla="*/ 48176 w 200106"/>
                  <a:gd name="connsiteY2" fmla="*/ 0 h 453920"/>
                  <a:gd name="connsiteX3" fmla="*/ 138371 w 200106"/>
                  <a:gd name="connsiteY3" fmla="*/ 0 h 453920"/>
                  <a:gd name="connsiteX4" fmla="*/ 138371 w 200106"/>
                  <a:gd name="connsiteY4" fmla="*/ 107764 h 453920"/>
                  <a:gd name="connsiteX5" fmla="*/ 198072 w 200106"/>
                  <a:gd name="connsiteY5" fmla="*/ 107764 h 453920"/>
                  <a:gd name="connsiteX6" fmla="*/ 198072 w 200106"/>
                  <a:gd name="connsiteY6" fmla="*/ 168367 h 453920"/>
                  <a:gd name="connsiteX7" fmla="*/ 138371 w 200106"/>
                  <a:gd name="connsiteY7" fmla="*/ 168367 h 453920"/>
                  <a:gd name="connsiteX8" fmla="*/ 138371 w 200106"/>
                  <a:gd name="connsiteY8" fmla="*/ 351542 h 453920"/>
                  <a:gd name="connsiteX9" fmla="*/ 172983 w 200106"/>
                  <a:gd name="connsiteY9" fmla="*/ 385905 h 453920"/>
                  <a:gd name="connsiteX10" fmla="*/ 200107 w 200106"/>
                  <a:gd name="connsiteY10" fmla="*/ 385231 h 453920"/>
                  <a:gd name="connsiteX11" fmla="*/ 200107 w 200106"/>
                  <a:gd name="connsiteY11" fmla="*/ 452575 h 453920"/>
                  <a:gd name="connsiteX12" fmla="*/ 142450 w 200106"/>
                  <a:gd name="connsiteY12" fmla="*/ 453921 h 453920"/>
                  <a:gd name="connsiteX13" fmla="*/ 48176 w 200106"/>
                  <a:gd name="connsiteY13" fmla="*/ 371097 h 453920"/>
                  <a:gd name="connsiteX14" fmla="*/ 48176 w 200106"/>
                  <a:gd name="connsiteY14" fmla="*/ 168367 h 453920"/>
                  <a:gd name="connsiteX15" fmla="*/ 0 w 200106"/>
                  <a:gd name="connsiteY15" fmla="*/ 168367 h 453920"/>
                  <a:gd name="connsiteX16" fmla="*/ 0 w 200106"/>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06" h="453920">
                    <a:moveTo>
                      <a:pt x="0" y="107764"/>
                    </a:moveTo>
                    <a:lnTo>
                      <a:pt x="48176" y="107764"/>
                    </a:lnTo>
                    <a:lnTo>
                      <a:pt x="48176" y="0"/>
                    </a:lnTo>
                    <a:lnTo>
                      <a:pt x="138371" y="0"/>
                    </a:lnTo>
                    <a:lnTo>
                      <a:pt x="138371" y="107764"/>
                    </a:lnTo>
                    <a:lnTo>
                      <a:pt x="198072" y="107764"/>
                    </a:lnTo>
                    <a:lnTo>
                      <a:pt x="198072" y="168367"/>
                    </a:lnTo>
                    <a:lnTo>
                      <a:pt x="138371" y="168367"/>
                    </a:lnTo>
                    <a:lnTo>
                      <a:pt x="138371" y="351542"/>
                    </a:lnTo>
                    <a:cubicBezTo>
                      <a:pt x="138371" y="377156"/>
                      <a:pt x="152617" y="385905"/>
                      <a:pt x="172983" y="385905"/>
                    </a:cubicBezTo>
                    <a:cubicBezTo>
                      <a:pt x="184506" y="385905"/>
                      <a:pt x="200107" y="385231"/>
                      <a:pt x="200107" y="385231"/>
                    </a:cubicBezTo>
                    <a:lnTo>
                      <a:pt x="200107" y="452575"/>
                    </a:lnTo>
                    <a:cubicBezTo>
                      <a:pt x="200107" y="452575"/>
                      <a:pt x="179083" y="453921"/>
                      <a:pt x="142450" y="453921"/>
                    </a:cubicBezTo>
                    <a:cubicBezTo>
                      <a:pt x="97690" y="453921"/>
                      <a:pt x="48176" y="436422"/>
                      <a:pt x="48176" y="371097"/>
                    </a:cubicBezTo>
                    <a:lnTo>
                      <a:pt x="48176"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19" name="Freihandform 18">
                <a:extLst>
                  <a:ext uri="{FF2B5EF4-FFF2-40B4-BE49-F238E27FC236}">
                    <a16:creationId xmlns:a16="http://schemas.microsoft.com/office/drawing/2014/main" id="{9A0238A4-F2C6-CA1D-DDF2-107B00944261}"/>
                  </a:ext>
                </a:extLst>
              </p:cNvPr>
              <p:cNvSpPr/>
              <p:nvPr/>
            </p:nvSpPr>
            <p:spPr>
              <a:xfrm>
                <a:off x="4646489" y="3220328"/>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3 w 343225"/>
                  <a:gd name="connsiteY3" fmla="*/ 208115 h 365012"/>
                  <a:gd name="connsiteX4" fmla="*/ 179752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3" y="208115"/>
                    </a:lnTo>
                    <a:cubicBezTo>
                      <a:pt x="97690" y="261324"/>
                      <a:pt x="127527" y="294303"/>
                      <a:pt x="179752"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5"/>
                      <a:pt x="215038"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sp>
            <p:nvSpPr>
              <p:cNvPr id="20" name="Freihandform 19">
                <a:extLst>
                  <a:ext uri="{FF2B5EF4-FFF2-40B4-BE49-F238E27FC236}">
                    <a16:creationId xmlns:a16="http://schemas.microsoft.com/office/drawing/2014/main" id="{F38AC7C7-7CFF-848B-A3EF-224CFAA4E3BF}"/>
                  </a:ext>
                </a:extLst>
              </p:cNvPr>
              <p:cNvSpPr/>
              <p:nvPr/>
            </p:nvSpPr>
            <p:spPr>
              <a:xfrm>
                <a:off x="5032138" y="3220328"/>
                <a:ext cx="335070" cy="365012"/>
              </a:xfrm>
              <a:custGeom>
                <a:avLst/>
                <a:gdLst>
                  <a:gd name="connsiteX0" fmla="*/ 0 w 335070"/>
                  <a:gd name="connsiteY0" fmla="*/ 182511 h 365012"/>
                  <a:gd name="connsiteX1" fmla="*/ 173659 w 335070"/>
                  <a:gd name="connsiteY1" fmla="*/ 0 h 365012"/>
                  <a:gd name="connsiteX2" fmla="*/ 331691 w 335070"/>
                  <a:gd name="connsiteY2" fmla="*/ 126620 h 365012"/>
                  <a:gd name="connsiteX3" fmla="*/ 241476 w 335070"/>
                  <a:gd name="connsiteY3" fmla="*/ 126620 h 365012"/>
                  <a:gd name="connsiteX4" fmla="*/ 177709 w 335070"/>
                  <a:gd name="connsiteY4" fmla="*/ 73401 h 365012"/>
                  <a:gd name="connsiteX5" fmla="*/ 93604 w 335070"/>
                  <a:gd name="connsiteY5" fmla="*/ 182511 h 365012"/>
                  <a:gd name="connsiteX6" fmla="*/ 176363 w 335070"/>
                  <a:gd name="connsiteY6" fmla="*/ 291611 h 365012"/>
                  <a:gd name="connsiteX7" fmla="*/ 246231 w 335070"/>
                  <a:gd name="connsiteY7" fmla="*/ 233019 h 365012"/>
                  <a:gd name="connsiteX8" fmla="*/ 335071 w 335070"/>
                  <a:gd name="connsiteY8" fmla="*/ 233019 h 365012"/>
                  <a:gd name="connsiteX9" fmla="*/ 178395 w 335070"/>
                  <a:gd name="connsiteY9" fmla="*/ 365012 h 365012"/>
                  <a:gd name="connsiteX10" fmla="*/ 0 w 335070"/>
                  <a:gd name="connsiteY10"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070" h="365012">
                    <a:moveTo>
                      <a:pt x="0" y="182511"/>
                    </a:moveTo>
                    <a:cubicBezTo>
                      <a:pt x="0" y="79468"/>
                      <a:pt x="67826" y="0"/>
                      <a:pt x="173659" y="0"/>
                    </a:cubicBezTo>
                    <a:cubicBezTo>
                      <a:pt x="263847" y="0"/>
                      <a:pt x="319470" y="51873"/>
                      <a:pt x="331691" y="126620"/>
                    </a:cubicBezTo>
                    <a:lnTo>
                      <a:pt x="241476" y="126620"/>
                    </a:lnTo>
                    <a:cubicBezTo>
                      <a:pt x="235375" y="96304"/>
                      <a:pt x="211631" y="73401"/>
                      <a:pt x="177709" y="73401"/>
                    </a:cubicBezTo>
                    <a:cubicBezTo>
                      <a:pt x="122094" y="73401"/>
                      <a:pt x="93604" y="115841"/>
                      <a:pt x="93604" y="182511"/>
                    </a:cubicBezTo>
                    <a:cubicBezTo>
                      <a:pt x="93604" y="247825"/>
                      <a:pt x="120069" y="291611"/>
                      <a:pt x="176363" y="291611"/>
                    </a:cubicBezTo>
                    <a:cubicBezTo>
                      <a:pt x="213646" y="291611"/>
                      <a:pt x="240101" y="272093"/>
                      <a:pt x="246231" y="233019"/>
                    </a:cubicBezTo>
                    <a:lnTo>
                      <a:pt x="335071" y="233019"/>
                    </a:lnTo>
                    <a:cubicBezTo>
                      <a:pt x="328980" y="306456"/>
                      <a:pt x="271332" y="365012"/>
                      <a:pt x="178395" y="365012"/>
                    </a:cubicBezTo>
                    <a:cubicBezTo>
                      <a:pt x="68503" y="365012"/>
                      <a:pt x="0" y="285554"/>
                      <a:pt x="0" y="182511"/>
                    </a:cubicBezTo>
                    <a:close/>
                  </a:path>
                </a:pathLst>
              </a:custGeom>
              <a:solidFill>
                <a:srgbClr val="50936E"/>
              </a:solidFill>
              <a:ln w="19259" cap="flat">
                <a:noFill/>
                <a:prstDash val="solid"/>
                <a:miter/>
              </a:ln>
            </p:spPr>
            <p:txBody>
              <a:bodyPr rtlCol="0" anchor="ctr"/>
              <a:lstStyle/>
              <a:p>
                <a:endParaRPr lang="de-DE"/>
              </a:p>
            </p:txBody>
          </p:sp>
          <p:sp>
            <p:nvSpPr>
              <p:cNvPr id="21" name="Freihandform 20">
                <a:extLst>
                  <a:ext uri="{FF2B5EF4-FFF2-40B4-BE49-F238E27FC236}">
                    <a16:creationId xmlns:a16="http://schemas.microsoft.com/office/drawing/2014/main" id="{8F6DA7FC-D71A-BE10-F1E1-F5967F2949AB}"/>
                  </a:ext>
                </a:extLst>
              </p:cNvPr>
              <p:cNvSpPr/>
              <p:nvPr/>
            </p:nvSpPr>
            <p:spPr>
              <a:xfrm>
                <a:off x="5395398" y="3121996"/>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22" name="Freihandform 21">
                <a:extLst>
                  <a:ext uri="{FF2B5EF4-FFF2-40B4-BE49-F238E27FC236}">
                    <a16:creationId xmlns:a16="http://schemas.microsoft.com/office/drawing/2014/main" id="{8481769C-170B-FAE1-5385-2767B2B0D004}"/>
                  </a:ext>
                </a:extLst>
              </p:cNvPr>
              <p:cNvSpPr/>
              <p:nvPr/>
            </p:nvSpPr>
            <p:spPr>
              <a:xfrm>
                <a:off x="5658633" y="3093718"/>
                <a:ext cx="92266" cy="481527"/>
              </a:xfrm>
              <a:custGeom>
                <a:avLst/>
                <a:gdLst>
                  <a:gd name="connsiteX0" fmla="*/ 0 w 92266"/>
                  <a:gd name="connsiteY0" fmla="*/ 0 h 481527"/>
                  <a:gd name="connsiteX1" fmla="*/ 92266 w 92266"/>
                  <a:gd name="connsiteY1" fmla="*/ 0 h 481527"/>
                  <a:gd name="connsiteX2" fmla="*/ 92266 w 92266"/>
                  <a:gd name="connsiteY2" fmla="*/ 82160 h 481527"/>
                  <a:gd name="connsiteX3" fmla="*/ 0 w 92266"/>
                  <a:gd name="connsiteY3" fmla="*/ 82160 h 481527"/>
                  <a:gd name="connsiteX4" fmla="*/ 0 w 92266"/>
                  <a:gd name="connsiteY4" fmla="*/ 0 h 481527"/>
                  <a:gd name="connsiteX5" fmla="*/ 0 w 92266"/>
                  <a:gd name="connsiteY5" fmla="*/ 136043 h 481527"/>
                  <a:gd name="connsiteX6" fmla="*/ 92266 w 92266"/>
                  <a:gd name="connsiteY6" fmla="*/ 136043 h 481527"/>
                  <a:gd name="connsiteX7" fmla="*/ 92266 w 92266"/>
                  <a:gd name="connsiteY7" fmla="*/ 481527 h 481527"/>
                  <a:gd name="connsiteX8" fmla="*/ 0 w 92266"/>
                  <a:gd name="connsiteY8" fmla="*/ 481527 h 481527"/>
                  <a:gd name="connsiteX9" fmla="*/ 0 w 92266"/>
                  <a:gd name="connsiteY9" fmla="*/ 136043 h 48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266" h="481527">
                    <a:moveTo>
                      <a:pt x="0" y="0"/>
                    </a:moveTo>
                    <a:lnTo>
                      <a:pt x="92266" y="0"/>
                    </a:lnTo>
                    <a:lnTo>
                      <a:pt x="92266" y="82160"/>
                    </a:lnTo>
                    <a:lnTo>
                      <a:pt x="0" y="82160"/>
                    </a:lnTo>
                    <a:lnTo>
                      <a:pt x="0" y="0"/>
                    </a:lnTo>
                    <a:close/>
                    <a:moveTo>
                      <a:pt x="0" y="136043"/>
                    </a:moveTo>
                    <a:lnTo>
                      <a:pt x="92266" y="136043"/>
                    </a:lnTo>
                    <a:lnTo>
                      <a:pt x="92266" y="481527"/>
                    </a:lnTo>
                    <a:lnTo>
                      <a:pt x="0" y="481527"/>
                    </a:lnTo>
                    <a:lnTo>
                      <a:pt x="0" y="136043"/>
                    </a:lnTo>
                    <a:close/>
                  </a:path>
                </a:pathLst>
              </a:custGeom>
              <a:solidFill>
                <a:srgbClr val="50936E"/>
              </a:solidFill>
              <a:ln w="19259" cap="flat">
                <a:noFill/>
                <a:prstDash val="solid"/>
                <a:miter/>
              </a:ln>
            </p:spPr>
            <p:txBody>
              <a:bodyPr rtlCol="0" anchor="ctr"/>
              <a:lstStyle/>
              <a:p>
                <a:endParaRPr lang="de-DE"/>
              </a:p>
            </p:txBody>
          </p:sp>
          <p:sp>
            <p:nvSpPr>
              <p:cNvPr id="23" name="Freihandform 22">
                <a:extLst>
                  <a:ext uri="{FF2B5EF4-FFF2-40B4-BE49-F238E27FC236}">
                    <a16:creationId xmlns:a16="http://schemas.microsoft.com/office/drawing/2014/main" id="{3B766515-B49E-B308-C3C1-64BC3D65C79A}"/>
                  </a:ext>
                </a:extLst>
              </p:cNvPr>
              <p:cNvSpPr/>
              <p:nvPr/>
            </p:nvSpPr>
            <p:spPr>
              <a:xfrm>
                <a:off x="5831155" y="3220328"/>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24" name="Freihandform 23">
                <a:extLst>
                  <a:ext uri="{FF2B5EF4-FFF2-40B4-BE49-F238E27FC236}">
                    <a16:creationId xmlns:a16="http://schemas.microsoft.com/office/drawing/2014/main" id="{A7F6D249-BE69-C499-6E1C-3E780EFB357C}"/>
                  </a:ext>
                </a:extLst>
              </p:cNvPr>
              <p:cNvSpPr/>
              <p:nvPr/>
            </p:nvSpPr>
            <p:spPr>
              <a:xfrm>
                <a:off x="6201053" y="3220328"/>
                <a:ext cx="337114" cy="472776"/>
              </a:xfrm>
              <a:custGeom>
                <a:avLst/>
                <a:gdLst>
                  <a:gd name="connsiteX0" fmla="*/ 7456 w 337114"/>
                  <a:gd name="connsiteY0" fmla="*/ 365012 h 472776"/>
                  <a:gd name="connsiteX1" fmla="*/ 99026 w 337114"/>
                  <a:gd name="connsiteY1" fmla="*/ 365012 h 472776"/>
                  <a:gd name="connsiteX2" fmla="*/ 168905 w 337114"/>
                  <a:gd name="connsiteY2" fmla="*/ 403415 h 472776"/>
                  <a:gd name="connsiteX3" fmla="*/ 246221 w 337114"/>
                  <a:gd name="connsiteY3" fmla="*/ 331360 h 472776"/>
                  <a:gd name="connsiteX4" fmla="*/ 246221 w 337114"/>
                  <a:gd name="connsiteY4" fmla="*/ 293631 h 472776"/>
                  <a:gd name="connsiteX5" fmla="*/ 244187 w 337114"/>
                  <a:gd name="connsiteY5" fmla="*/ 293631 h 472776"/>
                  <a:gd name="connsiteX6" fmla="*/ 153294 w 337114"/>
                  <a:gd name="connsiteY6" fmla="*/ 334051 h 472776"/>
                  <a:gd name="connsiteX7" fmla="*/ 0 w 337114"/>
                  <a:gd name="connsiteY7" fmla="*/ 169050 h 472776"/>
                  <a:gd name="connsiteX8" fmla="*/ 150583 w 337114"/>
                  <a:gd name="connsiteY8" fmla="*/ 0 h 472776"/>
                  <a:gd name="connsiteX9" fmla="*/ 246918 w 337114"/>
                  <a:gd name="connsiteY9" fmla="*/ 45796 h 472776"/>
                  <a:gd name="connsiteX10" fmla="*/ 248256 w 337114"/>
                  <a:gd name="connsiteY10" fmla="*/ 45796 h 472776"/>
                  <a:gd name="connsiteX11" fmla="*/ 248256 w 337114"/>
                  <a:gd name="connsiteY11" fmla="*/ 9433 h 472776"/>
                  <a:gd name="connsiteX12" fmla="*/ 337115 w 337114"/>
                  <a:gd name="connsiteY12" fmla="*/ 9433 h 472776"/>
                  <a:gd name="connsiteX13" fmla="*/ 337115 w 337114"/>
                  <a:gd name="connsiteY13" fmla="*/ 328630 h 472776"/>
                  <a:gd name="connsiteX14" fmla="*/ 295743 w 337114"/>
                  <a:gd name="connsiteY14" fmla="*/ 433702 h 472776"/>
                  <a:gd name="connsiteX15" fmla="*/ 170260 w 337114"/>
                  <a:gd name="connsiteY15" fmla="*/ 472776 h 472776"/>
                  <a:gd name="connsiteX16" fmla="*/ 7456 w 337114"/>
                  <a:gd name="connsiteY16" fmla="*/ 365012 h 472776"/>
                  <a:gd name="connsiteX17" fmla="*/ 250986 w 337114"/>
                  <a:gd name="connsiteY17" fmla="*/ 167021 h 472776"/>
                  <a:gd name="connsiteX18" fmla="*/ 168228 w 337114"/>
                  <a:gd name="connsiteY18" fmla="*/ 73401 h 472776"/>
                  <a:gd name="connsiteX19" fmla="*/ 90215 w 337114"/>
                  <a:gd name="connsiteY19" fmla="*/ 167695 h 472776"/>
                  <a:gd name="connsiteX20" fmla="*/ 168905 w 337114"/>
                  <a:gd name="connsiteY20" fmla="*/ 260650 h 472776"/>
                  <a:gd name="connsiteX21" fmla="*/ 250986 w 337114"/>
                  <a:gd name="connsiteY21" fmla="*/ 167021 h 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7114" h="472776">
                    <a:moveTo>
                      <a:pt x="7456" y="365012"/>
                    </a:moveTo>
                    <a:lnTo>
                      <a:pt x="99026" y="365012"/>
                    </a:lnTo>
                    <a:cubicBezTo>
                      <a:pt x="106502" y="386550"/>
                      <a:pt x="126160" y="403415"/>
                      <a:pt x="168905" y="403415"/>
                    </a:cubicBezTo>
                    <a:cubicBezTo>
                      <a:pt x="221120" y="403415"/>
                      <a:pt x="246221" y="378473"/>
                      <a:pt x="246221" y="331360"/>
                    </a:cubicBezTo>
                    <a:lnTo>
                      <a:pt x="246221" y="293631"/>
                    </a:lnTo>
                    <a:lnTo>
                      <a:pt x="244187" y="293631"/>
                    </a:lnTo>
                    <a:cubicBezTo>
                      <a:pt x="223850" y="316553"/>
                      <a:pt x="197396" y="334051"/>
                      <a:pt x="153294" y="334051"/>
                    </a:cubicBezTo>
                    <a:cubicBezTo>
                      <a:pt x="75979" y="334051"/>
                      <a:pt x="0" y="273403"/>
                      <a:pt x="0" y="169050"/>
                    </a:cubicBezTo>
                    <a:cubicBezTo>
                      <a:pt x="0" y="65988"/>
                      <a:pt x="62402" y="0"/>
                      <a:pt x="150583" y="0"/>
                    </a:cubicBezTo>
                    <a:cubicBezTo>
                      <a:pt x="194006" y="0"/>
                      <a:pt x="225885" y="16845"/>
                      <a:pt x="246918" y="45796"/>
                    </a:cubicBezTo>
                    <a:lnTo>
                      <a:pt x="248256" y="45796"/>
                    </a:lnTo>
                    <a:lnTo>
                      <a:pt x="248256" y="9433"/>
                    </a:lnTo>
                    <a:lnTo>
                      <a:pt x="337115" y="9433"/>
                    </a:lnTo>
                    <a:lnTo>
                      <a:pt x="337115" y="328630"/>
                    </a:lnTo>
                    <a:cubicBezTo>
                      <a:pt x="337115" y="377127"/>
                      <a:pt x="321523" y="410144"/>
                      <a:pt x="295743" y="433702"/>
                    </a:cubicBezTo>
                    <a:cubicBezTo>
                      <a:pt x="266576" y="460662"/>
                      <a:pt x="221799" y="472776"/>
                      <a:pt x="170260" y="472776"/>
                    </a:cubicBezTo>
                    <a:cubicBezTo>
                      <a:pt x="75300" y="472776"/>
                      <a:pt x="16964" y="432356"/>
                      <a:pt x="7456" y="365012"/>
                    </a:cubicBezTo>
                    <a:close/>
                    <a:moveTo>
                      <a:pt x="250986" y="167021"/>
                    </a:moveTo>
                    <a:cubicBezTo>
                      <a:pt x="250986" y="116513"/>
                      <a:pt x="223850" y="73401"/>
                      <a:pt x="168228" y="73401"/>
                    </a:cubicBezTo>
                    <a:cubicBezTo>
                      <a:pt x="121434" y="73401"/>
                      <a:pt x="90215" y="109765"/>
                      <a:pt x="90215" y="167695"/>
                    </a:cubicBezTo>
                    <a:cubicBezTo>
                      <a:pt x="90215" y="226287"/>
                      <a:pt x="121434" y="260650"/>
                      <a:pt x="168905" y="260650"/>
                    </a:cubicBezTo>
                    <a:cubicBezTo>
                      <a:pt x="227221" y="260650"/>
                      <a:pt x="250986" y="218210"/>
                      <a:pt x="250986" y="167021"/>
                    </a:cubicBezTo>
                    <a:close/>
                  </a:path>
                </a:pathLst>
              </a:custGeom>
              <a:solidFill>
                <a:srgbClr val="50936E"/>
              </a:solidFill>
              <a:ln w="19259" cap="flat">
                <a:noFill/>
                <a:prstDash val="solid"/>
                <a:miter/>
              </a:ln>
            </p:spPr>
            <p:txBody>
              <a:bodyPr rtlCol="0" anchor="ctr"/>
              <a:lstStyle/>
              <a:p>
                <a:endParaRPr lang="de-DE"/>
              </a:p>
            </p:txBody>
          </p:sp>
        </p:grpSp>
        <p:grpSp>
          <p:nvGrpSpPr>
            <p:cNvPr id="8" name="Grafik 7">
              <a:extLst>
                <a:ext uri="{FF2B5EF4-FFF2-40B4-BE49-F238E27FC236}">
                  <a16:creationId xmlns:a16="http://schemas.microsoft.com/office/drawing/2014/main" id="{8D843050-A580-C6E3-549F-4E68E5C0BA2D}"/>
                </a:ext>
              </a:extLst>
            </p:cNvPr>
            <p:cNvGrpSpPr/>
            <p:nvPr/>
          </p:nvGrpSpPr>
          <p:grpSpPr>
            <a:xfrm>
              <a:off x="1217876" y="3774014"/>
              <a:ext cx="1854882" cy="579773"/>
              <a:chOff x="3395850" y="3805292"/>
              <a:chExt cx="1902558" cy="594675"/>
            </a:xfrm>
            <a:solidFill>
              <a:srgbClr val="50936E"/>
            </a:solidFill>
          </p:grpSpPr>
          <p:sp>
            <p:nvSpPr>
              <p:cNvPr id="9" name="Freihandform 8">
                <a:extLst>
                  <a:ext uri="{FF2B5EF4-FFF2-40B4-BE49-F238E27FC236}">
                    <a16:creationId xmlns:a16="http://schemas.microsoft.com/office/drawing/2014/main" id="{D2DDF285-D81A-8655-AA1D-BFA59D0484A8}"/>
                  </a:ext>
                </a:extLst>
              </p:cNvPr>
              <p:cNvSpPr/>
              <p:nvPr/>
            </p:nvSpPr>
            <p:spPr>
              <a:xfrm>
                <a:off x="3952641" y="3933048"/>
                <a:ext cx="339131" cy="366082"/>
              </a:xfrm>
              <a:custGeom>
                <a:avLst/>
                <a:gdLst>
                  <a:gd name="connsiteX0" fmla="*/ 325993 w 339131"/>
                  <a:gd name="connsiteY0" fmla="*/ 302773 h 366082"/>
                  <a:gd name="connsiteX1" fmla="*/ 325993 w 339131"/>
                  <a:gd name="connsiteY1" fmla="*/ 124644 h 366082"/>
                  <a:gd name="connsiteX2" fmla="*/ 312850 w 339131"/>
                  <a:gd name="connsiteY2" fmla="*/ 63310 h 366082"/>
                  <a:gd name="connsiteX3" fmla="*/ 272809 w 339131"/>
                  <a:gd name="connsiteY3" fmla="*/ 20866 h 366082"/>
                  <a:gd name="connsiteX4" fmla="*/ 230013 w 339131"/>
                  <a:gd name="connsiteY4" fmla="*/ 5228 h 366082"/>
                  <a:gd name="connsiteX5" fmla="*/ 172223 w 339131"/>
                  <a:gd name="connsiteY5" fmla="*/ 0 h 366082"/>
                  <a:gd name="connsiteX6" fmla="*/ 104475 w 339131"/>
                  <a:gd name="connsiteY6" fmla="*/ 9796 h 366082"/>
                  <a:gd name="connsiteX7" fmla="*/ 56560 w 339131"/>
                  <a:gd name="connsiteY7" fmla="*/ 35232 h 366082"/>
                  <a:gd name="connsiteX8" fmla="*/ 27618 w 339131"/>
                  <a:gd name="connsiteY8" fmla="*/ 71789 h 366082"/>
                  <a:gd name="connsiteX9" fmla="*/ 17086 w 339131"/>
                  <a:gd name="connsiteY9" fmla="*/ 114842 h 366082"/>
                  <a:gd name="connsiteX10" fmla="*/ 112449 w 339131"/>
                  <a:gd name="connsiteY10" fmla="*/ 114842 h 366082"/>
                  <a:gd name="connsiteX11" fmla="*/ 128865 w 339131"/>
                  <a:gd name="connsiteY11" fmla="*/ 81587 h 366082"/>
                  <a:gd name="connsiteX12" fmla="*/ 173557 w 339131"/>
                  <a:gd name="connsiteY12" fmla="*/ 69195 h 366082"/>
                  <a:gd name="connsiteX13" fmla="*/ 213029 w 339131"/>
                  <a:gd name="connsiteY13" fmla="*/ 80927 h 366082"/>
                  <a:gd name="connsiteX14" fmla="*/ 225457 w 339131"/>
                  <a:gd name="connsiteY14" fmla="*/ 110887 h 366082"/>
                  <a:gd name="connsiteX15" fmla="*/ 204439 w 339131"/>
                  <a:gd name="connsiteY15" fmla="*/ 139669 h 366082"/>
                  <a:gd name="connsiteX16" fmla="*/ 137399 w 339131"/>
                  <a:gd name="connsiteY16" fmla="*/ 155306 h 366082"/>
                  <a:gd name="connsiteX17" fmla="*/ 83506 w 339131"/>
                  <a:gd name="connsiteY17" fmla="*/ 165055 h 366082"/>
                  <a:gd name="connsiteX18" fmla="*/ 40141 w 339131"/>
                  <a:gd name="connsiteY18" fmla="*/ 182676 h 366082"/>
                  <a:gd name="connsiteX19" fmla="*/ 10534 w 339131"/>
                  <a:gd name="connsiteY19" fmla="*/ 213365 h 366082"/>
                  <a:gd name="connsiteX20" fmla="*/ 0 w 339131"/>
                  <a:gd name="connsiteY20" fmla="*/ 261037 h 366082"/>
                  <a:gd name="connsiteX21" fmla="*/ 8542 w 339131"/>
                  <a:gd name="connsiteY21" fmla="*/ 306732 h 366082"/>
                  <a:gd name="connsiteX22" fmla="*/ 33498 w 339131"/>
                  <a:gd name="connsiteY22" fmla="*/ 339326 h 366082"/>
                  <a:gd name="connsiteX23" fmla="*/ 71640 w 339131"/>
                  <a:gd name="connsiteY23" fmla="*/ 358924 h 366082"/>
                  <a:gd name="connsiteX24" fmla="*/ 119654 w 339131"/>
                  <a:gd name="connsiteY24" fmla="*/ 366083 h 366082"/>
                  <a:gd name="connsiteX25" fmla="*/ 184037 w 339131"/>
                  <a:gd name="connsiteY25" fmla="*/ 352423 h 366082"/>
                  <a:gd name="connsiteX26" fmla="*/ 226785 w 339131"/>
                  <a:gd name="connsiteY26" fmla="*/ 314552 h 366082"/>
                  <a:gd name="connsiteX27" fmla="*/ 231337 w 339131"/>
                  <a:gd name="connsiteY27" fmla="*/ 340649 h 366082"/>
                  <a:gd name="connsiteX28" fmla="*/ 238599 w 339131"/>
                  <a:gd name="connsiteY28" fmla="*/ 356949 h 366082"/>
                  <a:gd name="connsiteX29" fmla="*/ 339132 w 339131"/>
                  <a:gd name="connsiteY29" fmla="*/ 356949 h 366082"/>
                  <a:gd name="connsiteX30" fmla="*/ 339132 w 339131"/>
                  <a:gd name="connsiteY30" fmla="*/ 351108 h 366082"/>
                  <a:gd name="connsiteX31" fmla="*/ 325991 w 339131"/>
                  <a:gd name="connsiteY31" fmla="*/ 302773 h 366082"/>
                  <a:gd name="connsiteX32" fmla="*/ 228112 w 339131"/>
                  <a:gd name="connsiteY32" fmla="*/ 232303 h 366082"/>
                  <a:gd name="connsiteX33" fmla="*/ 207046 w 339131"/>
                  <a:gd name="connsiteY33" fmla="*/ 279975 h 366082"/>
                  <a:gd name="connsiteX34" fmla="*/ 151822 w 339131"/>
                  <a:gd name="connsiteY34" fmla="*/ 298909 h 366082"/>
                  <a:gd name="connsiteX35" fmla="*/ 115673 w 339131"/>
                  <a:gd name="connsiteY35" fmla="*/ 289676 h 366082"/>
                  <a:gd name="connsiteX36" fmla="*/ 100584 w 339131"/>
                  <a:gd name="connsiteY36" fmla="*/ 257738 h 366082"/>
                  <a:gd name="connsiteX37" fmla="*/ 116999 w 339131"/>
                  <a:gd name="connsiteY37" fmla="*/ 224484 h 366082"/>
                  <a:gd name="connsiteX38" fmla="*/ 167622 w 339131"/>
                  <a:gd name="connsiteY38" fmla="*/ 206863 h 366082"/>
                  <a:gd name="connsiteX39" fmla="*/ 200455 w 339131"/>
                  <a:gd name="connsiteY39" fmla="*/ 199044 h 366082"/>
                  <a:gd name="connsiteX40" fmla="*/ 228114 w 339131"/>
                  <a:gd name="connsiteY40" fmla="*/ 187245 h 366082"/>
                  <a:gd name="connsiteX41" fmla="*/ 228114 w 339131"/>
                  <a:gd name="connsiteY41" fmla="*/ 232305 h 36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9131" h="366082">
                    <a:moveTo>
                      <a:pt x="325993" y="302773"/>
                    </a:moveTo>
                    <a:lnTo>
                      <a:pt x="325993" y="124644"/>
                    </a:lnTo>
                    <a:cubicBezTo>
                      <a:pt x="325993" y="101134"/>
                      <a:pt x="321623" y="80691"/>
                      <a:pt x="312850" y="63310"/>
                    </a:cubicBezTo>
                    <a:cubicBezTo>
                      <a:pt x="304499" y="45457"/>
                      <a:pt x="291168" y="31325"/>
                      <a:pt x="272809" y="20866"/>
                    </a:cubicBezTo>
                    <a:cubicBezTo>
                      <a:pt x="260517" y="13472"/>
                      <a:pt x="246239" y="8242"/>
                      <a:pt x="230013" y="5228"/>
                    </a:cubicBezTo>
                    <a:cubicBezTo>
                      <a:pt x="213883" y="1740"/>
                      <a:pt x="194571" y="0"/>
                      <a:pt x="172223" y="0"/>
                    </a:cubicBezTo>
                    <a:cubicBezTo>
                      <a:pt x="146416" y="0"/>
                      <a:pt x="123787" y="3251"/>
                      <a:pt x="104475" y="9796"/>
                    </a:cubicBezTo>
                    <a:cubicBezTo>
                      <a:pt x="85261" y="15875"/>
                      <a:pt x="69272" y="24354"/>
                      <a:pt x="56560" y="35232"/>
                    </a:cubicBezTo>
                    <a:cubicBezTo>
                      <a:pt x="43845" y="45689"/>
                      <a:pt x="34210" y="57846"/>
                      <a:pt x="27618" y="71789"/>
                    </a:cubicBezTo>
                    <a:cubicBezTo>
                      <a:pt x="21069" y="85681"/>
                      <a:pt x="17558" y="100052"/>
                      <a:pt x="17086" y="114842"/>
                    </a:cubicBezTo>
                    <a:lnTo>
                      <a:pt x="112449" y="114842"/>
                    </a:lnTo>
                    <a:cubicBezTo>
                      <a:pt x="113775" y="100901"/>
                      <a:pt x="119230" y="89829"/>
                      <a:pt x="128865" y="81587"/>
                    </a:cubicBezTo>
                    <a:cubicBezTo>
                      <a:pt x="138921" y="73294"/>
                      <a:pt x="153818" y="69195"/>
                      <a:pt x="173557" y="69195"/>
                    </a:cubicBezTo>
                    <a:cubicBezTo>
                      <a:pt x="191487" y="69195"/>
                      <a:pt x="204630" y="73106"/>
                      <a:pt x="213029" y="80927"/>
                    </a:cubicBezTo>
                    <a:cubicBezTo>
                      <a:pt x="221284" y="88321"/>
                      <a:pt x="225457" y="98312"/>
                      <a:pt x="225457" y="110887"/>
                    </a:cubicBezTo>
                    <a:cubicBezTo>
                      <a:pt x="225457" y="123982"/>
                      <a:pt x="218436" y="133542"/>
                      <a:pt x="204439" y="139669"/>
                    </a:cubicBezTo>
                    <a:cubicBezTo>
                      <a:pt x="190826" y="145745"/>
                      <a:pt x="168526" y="150928"/>
                      <a:pt x="137399" y="155306"/>
                    </a:cubicBezTo>
                    <a:cubicBezTo>
                      <a:pt x="118141" y="157473"/>
                      <a:pt x="100112" y="160724"/>
                      <a:pt x="83506" y="165055"/>
                    </a:cubicBezTo>
                    <a:cubicBezTo>
                      <a:pt x="66853" y="168966"/>
                      <a:pt x="52379" y="174857"/>
                      <a:pt x="40141" y="182676"/>
                    </a:cubicBezTo>
                    <a:cubicBezTo>
                      <a:pt x="27855" y="190567"/>
                      <a:pt x="17982" y="200741"/>
                      <a:pt x="10534" y="213365"/>
                    </a:cubicBezTo>
                    <a:cubicBezTo>
                      <a:pt x="3563" y="225989"/>
                      <a:pt x="0" y="241911"/>
                      <a:pt x="0" y="261037"/>
                    </a:cubicBezTo>
                    <a:cubicBezTo>
                      <a:pt x="0" y="277997"/>
                      <a:pt x="2846" y="293162"/>
                      <a:pt x="8542" y="306732"/>
                    </a:cubicBezTo>
                    <a:cubicBezTo>
                      <a:pt x="14710" y="319733"/>
                      <a:pt x="23057" y="330663"/>
                      <a:pt x="33498" y="339326"/>
                    </a:cubicBezTo>
                    <a:cubicBezTo>
                      <a:pt x="44503" y="347995"/>
                      <a:pt x="57221" y="354588"/>
                      <a:pt x="71640" y="358924"/>
                    </a:cubicBezTo>
                    <a:cubicBezTo>
                      <a:pt x="86584" y="363632"/>
                      <a:pt x="102572" y="366083"/>
                      <a:pt x="119654" y="366083"/>
                    </a:cubicBezTo>
                    <a:cubicBezTo>
                      <a:pt x="146794" y="366083"/>
                      <a:pt x="168285" y="361467"/>
                      <a:pt x="184037" y="352423"/>
                    </a:cubicBezTo>
                    <a:cubicBezTo>
                      <a:pt x="200265" y="343191"/>
                      <a:pt x="214071" y="330663"/>
                      <a:pt x="226785" y="314552"/>
                    </a:cubicBezTo>
                    <a:cubicBezTo>
                      <a:pt x="227639" y="324536"/>
                      <a:pt x="229155" y="333205"/>
                      <a:pt x="231337" y="340649"/>
                    </a:cubicBezTo>
                    <a:cubicBezTo>
                      <a:pt x="233617" y="347619"/>
                      <a:pt x="235986" y="352988"/>
                      <a:pt x="238599" y="356949"/>
                    </a:cubicBezTo>
                    <a:lnTo>
                      <a:pt x="339132" y="356949"/>
                    </a:lnTo>
                    <a:lnTo>
                      <a:pt x="339132" y="351108"/>
                    </a:lnTo>
                    <a:cubicBezTo>
                      <a:pt x="330401" y="345454"/>
                      <a:pt x="325991" y="329344"/>
                      <a:pt x="325991" y="302773"/>
                    </a:cubicBezTo>
                    <a:close/>
                    <a:moveTo>
                      <a:pt x="228112" y="232303"/>
                    </a:moveTo>
                    <a:cubicBezTo>
                      <a:pt x="228112" y="251428"/>
                      <a:pt x="221091" y="267351"/>
                      <a:pt x="207046" y="279975"/>
                    </a:cubicBezTo>
                    <a:cubicBezTo>
                      <a:pt x="193477" y="292599"/>
                      <a:pt x="175069" y="298909"/>
                      <a:pt x="151822" y="298909"/>
                    </a:cubicBezTo>
                    <a:cubicBezTo>
                      <a:pt x="137826" y="298909"/>
                      <a:pt x="125778" y="295802"/>
                      <a:pt x="115673" y="289676"/>
                    </a:cubicBezTo>
                    <a:cubicBezTo>
                      <a:pt x="105611" y="283647"/>
                      <a:pt x="100584" y="273001"/>
                      <a:pt x="100584" y="257738"/>
                    </a:cubicBezTo>
                    <a:cubicBezTo>
                      <a:pt x="100584" y="242574"/>
                      <a:pt x="106087" y="231455"/>
                      <a:pt x="116999" y="224484"/>
                    </a:cubicBezTo>
                    <a:cubicBezTo>
                      <a:pt x="128007" y="217510"/>
                      <a:pt x="144804" y="211672"/>
                      <a:pt x="167622" y="206863"/>
                    </a:cubicBezTo>
                    <a:cubicBezTo>
                      <a:pt x="179058" y="204229"/>
                      <a:pt x="189970" y="201683"/>
                      <a:pt x="200455" y="199044"/>
                    </a:cubicBezTo>
                    <a:cubicBezTo>
                      <a:pt x="211415" y="196029"/>
                      <a:pt x="220617" y="192074"/>
                      <a:pt x="228114" y="187245"/>
                    </a:cubicBezTo>
                    <a:lnTo>
                      <a:pt x="228114" y="232305"/>
                    </a:lnTo>
                    <a:close/>
                  </a:path>
                </a:pathLst>
              </a:custGeom>
              <a:solidFill>
                <a:srgbClr val="50936E"/>
              </a:solidFill>
              <a:ln w="19259" cap="flat">
                <a:noFill/>
                <a:prstDash val="solid"/>
                <a:miter/>
              </a:ln>
            </p:spPr>
            <p:txBody>
              <a:bodyPr rtlCol="0" anchor="ctr"/>
              <a:lstStyle/>
              <a:p>
                <a:endParaRPr lang="de-DE"/>
              </a:p>
            </p:txBody>
          </p:sp>
          <p:sp>
            <p:nvSpPr>
              <p:cNvPr id="10" name="Freihandform 9">
                <a:extLst>
                  <a:ext uri="{FF2B5EF4-FFF2-40B4-BE49-F238E27FC236}">
                    <a16:creationId xmlns:a16="http://schemas.microsoft.com/office/drawing/2014/main" id="{D788617E-85C6-D096-CFB3-8D1FB6C00819}"/>
                  </a:ext>
                </a:extLst>
              </p:cNvPr>
              <p:cNvSpPr/>
              <p:nvPr/>
            </p:nvSpPr>
            <p:spPr>
              <a:xfrm>
                <a:off x="4358418" y="3931902"/>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11" name="Freihandform 10">
                <a:extLst>
                  <a:ext uri="{FF2B5EF4-FFF2-40B4-BE49-F238E27FC236}">
                    <a16:creationId xmlns:a16="http://schemas.microsoft.com/office/drawing/2014/main" id="{8C00E688-5B78-D496-E441-56C49F97B299}"/>
                  </a:ext>
                </a:extLst>
              </p:cNvPr>
              <p:cNvSpPr/>
              <p:nvPr/>
            </p:nvSpPr>
            <p:spPr>
              <a:xfrm>
                <a:off x="3395850" y="3931903"/>
                <a:ext cx="344551" cy="468064"/>
              </a:xfrm>
              <a:custGeom>
                <a:avLst/>
                <a:gdLst>
                  <a:gd name="connsiteX0" fmla="*/ 0 w 344551"/>
                  <a:gd name="connsiteY0" fmla="*/ 9433 h 468064"/>
                  <a:gd name="connsiteX1" fmla="*/ 88859 w 344551"/>
                  <a:gd name="connsiteY1" fmla="*/ 9433 h 468064"/>
                  <a:gd name="connsiteX2" fmla="*/ 88859 w 344551"/>
                  <a:gd name="connsiteY2" fmla="*/ 52526 h 468064"/>
                  <a:gd name="connsiteX3" fmla="*/ 90892 w 344551"/>
                  <a:gd name="connsiteY3" fmla="*/ 52526 h 468064"/>
                  <a:gd name="connsiteX4" fmla="*/ 193290 w 344551"/>
                  <a:gd name="connsiteY4" fmla="*/ 0 h 468064"/>
                  <a:gd name="connsiteX5" fmla="*/ 344552 w 344551"/>
                  <a:gd name="connsiteY5" fmla="*/ 182511 h 468064"/>
                  <a:gd name="connsiteX6" fmla="*/ 193967 w 344551"/>
                  <a:gd name="connsiteY6" fmla="*/ 365012 h 468064"/>
                  <a:gd name="connsiteX7" fmla="*/ 93585 w 344551"/>
                  <a:gd name="connsiteY7" fmla="*/ 315841 h 468064"/>
                  <a:gd name="connsiteX8" fmla="*/ 92230 w 344551"/>
                  <a:gd name="connsiteY8" fmla="*/ 315841 h 468064"/>
                  <a:gd name="connsiteX9" fmla="*/ 92230 w 344551"/>
                  <a:gd name="connsiteY9" fmla="*/ 468065 h 468064"/>
                  <a:gd name="connsiteX10" fmla="*/ 0 w 344551"/>
                  <a:gd name="connsiteY10" fmla="*/ 468065 h 468064"/>
                  <a:gd name="connsiteX11" fmla="*/ 0 w 344551"/>
                  <a:gd name="connsiteY11" fmla="*/ 9433 h 468064"/>
                  <a:gd name="connsiteX12" fmla="*/ 250947 w 344551"/>
                  <a:gd name="connsiteY12" fmla="*/ 185212 h 468064"/>
                  <a:gd name="connsiteX13" fmla="*/ 170902 w 344551"/>
                  <a:gd name="connsiteY13" fmla="*/ 74083 h 468064"/>
                  <a:gd name="connsiteX14" fmla="*/ 90195 w 344551"/>
                  <a:gd name="connsiteY14" fmla="*/ 185212 h 468064"/>
                  <a:gd name="connsiteX15" fmla="*/ 174309 w 344551"/>
                  <a:gd name="connsiteY15" fmla="*/ 288920 h 468064"/>
                  <a:gd name="connsiteX16" fmla="*/ 250947 w 344551"/>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51" h="468064">
                    <a:moveTo>
                      <a:pt x="0" y="9433"/>
                    </a:moveTo>
                    <a:lnTo>
                      <a:pt x="88859" y="9433"/>
                    </a:lnTo>
                    <a:lnTo>
                      <a:pt x="88859" y="52526"/>
                    </a:lnTo>
                    <a:lnTo>
                      <a:pt x="90892" y="52526"/>
                    </a:lnTo>
                    <a:cubicBezTo>
                      <a:pt x="113263" y="22219"/>
                      <a:pt x="145820" y="0"/>
                      <a:pt x="193290" y="0"/>
                    </a:cubicBezTo>
                    <a:cubicBezTo>
                      <a:pt x="285557" y="0"/>
                      <a:pt x="344552" y="74757"/>
                      <a:pt x="344552" y="182511"/>
                    </a:cubicBezTo>
                    <a:cubicBezTo>
                      <a:pt x="344552" y="294303"/>
                      <a:pt x="283524" y="365012"/>
                      <a:pt x="193967" y="365012"/>
                    </a:cubicBezTo>
                    <a:cubicBezTo>
                      <a:pt x="145122" y="365012"/>
                      <a:pt x="113263" y="345494"/>
                      <a:pt x="93585" y="315841"/>
                    </a:cubicBezTo>
                    <a:lnTo>
                      <a:pt x="92230" y="315841"/>
                    </a:lnTo>
                    <a:lnTo>
                      <a:pt x="92230" y="468065"/>
                    </a:lnTo>
                    <a:lnTo>
                      <a:pt x="0" y="468065"/>
                    </a:lnTo>
                    <a:lnTo>
                      <a:pt x="0" y="9433"/>
                    </a:lnTo>
                    <a:close/>
                    <a:moveTo>
                      <a:pt x="250947" y="185212"/>
                    </a:moveTo>
                    <a:cubicBezTo>
                      <a:pt x="250947" y="119869"/>
                      <a:pt x="227880" y="74083"/>
                      <a:pt x="170902" y="74083"/>
                    </a:cubicBezTo>
                    <a:cubicBezTo>
                      <a:pt x="113263" y="74083"/>
                      <a:pt x="90195" y="123244"/>
                      <a:pt x="90195" y="185212"/>
                    </a:cubicBezTo>
                    <a:cubicBezTo>
                      <a:pt x="90195" y="247825"/>
                      <a:pt x="119383" y="288920"/>
                      <a:pt x="174309" y="288920"/>
                    </a:cubicBezTo>
                    <a:cubicBezTo>
                      <a:pt x="221120" y="288920"/>
                      <a:pt x="250947" y="250517"/>
                      <a:pt x="250947" y="185212"/>
                    </a:cubicBezTo>
                    <a:close/>
                  </a:path>
                </a:pathLst>
              </a:custGeom>
              <a:solidFill>
                <a:srgbClr val="50936E"/>
              </a:solidFill>
              <a:ln w="19259" cap="flat">
                <a:noFill/>
                <a:prstDash val="solid"/>
                <a:miter/>
              </a:ln>
            </p:spPr>
            <p:txBody>
              <a:bodyPr rtlCol="0" anchor="ctr"/>
              <a:lstStyle/>
              <a:p>
                <a:endParaRPr lang="de-DE"/>
              </a:p>
            </p:txBody>
          </p:sp>
          <p:sp>
            <p:nvSpPr>
              <p:cNvPr id="12" name="Freihandform 11">
                <a:extLst>
                  <a:ext uri="{FF2B5EF4-FFF2-40B4-BE49-F238E27FC236}">
                    <a16:creationId xmlns:a16="http://schemas.microsoft.com/office/drawing/2014/main" id="{ADE18B6C-61C2-BBC4-BB9E-4A3E59DE32A9}"/>
                  </a:ext>
                </a:extLst>
              </p:cNvPr>
              <p:cNvSpPr/>
              <p:nvPr/>
            </p:nvSpPr>
            <p:spPr>
              <a:xfrm>
                <a:off x="3800810" y="3805292"/>
                <a:ext cx="92248" cy="481527"/>
              </a:xfrm>
              <a:custGeom>
                <a:avLst/>
                <a:gdLst>
                  <a:gd name="connsiteX0" fmla="*/ 0 w 92248"/>
                  <a:gd name="connsiteY0" fmla="*/ 0 h 481527"/>
                  <a:gd name="connsiteX1" fmla="*/ 92249 w 92248"/>
                  <a:gd name="connsiteY1" fmla="*/ 0 h 481527"/>
                  <a:gd name="connsiteX2" fmla="*/ 92249 w 92248"/>
                  <a:gd name="connsiteY2" fmla="*/ 481527 h 481527"/>
                  <a:gd name="connsiteX3" fmla="*/ 0 w 92248"/>
                  <a:gd name="connsiteY3" fmla="*/ 481527 h 481527"/>
                  <a:gd name="connsiteX4" fmla="*/ 0 w 92248"/>
                  <a:gd name="connsiteY4" fmla="*/ 0 h 48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48" h="481527">
                    <a:moveTo>
                      <a:pt x="0" y="0"/>
                    </a:moveTo>
                    <a:lnTo>
                      <a:pt x="92249" y="0"/>
                    </a:lnTo>
                    <a:lnTo>
                      <a:pt x="92249" y="481527"/>
                    </a:lnTo>
                    <a:lnTo>
                      <a:pt x="0" y="481527"/>
                    </a:lnTo>
                    <a:lnTo>
                      <a:pt x="0" y="0"/>
                    </a:lnTo>
                    <a:close/>
                  </a:path>
                </a:pathLst>
              </a:custGeom>
              <a:solidFill>
                <a:srgbClr val="50936E"/>
              </a:solidFill>
              <a:ln w="19259" cap="flat">
                <a:noFill/>
                <a:prstDash val="solid"/>
                <a:miter/>
              </a:ln>
            </p:spPr>
            <p:txBody>
              <a:bodyPr rtlCol="0" anchor="ctr"/>
              <a:lstStyle/>
              <a:p>
                <a:endParaRPr lang="de-DE"/>
              </a:p>
            </p:txBody>
          </p:sp>
          <p:sp>
            <p:nvSpPr>
              <p:cNvPr id="13" name="Freihandform 12">
                <a:extLst>
                  <a:ext uri="{FF2B5EF4-FFF2-40B4-BE49-F238E27FC236}">
                    <a16:creationId xmlns:a16="http://schemas.microsoft.com/office/drawing/2014/main" id="{FE45F457-13E6-2613-7B52-D139C701652F}"/>
                  </a:ext>
                </a:extLst>
              </p:cNvPr>
              <p:cNvSpPr/>
              <p:nvPr/>
            </p:nvSpPr>
            <p:spPr>
              <a:xfrm>
                <a:off x="5098310" y="3833603"/>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14" name="Freihandform 13">
                <a:extLst>
                  <a:ext uri="{FF2B5EF4-FFF2-40B4-BE49-F238E27FC236}">
                    <a16:creationId xmlns:a16="http://schemas.microsoft.com/office/drawing/2014/main" id="{291D2EC5-8175-01D1-9DF8-6D34D714B2DC}"/>
                  </a:ext>
                </a:extLst>
              </p:cNvPr>
              <p:cNvSpPr/>
              <p:nvPr/>
            </p:nvSpPr>
            <p:spPr>
              <a:xfrm>
                <a:off x="4729809" y="3931934"/>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4 w 343225"/>
                  <a:gd name="connsiteY3" fmla="*/ 208115 h 365012"/>
                  <a:gd name="connsiteX4" fmla="*/ 179753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4" y="208115"/>
                    </a:lnTo>
                    <a:cubicBezTo>
                      <a:pt x="97690" y="261324"/>
                      <a:pt x="127527" y="294303"/>
                      <a:pt x="179753"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6"/>
                      <a:pt x="215039"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grpSp>
      </p:grpSp>
      <p:sp>
        <p:nvSpPr>
          <p:cNvPr id="25" name="Textplatzhalter 4">
            <a:extLst>
              <a:ext uri="{FF2B5EF4-FFF2-40B4-BE49-F238E27FC236}">
                <a16:creationId xmlns:a16="http://schemas.microsoft.com/office/drawing/2014/main" id="{A2D7C7BE-BBC6-9F3C-0C69-EE608FFB5C40}"/>
              </a:ext>
            </a:extLst>
          </p:cNvPr>
          <p:cNvSpPr txBox="1">
            <a:spLocks/>
          </p:cNvSpPr>
          <p:nvPr/>
        </p:nvSpPr>
        <p:spPr bwMode="black">
          <a:xfrm>
            <a:off x="515938" y="3680515"/>
            <a:ext cx="4259262"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 eros quis urna. Nunc viverra imperdiet enim. Fusce est. Vivamus a tellus. Pellentesque habitant morbi tristique senectus et netus et malesuada fames ac turpis egestas. Proin pharetra nonummy pede. Mauris et orci. Maecenas porttitor congue massa. Fusce posuere, magna sed pulvinar ultricies, purus lectus malesuada libero, sit amet commodo magna.</a:t>
            </a:r>
          </a:p>
        </p:txBody>
      </p:sp>
      <p:sp>
        <p:nvSpPr>
          <p:cNvPr id="31" name="Textplatzhalter 4">
            <a:extLst>
              <a:ext uri="{FF2B5EF4-FFF2-40B4-BE49-F238E27FC236}">
                <a16:creationId xmlns:a16="http://schemas.microsoft.com/office/drawing/2014/main" id="{CEC75898-1746-BEC4-B648-A0760B9682EF}"/>
              </a:ext>
            </a:extLst>
          </p:cNvPr>
          <p:cNvSpPr txBox="1">
            <a:spLocks/>
          </p:cNvSpPr>
          <p:nvPr/>
        </p:nvSpPr>
        <p:spPr bwMode="black">
          <a:xfrm>
            <a:off x="7146439" y="5188620"/>
            <a:ext cx="4537375" cy="646331"/>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a:t>
            </a: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Fusce posuere, magna sed pulvinar ultricies, purus lectus malesuada libero, sit amet commodo </a:t>
            </a:r>
            <a:r>
              <a:rPr kumimoji="0" lang="de-DE" altLang="de-DE" sz="140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gna eros quis urna. </a:t>
            </a:r>
          </a:p>
        </p:txBody>
      </p:sp>
      <p:grpSp>
        <p:nvGrpSpPr>
          <p:cNvPr id="59" name="Gruppieren 58">
            <a:extLst>
              <a:ext uri="{FF2B5EF4-FFF2-40B4-BE49-F238E27FC236}">
                <a16:creationId xmlns:a16="http://schemas.microsoft.com/office/drawing/2014/main" id="{7B50991E-0742-C400-941C-D5DB65564DD6}"/>
              </a:ext>
            </a:extLst>
          </p:cNvPr>
          <p:cNvGrpSpPr/>
          <p:nvPr/>
        </p:nvGrpSpPr>
        <p:grpSpPr>
          <a:xfrm>
            <a:off x="5847504" y="765175"/>
            <a:ext cx="5828470" cy="3909159"/>
            <a:chOff x="6096000" y="2104567"/>
            <a:chExt cx="5243653" cy="3516922"/>
          </a:xfrm>
        </p:grpSpPr>
        <p:sp>
          <p:nvSpPr>
            <p:cNvPr id="60" name="Freihandform 59">
              <a:extLst>
                <a:ext uri="{FF2B5EF4-FFF2-40B4-BE49-F238E27FC236}">
                  <a16:creationId xmlns:a16="http://schemas.microsoft.com/office/drawing/2014/main" id="{7CACFDE5-9A8F-9C30-7531-F428C66D1D45}"/>
                </a:ext>
              </a:extLst>
            </p:cNvPr>
            <p:cNvSpPr/>
            <p:nvPr/>
          </p:nvSpPr>
          <p:spPr>
            <a:xfrm>
              <a:off x="9341420" y="2104602"/>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5"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5"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61" name="Freihandform 60">
              <a:extLst>
                <a:ext uri="{FF2B5EF4-FFF2-40B4-BE49-F238E27FC236}">
                  <a16:creationId xmlns:a16="http://schemas.microsoft.com/office/drawing/2014/main" id="{EADB1F33-1E1E-8DBD-AAFE-8DB998ADE5C1}"/>
                </a:ext>
              </a:extLst>
            </p:cNvPr>
            <p:cNvSpPr/>
            <p:nvPr/>
          </p:nvSpPr>
          <p:spPr>
            <a:xfrm>
              <a:off x="7177806" y="2104567"/>
              <a:ext cx="1998233" cy="1891844"/>
            </a:xfrm>
            <a:custGeom>
              <a:avLst/>
              <a:gdLst>
                <a:gd name="connsiteX0" fmla="*/ 159670 w 1998233"/>
                <a:gd name="connsiteY0" fmla="*/ 370456 h 1891844"/>
                <a:gd name="connsiteX1" fmla="*/ 0 w 1998233"/>
                <a:gd name="connsiteY1" fmla="*/ 627941 h 1891844"/>
                <a:gd name="connsiteX2" fmla="*/ 0 w 1998233"/>
                <a:gd name="connsiteY2" fmla="*/ 1263939 h 1891844"/>
                <a:gd name="connsiteX3" fmla="*/ 159670 w 1998233"/>
                <a:gd name="connsiteY3" fmla="*/ 1521424 h 1891844"/>
                <a:gd name="connsiteX4" fmla="*/ 839447 w 1998233"/>
                <a:gd name="connsiteY4" fmla="*/ 1859007 h 1891844"/>
                <a:gd name="connsiteX5" fmla="*/ 1158787 w 1998233"/>
                <a:gd name="connsiteY5" fmla="*/ 1859007 h 1891844"/>
                <a:gd name="connsiteX6" fmla="*/ 1838564 w 1998233"/>
                <a:gd name="connsiteY6" fmla="*/ 1521424 h 1891844"/>
                <a:gd name="connsiteX7" fmla="*/ 1998234 w 1998233"/>
                <a:gd name="connsiteY7" fmla="*/ 1263939 h 1891844"/>
                <a:gd name="connsiteX8" fmla="*/ 1998234 w 1998233"/>
                <a:gd name="connsiteY8" fmla="*/ 627941 h 1891844"/>
                <a:gd name="connsiteX9" fmla="*/ 1838564 w 1998233"/>
                <a:gd name="connsiteY9" fmla="*/ 370456 h 1891844"/>
                <a:gd name="connsiteX10" fmla="*/ 1158822 w 1998233"/>
                <a:gd name="connsiteY10" fmla="*/ 32837 h 1891844"/>
                <a:gd name="connsiteX11" fmla="*/ 839482 w 1998233"/>
                <a:gd name="connsiteY11" fmla="*/ 32837 h 1891844"/>
                <a:gd name="connsiteX12" fmla="*/ 159705 w 1998233"/>
                <a:gd name="connsiteY12" fmla="*/ 370421 h 1891844"/>
                <a:gd name="connsiteX13" fmla="*/ 159670 w 1998233"/>
                <a:gd name="connsiteY13" fmla="*/ 370456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44">
                  <a:moveTo>
                    <a:pt x="159670" y="370456"/>
                  </a:moveTo>
                  <a:cubicBezTo>
                    <a:pt x="71481" y="414239"/>
                    <a:pt x="0" y="529526"/>
                    <a:pt x="0" y="627941"/>
                  </a:cubicBezTo>
                  <a:lnTo>
                    <a:pt x="0" y="1263939"/>
                  </a:lnTo>
                  <a:cubicBezTo>
                    <a:pt x="0" y="1362354"/>
                    <a:pt x="71481" y="1477641"/>
                    <a:pt x="159670" y="1521424"/>
                  </a:cubicBezTo>
                  <a:lnTo>
                    <a:pt x="839447" y="1859007"/>
                  </a:lnTo>
                  <a:cubicBezTo>
                    <a:pt x="927635" y="1902790"/>
                    <a:pt x="1070598" y="1902790"/>
                    <a:pt x="1158787" y="1859007"/>
                  </a:cubicBezTo>
                  <a:lnTo>
                    <a:pt x="1838564" y="1521424"/>
                  </a:lnTo>
                  <a:cubicBezTo>
                    <a:pt x="1926752" y="1477641"/>
                    <a:pt x="1998234" y="1362354"/>
                    <a:pt x="1998234" y="1263939"/>
                  </a:cubicBezTo>
                  <a:lnTo>
                    <a:pt x="1998234" y="627941"/>
                  </a:lnTo>
                  <a:cubicBezTo>
                    <a:pt x="1998234" y="529526"/>
                    <a:pt x="1926752" y="414239"/>
                    <a:pt x="1838564" y="370456"/>
                  </a:cubicBezTo>
                  <a:lnTo>
                    <a:pt x="1158822" y="32837"/>
                  </a:lnTo>
                  <a:cubicBezTo>
                    <a:pt x="1070633" y="-10946"/>
                    <a:pt x="927671" y="-10946"/>
                    <a:pt x="839482" y="32837"/>
                  </a:cubicBezTo>
                  <a:lnTo>
                    <a:pt x="159705" y="370421"/>
                  </a:lnTo>
                  <a:lnTo>
                    <a:pt x="159670" y="370456"/>
                  </a:lnTo>
                  <a:close/>
                </a:path>
              </a:pathLst>
            </a:custGeom>
            <a:solidFill>
              <a:srgbClr val="50936E"/>
            </a:solidFill>
            <a:ln w="3521" cap="flat">
              <a:noFill/>
              <a:prstDash val="solid"/>
              <a:miter/>
            </a:ln>
          </p:spPr>
          <p:txBody>
            <a:bodyPr rtlCol="0" anchor="ctr"/>
            <a:lstStyle/>
            <a:p>
              <a:endParaRPr lang="de-DE"/>
            </a:p>
          </p:txBody>
        </p:sp>
        <p:sp>
          <p:nvSpPr>
            <p:cNvPr id="62" name="Freihandform 61">
              <a:extLst>
                <a:ext uri="{FF2B5EF4-FFF2-40B4-BE49-F238E27FC236}">
                  <a16:creationId xmlns:a16="http://schemas.microsoft.com/office/drawing/2014/main" id="{BFD23847-5EDC-1369-00B5-2E2FB296B503}"/>
                </a:ext>
              </a:extLst>
            </p:cNvPr>
            <p:cNvSpPr/>
            <p:nvPr/>
          </p:nvSpPr>
          <p:spPr>
            <a:xfrm>
              <a:off x="8259613" y="3729645"/>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2"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63" name="Freihandform 62">
              <a:extLst>
                <a:ext uri="{FF2B5EF4-FFF2-40B4-BE49-F238E27FC236}">
                  <a16:creationId xmlns:a16="http://schemas.microsoft.com/office/drawing/2014/main" id="{6893ACC6-74AD-F17F-E4FA-BBA7B14C321D}"/>
                </a:ext>
              </a:extLst>
            </p:cNvPr>
            <p:cNvSpPr/>
            <p:nvPr/>
          </p:nvSpPr>
          <p:spPr>
            <a:xfrm>
              <a:off x="6096000" y="3729680"/>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64" name="Gruppieren 63">
              <a:extLst>
                <a:ext uri="{FF2B5EF4-FFF2-40B4-BE49-F238E27FC236}">
                  <a16:creationId xmlns:a16="http://schemas.microsoft.com/office/drawing/2014/main" id="{322D52A7-7242-990C-176F-376AE122978D}"/>
                </a:ext>
              </a:extLst>
            </p:cNvPr>
            <p:cNvGrpSpPr/>
            <p:nvPr/>
          </p:nvGrpSpPr>
          <p:grpSpPr>
            <a:xfrm>
              <a:off x="9680110" y="2394677"/>
              <a:ext cx="1210954" cy="1210144"/>
              <a:chOff x="9680110" y="2394677"/>
              <a:chExt cx="1210954" cy="1210144"/>
            </a:xfrm>
          </p:grpSpPr>
          <p:sp>
            <p:nvSpPr>
              <p:cNvPr id="80" name="Freihandform 79">
                <a:extLst>
                  <a:ext uri="{FF2B5EF4-FFF2-40B4-BE49-F238E27FC236}">
                    <a16:creationId xmlns:a16="http://schemas.microsoft.com/office/drawing/2014/main" id="{836FF490-63BC-0E0D-367F-E311EB0E4BED}"/>
                  </a:ext>
                </a:extLst>
              </p:cNvPr>
              <p:cNvSpPr/>
              <p:nvPr/>
            </p:nvSpPr>
            <p:spPr>
              <a:xfrm>
                <a:off x="9680110" y="2961604"/>
                <a:ext cx="1210954" cy="643217"/>
              </a:xfrm>
              <a:custGeom>
                <a:avLst/>
                <a:gdLst>
                  <a:gd name="connsiteX0" fmla="*/ 180431 w 1210954"/>
                  <a:gd name="connsiteY0" fmla="*/ 150791 h 643217"/>
                  <a:gd name="connsiteX1" fmla="*/ 438652 w 1210954"/>
                  <a:gd name="connsiteY1" fmla="*/ 525289 h 643217"/>
                  <a:gd name="connsiteX2" fmla="*/ 291353 w 1210954"/>
                  <a:gd name="connsiteY2" fmla="*/ 643217 h 643217"/>
                  <a:gd name="connsiteX3" fmla="*/ 251277 w 1210954"/>
                  <a:gd name="connsiteY3" fmla="*/ 593235 h 643217"/>
                  <a:gd name="connsiteX4" fmla="*/ 352049 w 1210954"/>
                  <a:gd name="connsiteY4" fmla="*/ 512538 h 643217"/>
                  <a:gd name="connsiteX5" fmla="*/ 162912 w 1210954"/>
                  <a:gd name="connsiteY5" fmla="*/ 238251 h 643217"/>
                  <a:gd name="connsiteX6" fmla="*/ 34754 w 1210954"/>
                  <a:gd name="connsiteY6" fmla="*/ 320921 h 643217"/>
                  <a:gd name="connsiteX7" fmla="*/ 0 w 1210954"/>
                  <a:gd name="connsiteY7" fmla="*/ 267099 h 643217"/>
                  <a:gd name="connsiteX8" fmla="*/ 180430 w 1210954"/>
                  <a:gd name="connsiteY8" fmla="*/ 150755 h 643217"/>
                  <a:gd name="connsiteX9" fmla="*/ 180430 w 1210954"/>
                  <a:gd name="connsiteY9" fmla="*/ 150791 h 643217"/>
                  <a:gd name="connsiteX10" fmla="*/ 672340 w 1210954"/>
                  <a:gd name="connsiteY10" fmla="*/ 90593 h 643217"/>
                  <a:gd name="connsiteX11" fmla="*/ 593069 w 1210954"/>
                  <a:gd name="connsiteY11" fmla="*/ 65902 h 643217"/>
                  <a:gd name="connsiteX12" fmla="*/ 388671 w 1210954"/>
                  <a:gd name="connsiteY12" fmla="*/ 71643 h 643217"/>
                  <a:gd name="connsiteX13" fmla="*/ 268196 w 1210954"/>
                  <a:gd name="connsiteY13" fmla="*/ 162344 h 643217"/>
                  <a:gd name="connsiteX14" fmla="*/ 247329 w 1210954"/>
                  <a:gd name="connsiteY14" fmla="*/ 179216 h 643217"/>
                  <a:gd name="connsiteX15" fmla="*/ 283634 w 1210954"/>
                  <a:gd name="connsiteY15" fmla="*/ 232263 h 643217"/>
                  <a:gd name="connsiteX16" fmla="*/ 308519 w 1210954"/>
                  <a:gd name="connsiteY16" fmla="*/ 212115 h 643217"/>
                  <a:gd name="connsiteX17" fmla="*/ 423883 w 1210954"/>
                  <a:gd name="connsiteY17" fmla="*/ 125113 h 643217"/>
                  <a:gd name="connsiteX18" fmla="*/ 571110 w 1210954"/>
                  <a:gd name="connsiteY18" fmla="*/ 126064 h 643217"/>
                  <a:gd name="connsiteX19" fmla="*/ 654893 w 1210954"/>
                  <a:gd name="connsiteY19" fmla="*/ 152200 h 643217"/>
                  <a:gd name="connsiteX20" fmla="*/ 745619 w 1210954"/>
                  <a:gd name="connsiteY20" fmla="*/ 197814 h 643217"/>
                  <a:gd name="connsiteX21" fmla="*/ 740262 w 1210954"/>
                  <a:gd name="connsiteY21" fmla="*/ 228036 h 643217"/>
                  <a:gd name="connsiteX22" fmla="*/ 676711 w 1210954"/>
                  <a:gd name="connsiteY22" fmla="*/ 244133 h 643217"/>
                  <a:gd name="connsiteX23" fmla="*/ 517041 w 1210954"/>
                  <a:gd name="connsiteY23" fmla="*/ 209051 h 643217"/>
                  <a:gd name="connsiteX24" fmla="*/ 485988 w 1210954"/>
                  <a:gd name="connsiteY24" fmla="*/ 201125 h 643217"/>
                  <a:gd name="connsiteX25" fmla="*/ 470091 w 1210954"/>
                  <a:gd name="connsiteY25" fmla="*/ 263154 h 643217"/>
                  <a:gd name="connsiteX26" fmla="*/ 501145 w 1210954"/>
                  <a:gd name="connsiteY26" fmla="*/ 271079 h 643217"/>
                  <a:gd name="connsiteX27" fmla="*/ 672200 w 1210954"/>
                  <a:gd name="connsiteY27" fmla="*/ 307994 h 643217"/>
                  <a:gd name="connsiteX28" fmla="*/ 688942 w 1210954"/>
                  <a:gd name="connsiteY28" fmla="*/ 308593 h 643217"/>
                  <a:gd name="connsiteX29" fmla="*/ 789608 w 1210954"/>
                  <a:gd name="connsiteY29" fmla="*/ 268860 h 643217"/>
                  <a:gd name="connsiteX30" fmla="*/ 807584 w 1210954"/>
                  <a:gd name="connsiteY30" fmla="*/ 181470 h 643217"/>
                  <a:gd name="connsiteX31" fmla="*/ 672270 w 1210954"/>
                  <a:gd name="connsiteY31" fmla="*/ 90593 h 643217"/>
                  <a:gd name="connsiteX32" fmla="*/ 1197946 w 1210954"/>
                  <a:gd name="connsiteY32" fmla="*/ 43323 h 643217"/>
                  <a:gd name="connsiteX33" fmla="*/ 993160 w 1210954"/>
                  <a:gd name="connsiteY33" fmla="*/ 51002 h 643217"/>
                  <a:gd name="connsiteX34" fmla="*/ 961720 w 1210954"/>
                  <a:gd name="connsiteY34" fmla="*/ 67557 h 643217"/>
                  <a:gd name="connsiteX35" fmla="*/ 962002 w 1210954"/>
                  <a:gd name="connsiteY35" fmla="*/ 68121 h 643217"/>
                  <a:gd name="connsiteX36" fmla="*/ 855485 w 1210954"/>
                  <a:gd name="connsiteY36" fmla="*/ 126662 h 643217"/>
                  <a:gd name="connsiteX37" fmla="*/ 834054 w 1210954"/>
                  <a:gd name="connsiteY37" fmla="*/ 138674 h 643217"/>
                  <a:gd name="connsiteX38" fmla="*/ 857600 w 1210954"/>
                  <a:gd name="connsiteY38" fmla="*/ 199012 h 643217"/>
                  <a:gd name="connsiteX39" fmla="*/ 886820 w 1210954"/>
                  <a:gd name="connsiteY39" fmla="*/ 182527 h 643217"/>
                  <a:gd name="connsiteX40" fmla="*/ 989918 w 1210954"/>
                  <a:gd name="connsiteY40" fmla="*/ 125077 h 643217"/>
                  <a:gd name="connsiteX41" fmla="*/ 991363 w 1210954"/>
                  <a:gd name="connsiteY41" fmla="*/ 124338 h 643217"/>
                  <a:gd name="connsiteX42" fmla="*/ 1023227 w 1210954"/>
                  <a:gd name="connsiteY42" fmla="*/ 107536 h 643217"/>
                  <a:gd name="connsiteX43" fmla="*/ 1143172 w 1210954"/>
                  <a:gd name="connsiteY43" fmla="*/ 76539 h 643217"/>
                  <a:gd name="connsiteX44" fmla="*/ 1114622 w 1210954"/>
                  <a:gd name="connsiteY44" fmla="*/ 148043 h 643217"/>
                  <a:gd name="connsiteX45" fmla="*/ 808677 w 1210954"/>
                  <a:gd name="connsiteY45" fmla="*/ 359773 h 643217"/>
                  <a:gd name="connsiteX46" fmla="*/ 690035 w 1210954"/>
                  <a:gd name="connsiteY46" fmla="*/ 412643 h 643217"/>
                  <a:gd name="connsiteX47" fmla="*/ 521976 w 1210954"/>
                  <a:gd name="connsiteY47" fmla="*/ 375024 h 643217"/>
                  <a:gd name="connsiteX48" fmla="*/ 511014 w 1210954"/>
                  <a:gd name="connsiteY48" fmla="*/ 372171 h 643217"/>
                  <a:gd name="connsiteX49" fmla="*/ 411264 w 1210954"/>
                  <a:gd name="connsiteY49" fmla="*/ 416518 h 643217"/>
                  <a:gd name="connsiteX50" fmla="*/ 448133 w 1210954"/>
                  <a:gd name="connsiteY50" fmla="*/ 470692 h 643217"/>
                  <a:gd name="connsiteX51" fmla="*/ 516759 w 1210954"/>
                  <a:gd name="connsiteY51" fmla="*/ 439836 h 643217"/>
                  <a:gd name="connsiteX52" fmla="*/ 683020 w 1210954"/>
                  <a:gd name="connsiteY52" fmla="*/ 476328 h 643217"/>
                  <a:gd name="connsiteX53" fmla="*/ 699375 w 1210954"/>
                  <a:gd name="connsiteY53" fmla="*/ 477243 h 643217"/>
                  <a:gd name="connsiteX54" fmla="*/ 846532 w 1210954"/>
                  <a:gd name="connsiteY54" fmla="*/ 411446 h 643217"/>
                  <a:gd name="connsiteX55" fmla="*/ 1148600 w 1210954"/>
                  <a:gd name="connsiteY55" fmla="*/ 202323 h 643217"/>
                  <a:gd name="connsiteX56" fmla="*/ 1197876 w 1210954"/>
                  <a:gd name="connsiteY56" fmla="*/ 43323 h 64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10954" h="643217">
                    <a:moveTo>
                      <a:pt x="180431" y="150791"/>
                    </a:moveTo>
                    <a:lnTo>
                      <a:pt x="438652" y="525289"/>
                    </a:lnTo>
                    <a:lnTo>
                      <a:pt x="291353" y="643217"/>
                    </a:lnTo>
                    <a:lnTo>
                      <a:pt x="251277" y="593235"/>
                    </a:lnTo>
                    <a:lnTo>
                      <a:pt x="352049" y="512538"/>
                    </a:lnTo>
                    <a:lnTo>
                      <a:pt x="162912" y="238251"/>
                    </a:lnTo>
                    <a:lnTo>
                      <a:pt x="34754" y="320921"/>
                    </a:lnTo>
                    <a:lnTo>
                      <a:pt x="0" y="267099"/>
                    </a:lnTo>
                    <a:lnTo>
                      <a:pt x="180430" y="150755"/>
                    </a:lnTo>
                    <a:lnTo>
                      <a:pt x="180430" y="150791"/>
                    </a:lnTo>
                    <a:close/>
                    <a:moveTo>
                      <a:pt x="672340" y="90593"/>
                    </a:moveTo>
                    <a:cubicBezTo>
                      <a:pt x="648513" y="83866"/>
                      <a:pt x="621514" y="76257"/>
                      <a:pt x="593069" y="65902"/>
                    </a:cubicBezTo>
                    <a:cubicBezTo>
                      <a:pt x="500017" y="32052"/>
                      <a:pt x="446512" y="33566"/>
                      <a:pt x="388671" y="71643"/>
                    </a:cubicBezTo>
                    <a:cubicBezTo>
                      <a:pt x="344083" y="100985"/>
                      <a:pt x="271298" y="159878"/>
                      <a:pt x="268196" y="162344"/>
                    </a:cubicBezTo>
                    <a:lnTo>
                      <a:pt x="247329" y="179216"/>
                    </a:lnTo>
                    <a:lnTo>
                      <a:pt x="283634" y="232263"/>
                    </a:lnTo>
                    <a:lnTo>
                      <a:pt x="308519" y="212115"/>
                    </a:lnTo>
                    <a:cubicBezTo>
                      <a:pt x="309259" y="211516"/>
                      <a:pt x="381903" y="152728"/>
                      <a:pt x="423883" y="125113"/>
                    </a:cubicBezTo>
                    <a:cubicBezTo>
                      <a:pt x="454971" y="104648"/>
                      <a:pt x="482005" y="93693"/>
                      <a:pt x="571110" y="126064"/>
                    </a:cubicBezTo>
                    <a:cubicBezTo>
                      <a:pt x="601775" y="137230"/>
                      <a:pt x="630008" y="145190"/>
                      <a:pt x="654893" y="152200"/>
                    </a:cubicBezTo>
                    <a:cubicBezTo>
                      <a:pt x="710760" y="167945"/>
                      <a:pt x="740191" y="177138"/>
                      <a:pt x="745619" y="197814"/>
                    </a:cubicBezTo>
                    <a:cubicBezTo>
                      <a:pt x="747064" y="203239"/>
                      <a:pt x="749391" y="217011"/>
                      <a:pt x="740262" y="228036"/>
                    </a:cubicBezTo>
                    <a:cubicBezTo>
                      <a:pt x="729864" y="240576"/>
                      <a:pt x="707341" y="246247"/>
                      <a:pt x="676711" y="244133"/>
                    </a:cubicBezTo>
                    <a:cubicBezTo>
                      <a:pt x="654012" y="242548"/>
                      <a:pt x="566740" y="221766"/>
                      <a:pt x="517041" y="209051"/>
                    </a:cubicBezTo>
                    <a:lnTo>
                      <a:pt x="485988" y="201125"/>
                    </a:lnTo>
                    <a:lnTo>
                      <a:pt x="470091" y="263154"/>
                    </a:lnTo>
                    <a:lnTo>
                      <a:pt x="501145" y="271079"/>
                    </a:lnTo>
                    <a:cubicBezTo>
                      <a:pt x="514891" y="274602"/>
                      <a:pt x="636318" y="305493"/>
                      <a:pt x="672200" y="307994"/>
                    </a:cubicBezTo>
                    <a:cubicBezTo>
                      <a:pt x="678015" y="308417"/>
                      <a:pt x="683584" y="308593"/>
                      <a:pt x="688942" y="308593"/>
                    </a:cubicBezTo>
                    <a:cubicBezTo>
                      <a:pt x="744421" y="308593"/>
                      <a:pt x="774170" y="287494"/>
                      <a:pt x="789608" y="268860"/>
                    </a:cubicBezTo>
                    <a:cubicBezTo>
                      <a:pt x="809417" y="244979"/>
                      <a:pt x="815938" y="213101"/>
                      <a:pt x="807584" y="181470"/>
                    </a:cubicBezTo>
                    <a:cubicBezTo>
                      <a:pt x="792533" y="124479"/>
                      <a:pt x="736808" y="108769"/>
                      <a:pt x="672270" y="90593"/>
                    </a:cubicBezTo>
                    <a:moveTo>
                      <a:pt x="1197946" y="43323"/>
                    </a:moveTo>
                    <a:cubicBezTo>
                      <a:pt x="1151526" y="-33077"/>
                      <a:pt x="1078141" y="5881"/>
                      <a:pt x="993160" y="51002"/>
                    </a:cubicBezTo>
                    <a:cubicBezTo>
                      <a:pt x="983221" y="56286"/>
                      <a:pt x="972752" y="61851"/>
                      <a:pt x="961720" y="67557"/>
                    </a:cubicBezTo>
                    <a:lnTo>
                      <a:pt x="962002" y="68121"/>
                    </a:lnTo>
                    <a:cubicBezTo>
                      <a:pt x="949172" y="74250"/>
                      <a:pt x="922137" y="89361"/>
                      <a:pt x="855485" y="126662"/>
                    </a:cubicBezTo>
                    <a:lnTo>
                      <a:pt x="834054" y="138674"/>
                    </a:lnTo>
                    <a:lnTo>
                      <a:pt x="857600" y="199012"/>
                    </a:lnTo>
                    <a:lnTo>
                      <a:pt x="886820" y="182527"/>
                    </a:lnTo>
                    <a:cubicBezTo>
                      <a:pt x="922702" y="162450"/>
                      <a:pt x="980401" y="130220"/>
                      <a:pt x="989918" y="125077"/>
                    </a:cubicBezTo>
                    <a:lnTo>
                      <a:pt x="991363" y="124338"/>
                    </a:lnTo>
                    <a:cubicBezTo>
                      <a:pt x="1002537" y="118526"/>
                      <a:pt x="1013146" y="112890"/>
                      <a:pt x="1023227" y="107536"/>
                    </a:cubicBezTo>
                    <a:cubicBezTo>
                      <a:pt x="1118464" y="56955"/>
                      <a:pt x="1131012" y="56497"/>
                      <a:pt x="1143172" y="76539"/>
                    </a:cubicBezTo>
                    <a:cubicBezTo>
                      <a:pt x="1148142" y="84746"/>
                      <a:pt x="1153711" y="123528"/>
                      <a:pt x="1114622" y="148043"/>
                    </a:cubicBezTo>
                    <a:cubicBezTo>
                      <a:pt x="1091606" y="162450"/>
                      <a:pt x="845721" y="332650"/>
                      <a:pt x="808677" y="359773"/>
                    </a:cubicBezTo>
                    <a:cubicBezTo>
                      <a:pt x="749461" y="403168"/>
                      <a:pt x="720629" y="415990"/>
                      <a:pt x="690035" y="412643"/>
                    </a:cubicBezTo>
                    <a:cubicBezTo>
                      <a:pt x="656092" y="408910"/>
                      <a:pt x="557188" y="384218"/>
                      <a:pt x="521976" y="375024"/>
                    </a:cubicBezTo>
                    <a:lnTo>
                      <a:pt x="511014" y="372171"/>
                    </a:lnTo>
                    <a:lnTo>
                      <a:pt x="411264" y="416518"/>
                    </a:lnTo>
                    <a:lnTo>
                      <a:pt x="448133" y="470692"/>
                    </a:lnTo>
                    <a:lnTo>
                      <a:pt x="516759" y="439836"/>
                    </a:lnTo>
                    <a:cubicBezTo>
                      <a:pt x="549398" y="448184"/>
                      <a:pt x="644742" y="472101"/>
                      <a:pt x="683020" y="476328"/>
                    </a:cubicBezTo>
                    <a:cubicBezTo>
                      <a:pt x="688554" y="476926"/>
                      <a:pt x="693982" y="477243"/>
                      <a:pt x="699375" y="477243"/>
                    </a:cubicBezTo>
                    <a:cubicBezTo>
                      <a:pt x="747100" y="477243"/>
                      <a:pt x="789220" y="453467"/>
                      <a:pt x="846532" y="411446"/>
                    </a:cubicBezTo>
                    <a:cubicBezTo>
                      <a:pt x="886009" y="382492"/>
                      <a:pt x="1130060" y="213947"/>
                      <a:pt x="1148600" y="202323"/>
                    </a:cubicBezTo>
                    <a:cubicBezTo>
                      <a:pt x="1217544" y="159104"/>
                      <a:pt x="1221526" y="82210"/>
                      <a:pt x="1197876" y="43323"/>
                    </a:cubicBezTo>
                  </a:path>
                </a:pathLst>
              </a:custGeom>
              <a:solidFill>
                <a:srgbClr val="FFFFFF"/>
              </a:solidFill>
              <a:ln w="3521" cap="flat">
                <a:noFill/>
                <a:prstDash val="solid"/>
                <a:miter/>
              </a:ln>
            </p:spPr>
            <p:txBody>
              <a:bodyPr rtlCol="0" anchor="ctr"/>
              <a:lstStyle/>
              <a:p>
                <a:endParaRPr lang="de-DE"/>
              </a:p>
            </p:txBody>
          </p:sp>
          <p:sp>
            <p:nvSpPr>
              <p:cNvPr id="81" name="Freihandform 80">
                <a:extLst>
                  <a:ext uri="{FF2B5EF4-FFF2-40B4-BE49-F238E27FC236}">
                    <a16:creationId xmlns:a16="http://schemas.microsoft.com/office/drawing/2014/main" id="{114EEFBC-A696-347D-ABA4-532940686796}"/>
                  </a:ext>
                </a:extLst>
              </p:cNvPr>
              <p:cNvSpPr/>
              <p:nvPr/>
            </p:nvSpPr>
            <p:spPr>
              <a:xfrm>
                <a:off x="10318269" y="2574424"/>
                <a:ext cx="319787" cy="441951"/>
              </a:xfrm>
              <a:custGeom>
                <a:avLst/>
                <a:gdLst>
                  <a:gd name="connsiteX0" fmla="*/ 301531 w 319787"/>
                  <a:gd name="connsiteY0" fmla="*/ 353540 h 441951"/>
                  <a:gd name="connsiteX1" fmla="*/ 248872 w 319787"/>
                  <a:gd name="connsiteY1" fmla="*/ 286227 h 441951"/>
                  <a:gd name="connsiteX2" fmla="*/ 215669 w 319787"/>
                  <a:gd name="connsiteY2" fmla="*/ 189891 h 441951"/>
                  <a:gd name="connsiteX3" fmla="*/ 215669 w 319787"/>
                  <a:gd name="connsiteY3" fmla="*/ 34167 h 441951"/>
                  <a:gd name="connsiteX4" fmla="*/ 219723 w 319787"/>
                  <a:gd name="connsiteY4" fmla="*/ 34167 h 441951"/>
                  <a:gd name="connsiteX5" fmla="*/ 236817 w 319787"/>
                  <a:gd name="connsiteY5" fmla="*/ 17083 h 441951"/>
                  <a:gd name="connsiteX6" fmla="*/ 219723 w 319787"/>
                  <a:gd name="connsiteY6" fmla="*/ 0 h 441951"/>
                  <a:gd name="connsiteX7" fmla="*/ 99670 w 319787"/>
                  <a:gd name="connsiteY7" fmla="*/ 0 h 441951"/>
                  <a:gd name="connsiteX8" fmla="*/ 82575 w 319787"/>
                  <a:gd name="connsiteY8" fmla="*/ 17083 h 441951"/>
                  <a:gd name="connsiteX9" fmla="*/ 99670 w 319787"/>
                  <a:gd name="connsiteY9" fmla="*/ 34167 h 441951"/>
                  <a:gd name="connsiteX10" fmla="*/ 109011 w 319787"/>
                  <a:gd name="connsiteY10" fmla="*/ 34167 h 441951"/>
                  <a:gd name="connsiteX11" fmla="*/ 109011 w 319787"/>
                  <a:gd name="connsiteY11" fmla="*/ 181331 h 441951"/>
                  <a:gd name="connsiteX12" fmla="*/ 70345 w 319787"/>
                  <a:gd name="connsiteY12" fmla="*/ 292673 h 441951"/>
                  <a:gd name="connsiteX13" fmla="*/ 16663 w 319787"/>
                  <a:gd name="connsiteY13" fmla="*/ 360655 h 441951"/>
                  <a:gd name="connsiteX14" fmla="*/ 3587 w 319787"/>
                  <a:gd name="connsiteY14" fmla="*/ 418422 h 441951"/>
                  <a:gd name="connsiteX15" fmla="*/ 56105 w 319787"/>
                  <a:gd name="connsiteY15" fmla="*/ 441951 h 441951"/>
                  <a:gd name="connsiteX16" fmla="*/ 258459 w 319787"/>
                  <a:gd name="connsiteY16" fmla="*/ 441951 h 441951"/>
                  <a:gd name="connsiteX17" fmla="*/ 315877 w 319787"/>
                  <a:gd name="connsiteY17" fmla="*/ 416590 h 441951"/>
                  <a:gd name="connsiteX18" fmla="*/ 301601 w 319787"/>
                  <a:gd name="connsiteY18" fmla="*/ 353505 h 441951"/>
                  <a:gd name="connsiteX19" fmla="*/ 181479 w 319787"/>
                  <a:gd name="connsiteY19" fmla="*/ 34202 h 441951"/>
                  <a:gd name="connsiteX20" fmla="*/ 181479 w 319787"/>
                  <a:gd name="connsiteY20" fmla="*/ 189926 h 441951"/>
                  <a:gd name="connsiteX21" fmla="*/ 201746 w 319787"/>
                  <a:gd name="connsiteY21" fmla="*/ 274251 h 441951"/>
                  <a:gd name="connsiteX22" fmla="*/ 121206 w 319787"/>
                  <a:gd name="connsiteY22" fmla="*/ 274251 h 441951"/>
                  <a:gd name="connsiteX23" fmla="*/ 143130 w 319787"/>
                  <a:gd name="connsiteY23" fmla="*/ 181402 h 441951"/>
                  <a:gd name="connsiteX24" fmla="*/ 143130 w 319787"/>
                  <a:gd name="connsiteY24" fmla="*/ 34237 h 441951"/>
                  <a:gd name="connsiteX25" fmla="*/ 181479 w 319787"/>
                  <a:gd name="connsiteY25" fmla="*/ 34237 h 441951"/>
                  <a:gd name="connsiteX26" fmla="*/ 181479 w 319787"/>
                  <a:gd name="connsiteY26" fmla="*/ 34202 h 441951"/>
                  <a:gd name="connsiteX27" fmla="*/ 285071 w 319787"/>
                  <a:gd name="connsiteY27" fmla="*/ 401690 h 441951"/>
                  <a:gd name="connsiteX28" fmla="*/ 258389 w 319787"/>
                  <a:gd name="connsiteY28" fmla="*/ 407855 h 441951"/>
                  <a:gd name="connsiteX29" fmla="*/ 56034 w 319787"/>
                  <a:gd name="connsiteY29" fmla="*/ 407855 h 441951"/>
                  <a:gd name="connsiteX30" fmla="*/ 34287 w 319787"/>
                  <a:gd name="connsiteY30" fmla="*/ 403593 h 441951"/>
                  <a:gd name="connsiteX31" fmla="*/ 43451 w 319787"/>
                  <a:gd name="connsiteY31" fmla="*/ 381895 h 441951"/>
                  <a:gd name="connsiteX32" fmla="*/ 97133 w 319787"/>
                  <a:gd name="connsiteY32" fmla="*/ 313913 h 441951"/>
                  <a:gd name="connsiteX33" fmla="*/ 101151 w 319787"/>
                  <a:gd name="connsiteY33" fmla="*/ 308418 h 441951"/>
                  <a:gd name="connsiteX34" fmla="*/ 219687 w 319787"/>
                  <a:gd name="connsiteY34" fmla="*/ 308418 h 441951"/>
                  <a:gd name="connsiteX35" fmla="*/ 222577 w 319787"/>
                  <a:gd name="connsiteY35" fmla="*/ 308136 h 441951"/>
                  <a:gd name="connsiteX36" fmla="*/ 274567 w 319787"/>
                  <a:gd name="connsiteY36" fmla="*/ 374603 h 441951"/>
                  <a:gd name="connsiteX37" fmla="*/ 285071 w 319787"/>
                  <a:gd name="connsiteY37" fmla="*/ 401726 h 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9787" h="441951">
                    <a:moveTo>
                      <a:pt x="301531" y="353540"/>
                    </a:moveTo>
                    <a:lnTo>
                      <a:pt x="248872" y="286227"/>
                    </a:lnTo>
                    <a:cubicBezTo>
                      <a:pt x="216304" y="244593"/>
                      <a:pt x="215669" y="190384"/>
                      <a:pt x="215669" y="189891"/>
                    </a:cubicBezTo>
                    <a:lnTo>
                      <a:pt x="215669" y="34167"/>
                    </a:lnTo>
                    <a:lnTo>
                      <a:pt x="219723" y="34167"/>
                    </a:lnTo>
                    <a:cubicBezTo>
                      <a:pt x="229169" y="34167"/>
                      <a:pt x="236817" y="26523"/>
                      <a:pt x="236817" y="17083"/>
                    </a:cubicBezTo>
                    <a:cubicBezTo>
                      <a:pt x="236817" y="7644"/>
                      <a:pt x="229169" y="0"/>
                      <a:pt x="219723" y="0"/>
                    </a:cubicBezTo>
                    <a:lnTo>
                      <a:pt x="99670" y="0"/>
                    </a:lnTo>
                    <a:cubicBezTo>
                      <a:pt x="90224" y="0"/>
                      <a:pt x="82575" y="7644"/>
                      <a:pt x="82575" y="17083"/>
                    </a:cubicBezTo>
                    <a:cubicBezTo>
                      <a:pt x="82575" y="26523"/>
                      <a:pt x="90224" y="34167"/>
                      <a:pt x="99670" y="34167"/>
                    </a:cubicBezTo>
                    <a:lnTo>
                      <a:pt x="109011" y="34167"/>
                    </a:lnTo>
                    <a:lnTo>
                      <a:pt x="109011" y="181331"/>
                    </a:lnTo>
                    <a:cubicBezTo>
                      <a:pt x="109011" y="181965"/>
                      <a:pt x="108588" y="244276"/>
                      <a:pt x="70345" y="292673"/>
                    </a:cubicBezTo>
                    <a:lnTo>
                      <a:pt x="16663" y="360655"/>
                    </a:lnTo>
                    <a:cubicBezTo>
                      <a:pt x="12434" y="366044"/>
                      <a:pt x="-8186" y="394117"/>
                      <a:pt x="3587" y="418422"/>
                    </a:cubicBezTo>
                    <a:cubicBezTo>
                      <a:pt x="11164" y="434026"/>
                      <a:pt x="28823" y="441951"/>
                      <a:pt x="56105" y="441951"/>
                    </a:cubicBezTo>
                    <a:lnTo>
                      <a:pt x="258459" y="441951"/>
                    </a:lnTo>
                    <a:cubicBezTo>
                      <a:pt x="288348" y="441951"/>
                      <a:pt x="307664" y="433427"/>
                      <a:pt x="315877" y="416590"/>
                    </a:cubicBezTo>
                    <a:cubicBezTo>
                      <a:pt x="328707" y="390313"/>
                      <a:pt x="306254" y="359422"/>
                      <a:pt x="301601" y="353505"/>
                    </a:cubicBezTo>
                    <a:moveTo>
                      <a:pt x="181479" y="34202"/>
                    </a:moveTo>
                    <a:lnTo>
                      <a:pt x="181479" y="189926"/>
                    </a:lnTo>
                    <a:cubicBezTo>
                      <a:pt x="181479" y="192039"/>
                      <a:pt x="181831" y="232229"/>
                      <a:pt x="201746" y="274251"/>
                    </a:cubicBezTo>
                    <a:lnTo>
                      <a:pt x="121206" y="274251"/>
                    </a:lnTo>
                    <a:cubicBezTo>
                      <a:pt x="142742" y="227721"/>
                      <a:pt x="143130" y="183762"/>
                      <a:pt x="143130" y="181402"/>
                    </a:cubicBezTo>
                    <a:lnTo>
                      <a:pt x="143130" y="34237"/>
                    </a:lnTo>
                    <a:lnTo>
                      <a:pt x="181479" y="34237"/>
                    </a:lnTo>
                    <a:lnTo>
                      <a:pt x="181479" y="34202"/>
                    </a:lnTo>
                    <a:close/>
                    <a:moveTo>
                      <a:pt x="285071" y="401690"/>
                    </a:moveTo>
                    <a:cubicBezTo>
                      <a:pt x="284013" y="403839"/>
                      <a:pt x="277105" y="407855"/>
                      <a:pt x="258389" y="407855"/>
                    </a:cubicBezTo>
                    <a:lnTo>
                      <a:pt x="56034" y="407855"/>
                    </a:lnTo>
                    <a:cubicBezTo>
                      <a:pt x="38023" y="407855"/>
                      <a:pt x="34322" y="403628"/>
                      <a:pt x="34287" y="403593"/>
                    </a:cubicBezTo>
                    <a:cubicBezTo>
                      <a:pt x="32948" y="400951"/>
                      <a:pt x="37177" y="389961"/>
                      <a:pt x="43451" y="381895"/>
                    </a:cubicBezTo>
                    <a:lnTo>
                      <a:pt x="97133" y="313913"/>
                    </a:lnTo>
                    <a:cubicBezTo>
                      <a:pt x="98543" y="312117"/>
                      <a:pt x="99812" y="310250"/>
                      <a:pt x="101151" y="308418"/>
                    </a:cubicBezTo>
                    <a:lnTo>
                      <a:pt x="219687" y="308418"/>
                    </a:lnTo>
                    <a:cubicBezTo>
                      <a:pt x="220674" y="308418"/>
                      <a:pt x="221626" y="308277"/>
                      <a:pt x="222577" y="308136"/>
                    </a:cubicBezTo>
                    <a:lnTo>
                      <a:pt x="274567" y="374603"/>
                    </a:lnTo>
                    <a:cubicBezTo>
                      <a:pt x="281158" y="383128"/>
                      <a:pt x="287326" y="397147"/>
                      <a:pt x="285071" y="401726"/>
                    </a:cubicBezTo>
                  </a:path>
                </a:pathLst>
              </a:custGeom>
              <a:solidFill>
                <a:srgbClr val="FFFFFF"/>
              </a:solidFill>
              <a:ln w="3521" cap="flat">
                <a:noFill/>
                <a:prstDash val="solid"/>
                <a:miter/>
              </a:ln>
            </p:spPr>
            <p:txBody>
              <a:bodyPr rtlCol="0" anchor="ctr"/>
              <a:lstStyle/>
              <a:p>
                <a:endParaRPr lang="de-DE"/>
              </a:p>
            </p:txBody>
          </p:sp>
          <p:sp>
            <p:nvSpPr>
              <p:cNvPr id="82" name="Freihandform 81">
                <a:extLst>
                  <a:ext uri="{FF2B5EF4-FFF2-40B4-BE49-F238E27FC236}">
                    <a16:creationId xmlns:a16="http://schemas.microsoft.com/office/drawing/2014/main" id="{F50064F9-061A-F053-B2CD-76B8D90986B5}"/>
                  </a:ext>
                </a:extLst>
              </p:cNvPr>
              <p:cNvSpPr/>
              <p:nvPr/>
            </p:nvSpPr>
            <p:spPr>
              <a:xfrm>
                <a:off x="10438242" y="2508591"/>
                <a:ext cx="39653" cy="39626"/>
              </a:xfrm>
              <a:custGeom>
                <a:avLst/>
                <a:gdLst>
                  <a:gd name="connsiteX0" fmla="*/ 0 w 39653"/>
                  <a:gd name="connsiteY0" fmla="*/ 19831 h 39626"/>
                  <a:gd name="connsiteX1" fmla="*/ 19809 w 39653"/>
                  <a:gd name="connsiteY1" fmla="*/ 39627 h 39626"/>
                  <a:gd name="connsiteX2" fmla="*/ 39653 w 39653"/>
                  <a:gd name="connsiteY2" fmla="*/ 19831 h 39626"/>
                  <a:gd name="connsiteX3" fmla="*/ 19809 w 39653"/>
                  <a:gd name="connsiteY3" fmla="*/ 0 h 39626"/>
                  <a:gd name="connsiteX4" fmla="*/ 0 w 39653"/>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0" y="19831"/>
                    </a:moveTo>
                    <a:cubicBezTo>
                      <a:pt x="0" y="30750"/>
                      <a:pt x="8882" y="39627"/>
                      <a:pt x="19809" y="39627"/>
                    </a:cubicBezTo>
                    <a:cubicBezTo>
                      <a:pt x="30735" y="39627"/>
                      <a:pt x="39653" y="30750"/>
                      <a:pt x="39653" y="19831"/>
                    </a:cubicBezTo>
                    <a:cubicBezTo>
                      <a:pt x="39653" y="8912"/>
                      <a:pt x="30771" y="0"/>
                      <a:pt x="19809" y="0"/>
                    </a:cubicBezTo>
                    <a:cubicBezTo>
                      <a:pt x="8847" y="0"/>
                      <a:pt x="0" y="8876"/>
                      <a:pt x="0" y="19831"/>
                    </a:cubicBezTo>
                  </a:path>
                </a:pathLst>
              </a:custGeom>
              <a:solidFill>
                <a:srgbClr val="FFFFFF"/>
              </a:solidFill>
              <a:ln w="3521" cap="flat">
                <a:noFill/>
                <a:prstDash val="solid"/>
                <a:miter/>
              </a:ln>
            </p:spPr>
            <p:txBody>
              <a:bodyPr rtlCol="0" anchor="ctr"/>
              <a:lstStyle/>
              <a:p>
                <a:endParaRPr lang="de-DE"/>
              </a:p>
            </p:txBody>
          </p:sp>
          <p:sp>
            <p:nvSpPr>
              <p:cNvPr id="83" name="Freihandform 82">
                <a:extLst>
                  <a:ext uri="{FF2B5EF4-FFF2-40B4-BE49-F238E27FC236}">
                    <a16:creationId xmlns:a16="http://schemas.microsoft.com/office/drawing/2014/main" id="{06C5512C-0E8D-3E97-C452-65C1938A4C16}"/>
                  </a:ext>
                </a:extLst>
              </p:cNvPr>
              <p:cNvSpPr/>
              <p:nvPr/>
            </p:nvSpPr>
            <p:spPr>
              <a:xfrm>
                <a:off x="10430488" y="2434269"/>
                <a:ext cx="39653" cy="39661"/>
              </a:xfrm>
              <a:custGeom>
                <a:avLst/>
                <a:gdLst>
                  <a:gd name="connsiteX0" fmla="*/ 19809 w 39653"/>
                  <a:gd name="connsiteY0" fmla="*/ 39662 h 39661"/>
                  <a:gd name="connsiteX1" fmla="*/ 39653 w 39653"/>
                  <a:gd name="connsiteY1" fmla="*/ 19831 h 39661"/>
                  <a:gd name="connsiteX2" fmla="*/ 19809 w 39653"/>
                  <a:gd name="connsiteY2" fmla="*/ 0 h 39661"/>
                  <a:gd name="connsiteX3" fmla="*/ 0 w 39653"/>
                  <a:gd name="connsiteY3" fmla="*/ 19831 h 39661"/>
                  <a:gd name="connsiteX4" fmla="*/ 19809 w 39653"/>
                  <a:gd name="connsiteY4" fmla="*/ 39662 h 3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61">
                    <a:moveTo>
                      <a:pt x="19809" y="39662"/>
                    </a:moveTo>
                    <a:cubicBezTo>
                      <a:pt x="30771" y="39662"/>
                      <a:pt x="39653" y="30785"/>
                      <a:pt x="39653" y="19831"/>
                    </a:cubicBezTo>
                    <a:cubicBezTo>
                      <a:pt x="39653" y="8876"/>
                      <a:pt x="30771" y="0"/>
                      <a:pt x="19809" y="0"/>
                    </a:cubicBezTo>
                    <a:cubicBezTo>
                      <a:pt x="8847" y="0"/>
                      <a:pt x="0" y="8876"/>
                      <a:pt x="0" y="19831"/>
                    </a:cubicBezTo>
                    <a:cubicBezTo>
                      <a:pt x="0" y="30785"/>
                      <a:pt x="8882" y="39662"/>
                      <a:pt x="19809" y="39662"/>
                    </a:cubicBezTo>
                  </a:path>
                </a:pathLst>
              </a:custGeom>
              <a:solidFill>
                <a:srgbClr val="FFFFFF"/>
              </a:solidFill>
              <a:ln w="3521" cap="flat">
                <a:noFill/>
                <a:prstDash val="solid"/>
                <a:miter/>
              </a:ln>
            </p:spPr>
            <p:txBody>
              <a:bodyPr rtlCol="0" anchor="ctr"/>
              <a:lstStyle/>
              <a:p>
                <a:endParaRPr lang="de-DE"/>
              </a:p>
            </p:txBody>
          </p:sp>
          <p:sp>
            <p:nvSpPr>
              <p:cNvPr id="84" name="Freihandform 83">
                <a:extLst>
                  <a:ext uri="{FF2B5EF4-FFF2-40B4-BE49-F238E27FC236}">
                    <a16:creationId xmlns:a16="http://schemas.microsoft.com/office/drawing/2014/main" id="{14F5D84E-363B-C899-E761-17034B8A2C3B}"/>
                  </a:ext>
                </a:extLst>
              </p:cNvPr>
              <p:cNvSpPr/>
              <p:nvPr/>
            </p:nvSpPr>
            <p:spPr>
              <a:xfrm>
                <a:off x="10487482" y="2470760"/>
                <a:ext cx="39688" cy="39626"/>
              </a:xfrm>
              <a:custGeom>
                <a:avLst/>
                <a:gdLst>
                  <a:gd name="connsiteX0" fmla="*/ 0 w 39688"/>
                  <a:gd name="connsiteY0" fmla="*/ 19831 h 39626"/>
                  <a:gd name="connsiteX1" fmla="*/ 19844 w 39688"/>
                  <a:gd name="connsiteY1" fmla="*/ 39627 h 39626"/>
                  <a:gd name="connsiteX2" fmla="*/ 39688 w 39688"/>
                  <a:gd name="connsiteY2" fmla="*/ 19831 h 39626"/>
                  <a:gd name="connsiteX3" fmla="*/ 19844 w 39688"/>
                  <a:gd name="connsiteY3" fmla="*/ 0 h 39626"/>
                  <a:gd name="connsiteX4" fmla="*/ 0 w 39688"/>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88" h="39626">
                    <a:moveTo>
                      <a:pt x="0" y="19831"/>
                    </a:moveTo>
                    <a:cubicBezTo>
                      <a:pt x="0" y="30750"/>
                      <a:pt x="8882" y="39627"/>
                      <a:pt x="19844" y="39627"/>
                    </a:cubicBezTo>
                    <a:cubicBezTo>
                      <a:pt x="30806" y="39627"/>
                      <a:pt x="39688" y="30750"/>
                      <a:pt x="39688" y="19831"/>
                    </a:cubicBezTo>
                    <a:cubicBezTo>
                      <a:pt x="39688" y="8912"/>
                      <a:pt x="30806" y="0"/>
                      <a:pt x="19844" y="0"/>
                    </a:cubicBezTo>
                    <a:cubicBezTo>
                      <a:pt x="8882" y="0"/>
                      <a:pt x="0" y="8876"/>
                      <a:pt x="0" y="19831"/>
                    </a:cubicBezTo>
                  </a:path>
                </a:pathLst>
              </a:custGeom>
              <a:solidFill>
                <a:srgbClr val="FFFFFF"/>
              </a:solidFill>
              <a:ln w="3521" cap="flat">
                <a:noFill/>
                <a:prstDash val="solid"/>
                <a:miter/>
              </a:ln>
            </p:spPr>
            <p:txBody>
              <a:bodyPr rtlCol="0" anchor="ctr"/>
              <a:lstStyle/>
              <a:p>
                <a:endParaRPr lang="de-DE"/>
              </a:p>
            </p:txBody>
          </p:sp>
          <p:sp>
            <p:nvSpPr>
              <p:cNvPr id="85" name="Freihandform 84">
                <a:extLst>
                  <a:ext uri="{FF2B5EF4-FFF2-40B4-BE49-F238E27FC236}">
                    <a16:creationId xmlns:a16="http://schemas.microsoft.com/office/drawing/2014/main" id="{00AF6EC5-D269-AFAD-3B7F-94C4AF0C9267}"/>
                  </a:ext>
                </a:extLst>
              </p:cNvPr>
              <p:cNvSpPr/>
              <p:nvPr/>
            </p:nvSpPr>
            <p:spPr>
              <a:xfrm>
                <a:off x="10477930" y="2394677"/>
                <a:ext cx="39653" cy="39626"/>
              </a:xfrm>
              <a:custGeom>
                <a:avLst/>
                <a:gdLst>
                  <a:gd name="connsiteX0" fmla="*/ 19809 w 39653"/>
                  <a:gd name="connsiteY0" fmla="*/ 39627 h 39626"/>
                  <a:gd name="connsiteX1" fmla="*/ 39653 w 39653"/>
                  <a:gd name="connsiteY1" fmla="*/ 19831 h 39626"/>
                  <a:gd name="connsiteX2" fmla="*/ 19809 w 39653"/>
                  <a:gd name="connsiteY2" fmla="*/ 0 h 39626"/>
                  <a:gd name="connsiteX3" fmla="*/ 0 w 39653"/>
                  <a:gd name="connsiteY3" fmla="*/ 19831 h 39626"/>
                  <a:gd name="connsiteX4" fmla="*/ 19809 w 39653"/>
                  <a:gd name="connsiteY4" fmla="*/ 39627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19809" y="39627"/>
                    </a:moveTo>
                    <a:cubicBezTo>
                      <a:pt x="30771" y="39627"/>
                      <a:pt x="39653" y="30750"/>
                      <a:pt x="39653" y="19831"/>
                    </a:cubicBezTo>
                    <a:cubicBezTo>
                      <a:pt x="39653" y="8912"/>
                      <a:pt x="30771" y="0"/>
                      <a:pt x="19809" y="0"/>
                    </a:cubicBezTo>
                    <a:cubicBezTo>
                      <a:pt x="8847" y="0"/>
                      <a:pt x="0" y="8876"/>
                      <a:pt x="0" y="19831"/>
                    </a:cubicBezTo>
                    <a:cubicBezTo>
                      <a:pt x="0" y="30785"/>
                      <a:pt x="8882" y="39627"/>
                      <a:pt x="19809" y="39627"/>
                    </a:cubicBezTo>
                  </a:path>
                </a:pathLst>
              </a:custGeom>
              <a:solidFill>
                <a:srgbClr val="FFFFFF"/>
              </a:solidFill>
              <a:ln w="3521" cap="flat">
                <a:noFill/>
                <a:prstDash val="solid"/>
                <a:miter/>
              </a:ln>
            </p:spPr>
            <p:txBody>
              <a:bodyPr rtlCol="0" anchor="ctr"/>
              <a:lstStyle/>
              <a:p>
                <a:endParaRPr lang="de-DE"/>
              </a:p>
            </p:txBody>
          </p:sp>
        </p:grpSp>
        <p:grpSp>
          <p:nvGrpSpPr>
            <p:cNvPr id="65" name="Gruppieren 64">
              <a:extLst>
                <a:ext uri="{FF2B5EF4-FFF2-40B4-BE49-F238E27FC236}">
                  <a16:creationId xmlns:a16="http://schemas.microsoft.com/office/drawing/2014/main" id="{DC4AD25B-8E7F-7F18-EC9D-B6E45158A459}"/>
                </a:ext>
              </a:extLst>
            </p:cNvPr>
            <p:cNvGrpSpPr/>
            <p:nvPr/>
          </p:nvGrpSpPr>
          <p:grpSpPr>
            <a:xfrm>
              <a:off x="7516497" y="2609745"/>
              <a:ext cx="1210989" cy="995110"/>
              <a:chOff x="7516497" y="2609745"/>
              <a:chExt cx="1210989" cy="995110"/>
            </a:xfrm>
          </p:grpSpPr>
          <p:sp>
            <p:nvSpPr>
              <p:cNvPr id="76" name="Freihandform 75">
                <a:extLst>
                  <a:ext uri="{FF2B5EF4-FFF2-40B4-BE49-F238E27FC236}">
                    <a16:creationId xmlns:a16="http://schemas.microsoft.com/office/drawing/2014/main" id="{3E2C430A-EA44-8940-FEF8-D921003DBD26}"/>
                  </a:ext>
                </a:extLst>
              </p:cNvPr>
              <p:cNvSpPr/>
              <p:nvPr/>
            </p:nvSpPr>
            <p:spPr>
              <a:xfrm>
                <a:off x="7962934" y="2609745"/>
                <a:ext cx="637639" cy="368694"/>
              </a:xfrm>
              <a:custGeom>
                <a:avLst/>
                <a:gdLst>
                  <a:gd name="connsiteX0" fmla="*/ 203133 w 637639"/>
                  <a:gd name="connsiteY0" fmla="*/ 325862 h 368694"/>
                  <a:gd name="connsiteX1" fmla="*/ 333195 w 637639"/>
                  <a:gd name="connsiteY1" fmla="*/ 174225 h 368694"/>
                  <a:gd name="connsiteX2" fmla="*/ 424062 w 637639"/>
                  <a:gd name="connsiteY2" fmla="*/ 45236 h 368694"/>
                  <a:gd name="connsiteX3" fmla="*/ 571607 w 637639"/>
                  <a:gd name="connsiteY3" fmla="*/ 80248 h 368694"/>
                  <a:gd name="connsiteX4" fmla="*/ 578410 w 637639"/>
                  <a:gd name="connsiteY4" fmla="*/ 248300 h 368694"/>
                  <a:gd name="connsiteX5" fmla="*/ 498575 w 637639"/>
                  <a:gd name="connsiteY5" fmla="*/ 298529 h 368694"/>
                  <a:gd name="connsiteX6" fmla="*/ 399107 w 637639"/>
                  <a:gd name="connsiteY6" fmla="*/ 270209 h 368694"/>
                  <a:gd name="connsiteX7" fmla="*/ 462764 w 637639"/>
                  <a:gd name="connsiteY7" fmla="*/ 257317 h 368694"/>
                  <a:gd name="connsiteX8" fmla="*/ 455926 w 637639"/>
                  <a:gd name="connsiteY8" fmla="*/ 223784 h 368694"/>
                  <a:gd name="connsiteX9" fmla="*/ 366433 w 637639"/>
                  <a:gd name="connsiteY9" fmla="*/ 241960 h 368694"/>
                  <a:gd name="connsiteX10" fmla="*/ 366081 w 637639"/>
                  <a:gd name="connsiteY10" fmla="*/ 241607 h 368694"/>
                  <a:gd name="connsiteX11" fmla="*/ 365552 w 637639"/>
                  <a:gd name="connsiteY11" fmla="*/ 242136 h 368694"/>
                  <a:gd name="connsiteX12" fmla="*/ 335380 w 637639"/>
                  <a:gd name="connsiteY12" fmla="*/ 248265 h 368694"/>
                  <a:gd name="connsiteX13" fmla="*/ 359912 w 637639"/>
                  <a:gd name="connsiteY13" fmla="*/ 368694 h 368694"/>
                  <a:gd name="connsiteX14" fmla="*/ 393468 w 637639"/>
                  <a:gd name="connsiteY14" fmla="*/ 361861 h 368694"/>
                  <a:gd name="connsiteX15" fmla="*/ 380532 w 637639"/>
                  <a:gd name="connsiteY15" fmla="*/ 298282 h 368694"/>
                  <a:gd name="connsiteX16" fmla="*/ 488071 w 637639"/>
                  <a:gd name="connsiteY16" fmla="*/ 332731 h 368694"/>
                  <a:gd name="connsiteX17" fmla="*/ 501712 w 637639"/>
                  <a:gd name="connsiteY17" fmla="*/ 332097 h 368694"/>
                  <a:gd name="connsiteX18" fmla="*/ 606325 w 637639"/>
                  <a:gd name="connsiteY18" fmla="*/ 267356 h 368694"/>
                  <a:gd name="connsiteX19" fmla="*/ 597655 w 637639"/>
                  <a:gd name="connsiteY19" fmla="*/ 58550 h 368694"/>
                  <a:gd name="connsiteX20" fmla="*/ 410351 w 637639"/>
                  <a:gd name="connsiteY20" fmla="*/ 14309 h 368694"/>
                  <a:gd name="connsiteX21" fmla="*/ 300591 w 637639"/>
                  <a:gd name="connsiteY21" fmla="*/ 165278 h 368694"/>
                  <a:gd name="connsiteX22" fmla="*/ 194039 w 637639"/>
                  <a:gd name="connsiteY22" fmla="*/ 293280 h 368694"/>
                  <a:gd name="connsiteX23" fmla="*/ 67537 w 637639"/>
                  <a:gd name="connsiteY23" fmla="*/ 257317 h 368694"/>
                  <a:gd name="connsiteX24" fmla="*/ 45860 w 637639"/>
                  <a:gd name="connsiteY24" fmla="*/ 107687 h 368694"/>
                  <a:gd name="connsiteX25" fmla="*/ 136868 w 637639"/>
                  <a:gd name="connsiteY25" fmla="*/ 37874 h 368694"/>
                  <a:gd name="connsiteX26" fmla="*/ 255228 w 637639"/>
                  <a:gd name="connsiteY26" fmla="*/ 63129 h 368694"/>
                  <a:gd name="connsiteX27" fmla="*/ 268023 w 637639"/>
                  <a:gd name="connsiteY27" fmla="*/ 74189 h 368694"/>
                  <a:gd name="connsiteX28" fmla="*/ 290158 w 637639"/>
                  <a:gd name="connsiteY28" fmla="*/ 48652 h 368694"/>
                  <a:gd name="connsiteX29" fmla="*/ 277399 w 637639"/>
                  <a:gd name="connsiteY29" fmla="*/ 37592 h 368694"/>
                  <a:gd name="connsiteX30" fmla="*/ 129678 w 637639"/>
                  <a:gd name="connsiteY30" fmla="*/ 4869 h 368694"/>
                  <a:gd name="connsiteX31" fmla="*/ 15089 w 637639"/>
                  <a:gd name="connsiteY31" fmla="*/ 93668 h 368694"/>
                  <a:gd name="connsiteX32" fmla="*/ 41842 w 637639"/>
                  <a:gd name="connsiteY32" fmla="*/ 279297 h 368694"/>
                  <a:gd name="connsiteX33" fmla="*/ 203168 w 637639"/>
                  <a:gd name="connsiteY33" fmla="*/ 325827 h 36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7639" h="368694">
                    <a:moveTo>
                      <a:pt x="203133" y="325862"/>
                    </a:moveTo>
                    <a:cubicBezTo>
                      <a:pt x="299111" y="298987"/>
                      <a:pt x="317228" y="232696"/>
                      <a:pt x="333195" y="174225"/>
                    </a:cubicBezTo>
                    <a:cubicBezTo>
                      <a:pt x="347364" y="122411"/>
                      <a:pt x="360723" y="73485"/>
                      <a:pt x="424062" y="45236"/>
                    </a:cubicBezTo>
                    <a:cubicBezTo>
                      <a:pt x="487754" y="16880"/>
                      <a:pt x="542035" y="44707"/>
                      <a:pt x="571607" y="80248"/>
                    </a:cubicBezTo>
                    <a:cubicBezTo>
                      <a:pt x="602519" y="117374"/>
                      <a:pt x="622856" y="183629"/>
                      <a:pt x="578410" y="248300"/>
                    </a:cubicBezTo>
                    <a:cubicBezTo>
                      <a:pt x="557543" y="278663"/>
                      <a:pt x="530685" y="295570"/>
                      <a:pt x="498575" y="298529"/>
                    </a:cubicBezTo>
                    <a:cubicBezTo>
                      <a:pt x="461248" y="301945"/>
                      <a:pt x="423992" y="286518"/>
                      <a:pt x="399107" y="270209"/>
                    </a:cubicBezTo>
                    <a:lnTo>
                      <a:pt x="462764" y="257317"/>
                    </a:lnTo>
                    <a:lnTo>
                      <a:pt x="455926" y="223784"/>
                    </a:lnTo>
                    <a:lnTo>
                      <a:pt x="366433" y="241960"/>
                    </a:lnTo>
                    <a:lnTo>
                      <a:pt x="366081" y="241607"/>
                    </a:lnTo>
                    <a:lnTo>
                      <a:pt x="365552" y="242136"/>
                    </a:lnTo>
                    <a:lnTo>
                      <a:pt x="335380" y="248265"/>
                    </a:lnTo>
                    <a:lnTo>
                      <a:pt x="359912" y="368694"/>
                    </a:lnTo>
                    <a:lnTo>
                      <a:pt x="393468" y="361861"/>
                    </a:lnTo>
                    <a:lnTo>
                      <a:pt x="380532" y="298282"/>
                    </a:lnTo>
                    <a:cubicBezTo>
                      <a:pt x="407919" y="316211"/>
                      <a:pt x="446938" y="332731"/>
                      <a:pt x="488071" y="332731"/>
                    </a:cubicBezTo>
                    <a:cubicBezTo>
                      <a:pt x="492583" y="332731"/>
                      <a:pt x="497130" y="332520"/>
                      <a:pt x="501712" y="332097"/>
                    </a:cubicBezTo>
                    <a:cubicBezTo>
                      <a:pt x="543691" y="328222"/>
                      <a:pt x="579890" y="305855"/>
                      <a:pt x="606325" y="267356"/>
                    </a:cubicBezTo>
                    <a:cubicBezTo>
                      <a:pt x="657927" y="192259"/>
                      <a:pt x="639141" y="108356"/>
                      <a:pt x="597655" y="58550"/>
                    </a:cubicBezTo>
                    <a:cubicBezTo>
                      <a:pt x="550529" y="1981"/>
                      <a:pt x="477004" y="-15384"/>
                      <a:pt x="410351" y="14309"/>
                    </a:cubicBezTo>
                    <a:cubicBezTo>
                      <a:pt x="332349" y="49075"/>
                      <a:pt x="315501" y="110787"/>
                      <a:pt x="300591" y="165278"/>
                    </a:cubicBezTo>
                    <a:cubicBezTo>
                      <a:pt x="285012" y="222305"/>
                      <a:pt x="271548" y="271583"/>
                      <a:pt x="194039" y="293280"/>
                    </a:cubicBezTo>
                    <a:cubicBezTo>
                      <a:pt x="145010" y="307053"/>
                      <a:pt x="98907" y="293914"/>
                      <a:pt x="67537" y="257317"/>
                    </a:cubicBezTo>
                    <a:cubicBezTo>
                      <a:pt x="32431" y="216317"/>
                      <a:pt x="23725" y="156190"/>
                      <a:pt x="45860" y="107687"/>
                    </a:cubicBezTo>
                    <a:cubicBezTo>
                      <a:pt x="61968" y="72393"/>
                      <a:pt x="95135" y="46961"/>
                      <a:pt x="136868" y="37874"/>
                    </a:cubicBezTo>
                    <a:cubicBezTo>
                      <a:pt x="180857" y="28328"/>
                      <a:pt x="226220" y="37979"/>
                      <a:pt x="255228" y="63129"/>
                    </a:cubicBezTo>
                    <a:lnTo>
                      <a:pt x="268023" y="74189"/>
                    </a:lnTo>
                    <a:lnTo>
                      <a:pt x="290158" y="48652"/>
                    </a:lnTo>
                    <a:lnTo>
                      <a:pt x="277399" y="37592"/>
                    </a:lnTo>
                    <a:cubicBezTo>
                      <a:pt x="240460" y="5609"/>
                      <a:pt x="183888" y="-6931"/>
                      <a:pt x="129678" y="4869"/>
                    </a:cubicBezTo>
                    <a:cubicBezTo>
                      <a:pt x="77406" y="16246"/>
                      <a:pt x="35638" y="48617"/>
                      <a:pt x="15089" y="93668"/>
                    </a:cubicBezTo>
                    <a:cubicBezTo>
                      <a:pt x="-12404" y="153936"/>
                      <a:pt x="-1653" y="228504"/>
                      <a:pt x="41842" y="279297"/>
                    </a:cubicBezTo>
                    <a:cubicBezTo>
                      <a:pt x="82129" y="326320"/>
                      <a:pt x="140886" y="343263"/>
                      <a:pt x="203168" y="325827"/>
                    </a:cubicBezTo>
                  </a:path>
                </a:pathLst>
              </a:custGeom>
              <a:solidFill>
                <a:srgbClr val="FFFFFF"/>
              </a:solidFill>
              <a:ln w="3521" cap="flat">
                <a:noFill/>
                <a:prstDash val="solid"/>
                <a:miter/>
              </a:ln>
            </p:spPr>
            <p:txBody>
              <a:bodyPr rtlCol="0" anchor="ctr"/>
              <a:lstStyle/>
              <a:p>
                <a:endParaRPr lang="de-DE"/>
              </a:p>
            </p:txBody>
          </p:sp>
          <p:sp>
            <p:nvSpPr>
              <p:cNvPr id="77" name="Freihandform 76">
                <a:extLst>
                  <a:ext uri="{FF2B5EF4-FFF2-40B4-BE49-F238E27FC236}">
                    <a16:creationId xmlns:a16="http://schemas.microsoft.com/office/drawing/2014/main" id="{E76D576D-9ED5-FC5E-86A4-E27C4D861951}"/>
                  </a:ext>
                </a:extLst>
              </p:cNvPr>
              <p:cNvSpPr/>
              <p:nvPr/>
            </p:nvSpPr>
            <p:spPr>
              <a:xfrm>
                <a:off x="7516497" y="3112394"/>
                <a:ext cx="438651" cy="492461"/>
              </a:xfrm>
              <a:custGeom>
                <a:avLst/>
                <a:gdLst>
                  <a:gd name="connsiteX0" fmla="*/ 0 w 438651"/>
                  <a:gd name="connsiteY0" fmla="*/ 116344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44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44"/>
                    </a:moveTo>
                    <a:lnTo>
                      <a:pt x="34754" y="170130"/>
                    </a:lnTo>
                    <a:lnTo>
                      <a:pt x="162913" y="87496"/>
                    </a:lnTo>
                    <a:lnTo>
                      <a:pt x="352049" y="361782"/>
                    </a:lnTo>
                    <a:lnTo>
                      <a:pt x="251277" y="442479"/>
                    </a:lnTo>
                    <a:lnTo>
                      <a:pt x="291353" y="492462"/>
                    </a:lnTo>
                    <a:lnTo>
                      <a:pt x="438651" y="374498"/>
                    </a:lnTo>
                    <a:lnTo>
                      <a:pt x="180430" y="0"/>
                    </a:lnTo>
                    <a:lnTo>
                      <a:pt x="0" y="116344"/>
                    </a:lnTo>
                    <a:close/>
                  </a:path>
                </a:pathLst>
              </a:custGeom>
              <a:solidFill>
                <a:srgbClr val="FFFFFF"/>
              </a:solidFill>
              <a:ln w="3521" cap="flat">
                <a:noFill/>
                <a:prstDash val="solid"/>
                <a:miter/>
              </a:ln>
            </p:spPr>
            <p:txBody>
              <a:bodyPr rtlCol="0" anchor="ctr"/>
              <a:lstStyle/>
              <a:p>
                <a:endParaRPr lang="de-DE"/>
              </a:p>
            </p:txBody>
          </p:sp>
          <p:sp>
            <p:nvSpPr>
              <p:cNvPr id="78" name="Freihandform 77">
                <a:extLst>
                  <a:ext uri="{FF2B5EF4-FFF2-40B4-BE49-F238E27FC236}">
                    <a16:creationId xmlns:a16="http://schemas.microsoft.com/office/drawing/2014/main" id="{3C5C98E4-9287-48B3-82E7-035FF4584DA3}"/>
                  </a:ext>
                </a:extLst>
              </p:cNvPr>
              <p:cNvSpPr/>
              <p:nvPr/>
            </p:nvSpPr>
            <p:spPr>
              <a:xfrm>
                <a:off x="7763791" y="3003335"/>
                <a:ext cx="563879" cy="266861"/>
              </a:xfrm>
              <a:custGeom>
                <a:avLst/>
                <a:gdLst>
                  <a:gd name="connsiteX0" fmla="*/ 61260 w 563879"/>
                  <a:gd name="connsiteY0" fmla="*/ 170384 h 266861"/>
                  <a:gd name="connsiteX1" fmla="*/ 176624 w 563879"/>
                  <a:gd name="connsiteY1" fmla="*/ 83381 h 266861"/>
                  <a:gd name="connsiteX2" fmla="*/ 323851 w 563879"/>
                  <a:gd name="connsiteY2" fmla="*/ 84332 h 266861"/>
                  <a:gd name="connsiteX3" fmla="*/ 407634 w 563879"/>
                  <a:gd name="connsiteY3" fmla="*/ 110468 h 266861"/>
                  <a:gd name="connsiteX4" fmla="*/ 498360 w 563879"/>
                  <a:gd name="connsiteY4" fmla="*/ 156083 h 266861"/>
                  <a:gd name="connsiteX5" fmla="*/ 493002 w 563879"/>
                  <a:gd name="connsiteY5" fmla="*/ 186305 h 266861"/>
                  <a:gd name="connsiteX6" fmla="*/ 429452 w 563879"/>
                  <a:gd name="connsiteY6" fmla="*/ 202402 h 266861"/>
                  <a:gd name="connsiteX7" fmla="*/ 269782 w 563879"/>
                  <a:gd name="connsiteY7" fmla="*/ 167319 h 266861"/>
                  <a:gd name="connsiteX8" fmla="*/ 238729 w 563879"/>
                  <a:gd name="connsiteY8" fmla="*/ 159394 h 266861"/>
                  <a:gd name="connsiteX9" fmla="*/ 222833 w 563879"/>
                  <a:gd name="connsiteY9" fmla="*/ 221423 h 266861"/>
                  <a:gd name="connsiteX10" fmla="*/ 253886 w 563879"/>
                  <a:gd name="connsiteY10" fmla="*/ 229348 h 266861"/>
                  <a:gd name="connsiteX11" fmla="*/ 424940 w 563879"/>
                  <a:gd name="connsiteY11" fmla="*/ 266263 h 266861"/>
                  <a:gd name="connsiteX12" fmla="*/ 441682 w 563879"/>
                  <a:gd name="connsiteY12" fmla="*/ 266861 h 266861"/>
                  <a:gd name="connsiteX13" fmla="*/ 542348 w 563879"/>
                  <a:gd name="connsiteY13" fmla="*/ 227129 h 266861"/>
                  <a:gd name="connsiteX14" fmla="*/ 560325 w 563879"/>
                  <a:gd name="connsiteY14" fmla="*/ 139739 h 266861"/>
                  <a:gd name="connsiteX15" fmla="*/ 425011 w 563879"/>
                  <a:gd name="connsiteY15" fmla="*/ 48862 h 266861"/>
                  <a:gd name="connsiteX16" fmla="*/ 345740 w 563879"/>
                  <a:gd name="connsiteY16" fmla="*/ 24170 h 266861"/>
                  <a:gd name="connsiteX17" fmla="*/ 141341 w 563879"/>
                  <a:gd name="connsiteY17" fmla="*/ 29912 h 266861"/>
                  <a:gd name="connsiteX18" fmla="*/ 20866 w 563879"/>
                  <a:gd name="connsiteY18" fmla="*/ 120613 h 266861"/>
                  <a:gd name="connsiteX19" fmla="*/ 0 w 563879"/>
                  <a:gd name="connsiteY19" fmla="*/ 137485 h 266861"/>
                  <a:gd name="connsiteX20" fmla="*/ 36305 w 563879"/>
                  <a:gd name="connsiteY20" fmla="*/ 190532 h 266861"/>
                  <a:gd name="connsiteX21" fmla="*/ 61189 w 563879"/>
                  <a:gd name="connsiteY21" fmla="*/ 170384 h 266861"/>
                  <a:gd name="connsiteX22" fmla="*/ 61260 w 563879"/>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9" h="26686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0" y="126213"/>
                      <a:pt x="492932" y="135407"/>
                      <a:pt x="498360" y="156083"/>
                    </a:cubicBezTo>
                    <a:cubicBezTo>
                      <a:pt x="499805" y="161507"/>
                      <a:pt x="502131" y="175280"/>
                      <a:pt x="493002" y="186305"/>
                    </a:cubicBezTo>
                    <a:cubicBezTo>
                      <a:pt x="482605" y="198844"/>
                      <a:pt x="460117" y="204516"/>
                      <a:pt x="429452" y="202402"/>
                    </a:cubicBezTo>
                    <a:cubicBezTo>
                      <a:pt x="406753" y="200817"/>
                      <a:pt x="319480" y="180035"/>
                      <a:pt x="269782" y="167319"/>
                    </a:cubicBezTo>
                    <a:lnTo>
                      <a:pt x="238729" y="159394"/>
                    </a:lnTo>
                    <a:lnTo>
                      <a:pt x="222833" y="221423"/>
                    </a:lnTo>
                    <a:lnTo>
                      <a:pt x="253886" y="229348"/>
                    </a:lnTo>
                    <a:cubicBezTo>
                      <a:pt x="267597" y="232871"/>
                      <a:pt x="389058" y="263762"/>
                      <a:pt x="424940" y="266263"/>
                    </a:cubicBezTo>
                    <a:cubicBezTo>
                      <a:pt x="430791" y="266685"/>
                      <a:pt x="436325" y="266861"/>
                      <a:pt x="441682" y="266861"/>
                    </a:cubicBezTo>
                    <a:cubicBezTo>
                      <a:pt x="497161" y="266861"/>
                      <a:pt x="526910" y="245762"/>
                      <a:pt x="542348" y="227129"/>
                    </a:cubicBezTo>
                    <a:cubicBezTo>
                      <a:pt x="562157" y="203247"/>
                      <a:pt x="568678" y="171370"/>
                      <a:pt x="560325" y="139739"/>
                    </a:cubicBezTo>
                    <a:cubicBezTo>
                      <a:pt x="545274" y="82747"/>
                      <a:pt x="489548" y="67038"/>
                      <a:pt x="425011"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79" name="Freihandform 78">
                <a:extLst>
                  <a:ext uri="{FF2B5EF4-FFF2-40B4-BE49-F238E27FC236}">
                    <a16:creationId xmlns:a16="http://schemas.microsoft.com/office/drawing/2014/main" id="{3C250A4F-3265-6A13-358A-EEC0053AB685}"/>
                  </a:ext>
                </a:extLst>
              </p:cNvPr>
              <p:cNvSpPr/>
              <p:nvPr/>
            </p:nvSpPr>
            <p:spPr>
              <a:xfrm>
                <a:off x="7927796" y="2961604"/>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2 h 477173"/>
                  <a:gd name="connsiteX5" fmla="*/ 422720 w 799690"/>
                  <a:gd name="connsiteY5" fmla="*/ 138674 h 477173"/>
                  <a:gd name="connsiteX6" fmla="*/ 446265 w 799690"/>
                  <a:gd name="connsiteY6" fmla="*/ 199012 h 477173"/>
                  <a:gd name="connsiteX7" fmla="*/ 475484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4 h 477173"/>
                  <a:gd name="connsiteX16" fmla="*/ 99750 w 799690"/>
                  <a:gd name="connsiteY16" fmla="*/ 372171 h 477173"/>
                  <a:gd name="connsiteX17" fmla="*/ 0 w 799690"/>
                  <a:gd name="connsiteY17" fmla="*/ 416518 h 477173"/>
                  <a:gd name="connsiteX18" fmla="*/ 36868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2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61" y="-33077"/>
                      <a:pt x="666842" y="5881"/>
                      <a:pt x="581861" y="51002"/>
                    </a:cubicBezTo>
                    <a:cubicBezTo>
                      <a:pt x="571921" y="56286"/>
                      <a:pt x="561452" y="61851"/>
                      <a:pt x="550420" y="67557"/>
                    </a:cubicBezTo>
                    <a:lnTo>
                      <a:pt x="550702" y="68121"/>
                    </a:lnTo>
                    <a:cubicBezTo>
                      <a:pt x="537872" y="74250"/>
                      <a:pt x="510838" y="89361"/>
                      <a:pt x="444185" y="126662"/>
                    </a:cubicBezTo>
                    <a:lnTo>
                      <a:pt x="422720" y="138674"/>
                    </a:lnTo>
                    <a:lnTo>
                      <a:pt x="446265" y="199012"/>
                    </a:lnTo>
                    <a:lnTo>
                      <a:pt x="475484"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50"/>
                      <a:pt x="434386" y="332650"/>
                      <a:pt x="397377" y="359773"/>
                    </a:cubicBezTo>
                    <a:cubicBezTo>
                      <a:pt x="338162" y="403168"/>
                      <a:pt x="309329" y="415990"/>
                      <a:pt x="278735" y="412643"/>
                    </a:cubicBezTo>
                    <a:cubicBezTo>
                      <a:pt x="244757" y="408910"/>
                      <a:pt x="145888" y="384218"/>
                      <a:pt x="110676" y="375024"/>
                    </a:cubicBezTo>
                    <a:lnTo>
                      <a:pt x="99750" y="372171"/>
                    </a:lnTo>
                    <a:lnTo>
                      <a:pt x="0" y="416518"/>
                    </a:lnTo>
                    <a:lnTo>
                      <a:pt x="36868"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21"/>
                      <a:pt x="718796" y="213876"/>
                      <a:pt x="737336" y="202252"/>
                    </a:cubicBezTo>
                    <a:cubicBezTo>
                      <a:pt x="806280" y="159033"/>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66" name="Gruppieren 65">
              <a:extLst>
                <a:ext uri="{FF2B5EF4-FFF2-40B4-BE49-F238E27FC236}">
                  <a16:creationId xmlns:a16="http://schemas.microsoft.com/office/drawing/2014/main" id="{3EFE69DE-9ECA-D2AA-C435-AD53F3D0BDCA}"/>
                </a:ext>
              </a:extLst>
            </p:cNvPr>
            <p:cNvGrpSpPr/>
            <p:nvPr/>
          </p:nvGrpSpPr>
          <p:grpSpPr>
            <a:xfrm>
              <a:off x="8598303" y="4019755"/>
              <a:ext cx="1210990" cy="1210178"/>
              <a:chOff x="8598303" y="4019755"/>
              <a:chExt cx="1210990" cy="1210178"/>
            </a:xfrm>
          </p:grpSpPr>
          <p:sp>
            <p:nvSpPr>
              <p:cNvPr id="72" name="Freihandform 71">
                <a:extLst>
                  <a:ext uri="{FF2B5EF4-FFF2-40B4-BE49-F238E27FC236}">
                    <a16:creationId xmlns:a16="http://schemas.microsoft.com/office/drawing/2014/main" id="{E4EEDA10-1EEC-C6CA-8DC7-92C894A183B8}"/>
                  </a:ext>
                </a:extLst>
              </p:cNvPr>
              <p:cNvSpPr/>
              <p:nvPr/>
            </p:nvSpPr>
            <p:spPr>
              <a:xfrm>
                <a:off x="9099659" y="4019755"/>
                <a:ext cx="550490" cy="653469"/>
              </a:xfrm>
              <a:custGeom>
                <a:avLst/>
                <a:gdLst>
                  <a:gd name="connsiteX0" fmla="*/ 281660 w 550490"/>
                  <a:gd name="connsiteY0" fmla="*/ 457872 h 653469"/>
                  <a:gd name="connsiteX1" fmla="*/ 275563 w 550490"/>
                  <a:gd name="connsiteY1" fmla="*/ 463684 h 653469"/>
                  <a:gd name="connsiteX2" fmla="*/ 269571 w 550490"/>
                  <a:gd name="connsiteY2" fmla="*/ 458013 h 653469"/>
                  <a:gd name="connsiteX3" fmla="*/ 171055 w 550490"/>
                  <a:gd name="connsiteY3" fmla="*/ 457731 h 653469"/>
                  <a:gd name="connsiteX4" fmla="*/ 149977 w 550490"/>
                  <a:gd name="connsiteY4" fmla="*/ 505283 h 653469"/>
                  <a:gd name="connsiteX5" fmla="*/ 170879 w 550490"/>
                  <a:gd name="connsiteY5" fmla="*/ 553786 h 653469"/>
                  <a:gd name="connsiteX6" fmla="*/ 276021 w 550490"/>
                  <a:gd name="connsiteY6" fmla="*/ 653469 h 653469"/>
                  <a:gd name="connsiteX7" fmla="*/ 362623 w 550490"/>
                  <a:gd name="connsiteY7" fmla="*/ 570870 h 653469"/>
                  <a:gd name="connsiteX8" fmla="*/ 380776 w 550490"/>
                  <a:gd name="connsiteY8" fmla="*/ 553646 h 653469"/>
                  <a:gd name="connsiteX9" fmla="*/ 401148 w 550490"/>
                  <a:gd name="connsiteY9" fmla="*/ 505142 h 653469"/>
                  <a:gd name="connsiteX10" fmla="*/ 380317 w 550490"/>
                  <a:gd name="connsiteY10" fmla="*/ 458013 h 653469"/>
                  <a:gd name="connsiteX11" fmla="*/ 281660 w 550490"/>
                  <a:gd name="connsiteY11" fmla="*/ 457872 h 653469"/>
                  <a:gd name="connsiteX12" fmla="*/ 366606 w 550490"/>
                  <a:gd name="connsiteY12" fmla="*/ 505530 h 653469"/>
                  <a:gd name="connsiteX13" fmla="*/ 356772 w 550490"/>
                  <a:gd name="connsiteY13" fmla="*/ 528848 h 653469"/>
                  <a:gd name="connsiteX14" fmla="*/ 275950 w 550490"/>
                  <a:gd name="connsiteY14" fmla="*/ 605847 h 653469"/>
                  <a:gd name="connsiteX15" fmla="*/ 194635 w 550490"/>
                  <a:gd name="connsiteY15" fmla="*/ 528778 h 653469"/>
                  <a:gd name="connsiteX16" fmla="*/ 184484 w 550490"/>
                  <a:gd name="connsiteY16" fmla="*/ 505530 h 653469"/>
                  <a:gd name="connsiteX17" fmla="*/ 194635 w 550490"/>
                  <a:gd name="connsiteY17" fmla="*/ 482952 h 653469"/>
                  <a:gd name="connsiteX18" fmla="*/ 220260 w 550490"/>
                  <a:gd name="connsiteY18" fmla="*/ 473019 h 653469"/>
                  <a:gd name="connsiteX19" fmla="*/ 245602 w 550490"/>
                  <a:gd name="connsiteY19" fmla="*/ 482952 h 653469"/>
                  <a:gd name="connsiteX20" fmla="*/ 275527 w 550490"/>
                  <a:gd name="connsiteY20" fmla="*/ 511271 h 653469"/>
                  <a:gd name="connsiteX21" fmla="*/ 305417 w 550490"/>
                  <a:gd name="connsiteY21" fmla="*/ 482952 h 653469"/>
                  <a:gd name="connsiteX22" fmla="*/ 356525 w 550490"/>
                  <a:gd name="connsiteY22" fmla="*/ 483092 h 653469"/>
                  <a:gd name="connsiteX23" fmla="*/ 366571 w 550490"/>
                  <a:gd name="connsiteY23" fmla="*/ 505565 h 653469"/>
                  <a:gd name="connsiteX24" fmla="*/ 34542 w 550490"/>
                  <a:gd name="connsiteY24" fmla="*/ 577562 h 653469"/>
                  <a:gd name="connsiteX25" fmla="*/ 273977 w 550490"/>
                  <a:gd name="connsiteY25" fmla="*/ 319725 h 653469"/>
                  <a:gd name="connsiteX26" fmla="*/ 275563 w 550490"/>
                  <a:gd name="connsiteY26" fmla="*/ 319796 h 653469"/>
                  <a:gd name="connsiteX27" fmla="*/ 277184 w 550490"/>
                  <a:gd name="connsiteY27" fmla="*/ 319725 h 653469"/>
                  <a:gd name="connsiteX28" fmla="*/ 456275 w 550490"/>
                  <a:gd name="connsiteY28" fmla="*/ 400493 h 653469"/>
                  <a:gd name="connsiteX29" fmla="*/ 516583 w 550490"/>
                  <a:gd name="connsiteY29" fmla="*/ 577598 h 653469"/>
                  <a:gd name="connsiteX30" fmla="*/ 550491 w 550490"/>
                  <a:gd name="connsiteY30" fmla="*/ 560303 h 653469"/>
                  <a:gd name="connsiteX31" fmla="*/ 358464 w 550490"/>
                  <a:gd name="connsiteY31" fmla="*/ 296513 h 653469"/>
                  <a:gd name="connsiteX32" fmla="*/ 435620 w 550490"/>
                  <a:gd name="connsiteY32" fmla="*/ 159915 h 653469"/>
                  <a:gd name="connsiteX33" fmla="*/ 275563 w 550490"/>
                  <a:gd name="connsiteY33" fmla="*/ 0 h 653469"/>
                  <a:gd name="connsiteX34" fmla="*/ 115540 w 550490"/>
                  <a:gd name="connsiteY34" fmla="*/ 159915 h 653469"/>
                  <a:gd name="connsiteX35" fmla="*/ 192555 w 550490"/>
                  <a:gd name="connsiteY35" fmla="*/ 296442 h 653469"/>
                  <a:gd name="connsiteX36" fmla="*/ 0 w 550490"/>
                  <a:gd name="connsiteY36" fmla="*/ 577598 h 653469"/>
                  <a:gd name="connsiteX37" fmla="*/ 0 w 550490"/>
                  <a:gd name="connsiteY37" fmla="*/ 583550 h 653469"/>
                  <a:gd name="connsiteX38" fmla="*/ 33978 w 550490"/>
                  <a:gd name="connsiteY38" fmla="*/ 590102 h 653469"/>
                  <a:gd name="connsiteX39" fmla="*/ 34542 w 550490"/>
                  <a:gd name="connsiteY39" fmla="*/ 577633 h 653469"/>
                  <a:gd name="connsiteX40" fmla="*/ 34542 w 550490"/>
                  <a:gd name="connsiteY40" fmla="*/ 577562 h 653469"/>
                  <a:gd name="connsiteX41" fmla="*/ 150083 w 550490"/>
                  <a:gd name="connsiteY41" fmla="*/ 159880 h 653469"/>
                  <a:gd name="connsiteX42" fmla="*/ 275563 w 550490"/>
                  <a:gd name="connsiteY42" fmla="*/ 34484 h 653469"/>
                  <a:gd name="connsiteX43" fmla="*/ 401043 w 550490"/>
                  <a:gd name="connsiteY43" fmla="*/ 159880 h 653469"/>
                  <a:gd name="connsiteX44" fmla="*/ 277642 w 550490"/>
                  <a:gd name="connsiteY44" fmla="*/ 285206 h 653469"/>
                  <a:gd name="connsiteX45" fmla="*/ 275563 w 550490"/>
                  <a:gd name="connsiteY45" fmla="*/ 285171 h 653469"/>
                  <a:gd name="connsiteX46" fmla="*/ 273483 w 550490"/>
                  <a:gd name="connsiteY46" fmla="*/ 285206 h 653469"/>
                  <a:gd name="connsiteX47" fmla="*/ 150083 w 550490"/>
                  <a:gd name="connsiteY47" fmla="*/ 159880 h 65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50490" h="653469">
                    <a:moveTo>
                      <a:pt x="281660" y="457872"/>
                    </a:moveTo>
                    <a:lnTo>
                      <a:pt x="275563" y="463684"/>
                    </a:lnTo>
                    <a:lnTo>
                      <a:pt x="269571" y="458013"/>
                    </a:lnTo>
                    <a:cubicBezTo>
                      <a:pt x="242642" y="431913"/>
                      <a:pt x="198336" y="431842"/>
                      <a:pt x="171055" y="457731"/>
                    </a:cubicBezTo>
                    <a:cubicBezTo>
                      <a:pt x="157590" y="470236"/>
                      <a:pt x="150083" y="487143"/>
                      <a:pt x="149977" y="505283"/>
                    </a:cubicBezTo>
                    <a:cubicBezTo>
                      <a:pt x="149871" y="523670"/>
                      <a:pt x="157308" y="540894"/>
                      <a:pt x="170879" y="553786"/>
                    </a:cubicBezTo>
                    <a:lnTo>
                      <a:pt x="276021" y="653469"/>
                    </a:lnTo>
                    <a:lnTo>
                      <a:pt x="362623" y="570870"/>
                    </a:lnTo>
                    <a:lnTo>
                      <a:pt x="380776" y="553646"/>
                    </a:lnTo>
                    <a:cubicBezTo>
                      <a:pt x="394099" y="540683"/>
                      <a:pt x="401360" y="523494"/>
                      <a:pt x="401148" y="505142"/>
                    </a:cubicBezTo>
                    <a:cubicBezTo>
                      <a:pt x="400937" y="487037"/>
                      <a:pt x="393464" y="470165"/>
                      <a:pt x="380317" y="458013"/>
                    </a:cubicBezTo>
                    <a:cubicBezTo>
                      <a:pt x="353388" y="431913"/>
                      <a:pt x="309153" y="431842"/>
                      <a:pt x="281660" y="457872"/>
                    </a:cubicBezTo>
                    <a:moveTo>
                      <a:pt x="366606" y="505530"/>
                    </a:moveTo>
                    <a:cubicBezTo>
                      <a:pt x="366712" y="514301"/>
                      <a:pt x="363222" y="522543"/>
                      <a:pt x="356772" y="528848"/>
                    </a:cubicBezTo>
                    <a:lnTo>
                      <a:pt x="275950" y="605847"/>
                    </a:lnTo>
                    <a:lnTo>
                      <a:pt x="194635" y="528778"/>
                    </a:lnTo>
                    <a:cubicBezTo>
                      <a:pt x="188009" y="522508"/>
                      <a:pt x="184413" y="514265"/>
                      <a:pt x="184484" y="505530"/>
                    </a:cubicBezTo>
                    <a:cubicBezTo>
                      <a:pt x="184554" y="497006"/>
                      <a:pt x="188079" y="489045"/>
                      <a:pt x="194635" y="482952"/>
                    </a:cubicBezTo>
                    <a:cubicBezTo>
                      <a:pt x="201614" y="476330"/>
                      <a:pt x="210955" y="473019"/>
                      <a:pt x="220260" y="473019"/>
                    </a:cubicBezTo>
                    <a:cubicBezTo>
                      <a:pt x="229565" y="473019"/>
                      <a:pt x="238764" y="476330"/>
                      <a:pt x="245602" y="482952"/>
                    </a:cubicBezTo>
                    <a:lnTo>
                      <a:pt x="275527" y="511271"/>
                    </a:lnTo>
                    <a:lnTo>
                      <a:pt x="305417" y="482952"/>
                    </a:lnTo>
                    <a:cubicBezTo>
                      <a:pt x="319375" y="469743"/>
                      <a:pt x="342673" y="469637"/>
                      <a:pt x="356525" y="483092"/>
                    </a:cubicBezTo>
                    <a:cubicBezTo>
                      <a:pt x="362905" y="489010"/>
                      <a:pt x="366500" y="497006"/>
                      <a:pt x="366571" y="505565"/>
                    </a:cubicBezTo>
                    <a:moveTo>
                      <a:pt x="34542" y="577562"/>
                    </a:moveTo>
                    <a:cubicBezTo>
                      <a:pt x="34860" y="453575"/>
                      <a:pt x="109830" y="320570"/>
                      <a:pt x="273977" y="319725"/>
                    </a:cubicBezTo>
                    <a:cubicBezTo>
                      <a:pt x="274505" y="319725"/>
                      <a:pt x="275034" y="319796"/>
                      <a:pt x="275563" y="319796"/>
                    </a:cubicBezTo>
                    <a:cubicBezTo>
                      <a:pt x="276127" y="319796"/>
                      <a:pt x="276655" y="319725"/>
                      <a:pt x="277184" y="319725"/>
                    </a:cubicBezTo>
                    <a:cubicBezTo>
                      <a:pt x="351203" y="320113"/>
                      <a:pt x="413132" y="347975"/>
                      <a:pt x="456275" y="400493"/>
                    </a:cubicBezTo>
                    <a:cubicBezTo>
                      <a:pt x="494448" y="446918"/>
                      <a:pt x="516371" y="511447"/>
                      <a:pt x="516583" y="577598"/>
                    </a:cubicBezTo>
                    <a:lnTo>
                      <a:pt x="550491" y="560303"/>
                    </a:lnTo>
                    <a:cubicBezTo>
                      <a:pt x="543512" y="448080"/>
                      <a:pt x="480419" y="331948"/>
                      <a:pt x="358464" y="296513"/>
                    </a:cubicBezTo>
                    <a:cubicBezTo>
                      <a:pt x="404638" y="268475"/>
                      <a:pt x="435620" y="217894"/>
                      <a:pt x="435620" y="159915"/>
                    </a:cubicBezTo>
                    <a:cubicBezTo>
                      <a:pt x="435620" y="71610"/>
                      <a:pt x="363998" y="0"/>
                      <a:pt x="275563" y="0"/>
                    </a:cubicBezTo>
                    <a:cubicBezTo>
                      <a:pt x="187127" y="0"/>
                      <a:pt x="115540" y="71610"/>
                      <a:pt x="115540" y="159915"/>
                    </a:cubicBezTo>
                    <a:cubicBezTo>
                      <a:pt x="115540" y="217858"/>
                      <a:pt x="146452" y="268404"/>
                      <a:pt x="192555" y="296442"/>
                    </a:cubicBezTo>
                    <a:cubicBezTo>
                      <a:pt x="62811" y="333920"/>
                      <a:pt x="282" y="458999"/>
                      <a:pt x="0" y="577598"/>
                    </a:cubicBezTo>
                    <a:lnTo>
                      <a:pt x="0" y="583550"/>
                    </a:lnTo>
                    <a:lnTo>
                      <a:pt x="33978" y="590102"/>
                    </a:lnTo>
                    <a:lnTo>
                      <a:pt x="34542" y="577633"/>
                    </a:lnTo>
                    <a:lnTo>
                      <a:pt x="34542" y="577562"/>
                    </a:lnTo>
                    <a:close/>
                    <a:moveTo>
                      <a:pt x="150083" y="159880"/>
                    </a:moveTo>
                    <a:cubicBezTo>
                      <a:pt x="150083" y="90736"/>
                      <a:pt x="206372" y="34484"/>
                      <a:pt x="275563" y="34484"/>
                    </a:cubicBezTo>
                    <a:cubicBezTo>
                      <a:pt x="344753" y="34484"/>
                      <a:pt x="401043" y="90736"/>
                      <a:pt x="401043" y="159880"/>
                    </a:cubicBezTo>
                    <a:cubicBezTo>
                      <a:pt x="401043" y="229024"/>
                      <a:pt x="345845" y="284044"/>
                      <a:pt x="277642" y="285206"/>
                    </a:cubicBezTo>
                    <a:cubicBezTo>
                      <a:pt x="276937" y="285206"/>
                      <a:pt x="276268" y="285171"/>
                      <a:pt x="275563" y="285171"/>
                    </a:cubicBezTo>
                    <a:cubicBezTo>
                      <a:pt x="274858" y="285171"/>
                      <a:pt x="274188" y="285206"/>
                      <a:pt x="273483" y="285206"/>
                    </a:cubicBezTo>
                    <a:cubicBezTo>
                      <a:pt x="205245" y="284079"/>
                      <a:pt x="150083" y="228320"/>
                      <a:pt x="150083" y="159880"/>
                    </a:cubicBezTo>
                  </a:path>
                </a:pathLst>
              </a:custGeom>
              <a:solidFill>
                <a:srgbClr val="FFFFFF"/>
              </a:solidFill>
              <a:ln w="3521" cap="flat">
                <a:noFill/>
                <a:prstDash val="solid"/>
                <a:miter/>
              </a:ln>
            </p:spPr>
            <p:txBody>
              <a:bodyPr rtlCol="0" anchor="ctr"/>
              <a:lstStyle/>
              <a:p>
                <a:endParaRPr lang="de-DE"/>
              </a:p>
            </p:txBody>
          </p:sp>
          <p:sp>
            <p:nvSpPr>
              <p:cNvPr id="73" name="Freihandform 72">
                <a:extLst>
                  <a:ext uri="{FF2B5EF4-FFF2-40B4-BE49-F238E27FC236}">
                    <a16:creationId xmlns:a16="http://schemas.microsoft.com/office/drawing/2014/main" id="{34D54208-CF8C-366A-A289-C5529DA60166}"/>
                  </a:ext>
                </a:extLst>
              </p:cNvPr>
              <p:cNvSpPr/>
              <p:nvPr/>
            </p:nvSpPr>
            <p:spPr>
              <a:xfrm>
                <a:off x="8598303" y="4737472"/>
                <a:ext cx="438651" cy="492461"/>
              </a:xfrm>
              <a:custGeom>
                <a:avLst/>
                <a:gdLst>
                  <a:gd name="connsiteX0" fmla="*/ 0 w 438651"/>
                  <a:gd name="connsiteY0" fmla="*/ 116309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09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09"/>
                    </a:moveTo>
                    <a:lnTo>
                      <a:pt x="34754" y="170130"/>
                    </a:lnTo>
                    <a:lnTo>
                      <a:pt x="162913" y="87496"/>
                    </a:lnTo>
                    <a:lnTo>
                      <a:pt x="352049" y="361782"/>
                    </a:lnTo>
                    <a:lnTo>
                      <a:pt x="251277" y="442479"/>
                    </a:lnTo>
                    <a:lnTo>
                      <a:pt x="291353" y="492462"/>
                    </a:lnTo>
                    <a:lnTo>
                      <a:pt x="438651" y="374498"/>
                    </a:lnTo>
                    <a:lnTo>
                      <a:pt x="180430" y="0"/>
                    </a:lnTo>
                    <a:lnTo>
                      <a:pt x="0" y="116309"/>
                    </a:lnTo>
                    <a:close/>
                  </a:path>
                </a:pathLst>
              </a:custGeom>
              <a:solidFill>
                <a:srgbClr val="FFFFFF"/>
              </a:solidFill>
              <a:ln w="3521" cap="flat">
                <a:noFill/>
                <a:prstDash val="solid"/>
                <a:miter/>
              </a:ln>
            </p:spPr>
            <p:txBody>
              <a:bodyPr rtlCol="0" anchor="ctr"/>
              <a:lstStyle/>
              <a:p>
                <a:endParaRPr lang="de-DE"/>
              </a:p>
            </p:txBody>
          </p:sp>
          <p:sp>
            <p:nvSpPr>
              <p:cNvPr id="74" name="Freihandform 73">
                <a:extLst>
                  <a:ext uri="{FF2B5EF4-FFF2-40B4-BE49-F238E27FC236}">
                    <a16:creationId xmlns:a16="http://schemas.microsoft.com/office/drawing/2014/main" id="{44C3DDD8-88E6-0A52-02ED-E6FEFC2D30A9}"/>
                  </a:ext>
                </a:extLst>
              </p:cNvPr>
              <p:cNvSpPr/>
              <p:nvPr/>
            </p:nvSpPr>
            <p:spPr>
              <a:xfrm>
                <a:off x="8845598" y="4628413"/>
                <a:ext cx="563872" cy="266861"/>
              </a:xfrm>
              <a:custGeom>
                <a:avLst/>
                <a:gdLst>
                  <a:gd name="connsiteX0" fmla="*/ 61259 w 563872"/>
                  <a:gd name="connsiteY0" fmla="*/ 170384 h 266861"/>
                  <a:gd name="connsiteX1" fmla="*/ 176624 w 563872"/>
                  <a:gd name="connsiteY1" fmla="*/ 83381 h 266861"/>
                  <a:gd name="connsiteX2" fmla="*/ 323851 w 563872"/>
                  <a:gd name="connsiteY2" fmla="*/ 84332 h 266861"/>
                  <a:gd name="connsiteX3" fmla="*/ 407634 w 563872"/>
                  <a:gd name="connsiteY3" fmla="*/ 110468 h 266861"/>
                  <a:gd name="connsiteX4" fmla="*/ 498360 w 563872"/>
                  <a:gd name="connsiteY4" fmla="*/ 156083 h 266861"/>
                  <a:gd name="connsiteX5" fmla="*/ 493002 w 563872"/>
                  <a:gd name="connsiteY5" fmla="*/ 186305 h 266861"/>
                  <a:gd name="connsiteX6" fmla="*/ 429452 w 563872"/>
                  <a:gd name="connsiteY6" fmla="*/ 202402 h 266861"/>
                  <a:gd name="connsiteX7" fmla="*/ 269782 w 563872"/>
                  <a:gd name="connsiteY7" fmla="*/ 167319 h 266861"/>
                  <a:gd name="connsiteX8" fmla="*/ 238729 w 563872"/>
                  <a:gd name="connsiteY8" fmla="*/ 159394 h 266861"/>
                  <a:gd name="connsiteX9" fmla="*/ 222833 w 563872"/>
                  <a:gd name="connsiteY9" fmla="*/ 221423 h 266861"/>
                  <a:gd name="connsiteX10" fmla="*/ 253885 w 563872"/>
                  <a:gd name="connsiteY10" fmla="*/ 229348 h 266861"/>
                  <a:gd name="connsiteX11" fmla="*/ 424940 w 563872"/>
                  <a:gd name="connsiteY11" fmla="*/ 266262 h 266861"/>
                  <a:gd name="connsiteX12" fmla="*/ 441683 w 563872"/>
                  <a:gd name="connsiteY12" fmla="*/ 266861 h 266861"/>
                  <a:gd name="connsiteX13" fmla="*/ 542349 w 563872"/>
                  <a:gd name="connsiteY13" fmla="*/ 227129 h 266861"/>
                  <a:gd name="connsiteX14" fmla="*/ 560325 w 563872"/>
                  <a:gd name="connsiteY14" fmla="*/ 139739 h 266861"/>
                  <a:gd name="connsiteX15" fmla="*/ 425010 w 563872"/>
                  <a:gd name="connsiteY15" fmla="*/ 48862 h 266861"/>
                  <a:gd name="connsiteX16" fmla="*/ 345740 w 563872"/>
                  <a:gd name="connsiteY16" fmla="*/ 24170 h 266861"/>
                  <a:gd name="connsiteX17" fmla="*/ 141341 w 563872"/>
                  <a:gd name="connsiteY17" fmla="*/ 29912 h 266861"/>
                  <a:gd name="connsiteX18" fmla="*/ 20866 w 563872"/>
                  <a:gd name="connsiteY18" fmla="*/ 120613 h 266861"/>
                  <a:gd name="connsiteX19" fmla="*/ 0 w 563872"/>
                  <a:gd name="connsiteY19" fmla="*/ 137485 h 266861"/>
                  <a:gd name="connsiteX20" fmla="*/ 36305 w 563872"/>
                  <a:gd name="connsiteY20" fmla="*/ 190532 h 266861"/>
                  <a:gd name="connsiteX21" fmla="*/ 61189 w 563872"/>
                  <a:gd name="connsiteY21" fmla="*/ 170384 h 266861"/>
                  <a:gd name="connsiteX22" fmla="*/ 61260 w 563872"/>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861">
                    <a:moveTo>
                      <a:pt x="61259"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4" y="198844"/>
                      <a:pt x="460117" y="204516"/>
                      <a:pt x="429452" y="202402"/>
                    </a:cubicBezTo>
                    <a:cubicBezTo>
                      <a:pt x="406752" y="200817"/>
                      <a:pt x="319445" y="180035"/>
                      <a:pt x="269782" y="167319"/>
                    </a:cubicBezTo>
                    <a:lnTo>
                      <a:pt x="238729" y="159394"/>
                    </a:lnTo>
                    <a:lnTo>
                      <a:pt x="222833" y="221423"/>
                    </a:lnTo>
                    <a:lnTo>
                      <a:pt x="253885" y="229348"/>
                    </a:lnTo>
                    <a:cubicBezTo>
                      <a:pt x="267632" y="232871"/>
                      <a:pt x="389058" y="263726"/>
                      <a:pt x="424940" y="266262"/>
                    </a:cubicBezTo>
                    <a:cubicBezTo>
                      <a:pt x="430756" y="266685"/>
                      <a:pt x="436325" y="266861"/>
                      <a:pt x="441683" y="266861"/>
                    </a:cubicBezTo>
                    <a:cubicBezTo>
                      <a:pt x="497162" y="266861"/>
                      <a:pt x="526910" y="245762"/>
                      <a:pt x="542349" y="227129"/>
                    </a:cubicBezTo>
                    <a:cubicBezTo>
                      <a:pt x="562122" y="203247"/>
                      <a:pt x="568678" y="171405"/>
                      <a:pt x="560325" y="139739"/>
                    </a:cubicBezTo>
                    <a:cubicBezTo>
                      <a:pt x="545274" y="82747"/>
                      <a:pt x="489548" y="67038"/>
                      <a:pt x="425010"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75" name="Freihandform 74">
                <a:extLst>
                  <a:ext uri="{FF2B5EF4-FFF2-40B4-BE49-F238E27FC236}">
                    <a16:creationId xmlns:a16="http://schemas.microsoft.com/office/drawing/2014/main" id="{1E15EDEB-B9F5-8AB8-ABA9-099464AF8D0A}"/>
                  </a:ext>
                </a:extLst>
              </p:cNvPr>
              <p:cNvSpPr/>
              <p:nvPr/>
            </p:nvSpPr>
            <p:spPr>
              <a:xfrm>
                <a:off x="9009603" y="4586682"/>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3 h 477173"/>
                  <a:gd name="connsiteX5" fmla="*/ 422720 w 799690"/>
                  <a:gd name="connsiteY5" fmla="*/ 138674 h 477173"/>
                  <a:gd name="connsiteX6" fmla="*/ 446265 w 799690"/>
                  <a:gd name="connsiteY6" fmla="*/ 199012 h 477173"/>
                  <a:gd name="connsiteX7" fmla="*/ 475485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5 h 477173"/>
                  <a:gd name="connsiteX16" fmla="*/ 99750 w 799690"/>
                  <a:gd name="connsiteY16" fmla="*/ 372171 h 477173"/>
                  <a:gd name="connsiteX17" fmla="*/ 0 w 799690"/>
                  <a:gd name="connsiteY17" fmla="*/ 416518 h 477173"/>
                  <a:gd name="connsiteX18" fmla="*/ 36869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3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26" y="-33077"/>
                      <a:pt x="666842" y="5881"/>
                      <a:pt x="581861" y="51002"/>
                    </a:cubicBezTo>
                    <a:cubicBezTo>
                      <a:pt x="571921" y="56286"/>
                      <a:pt x="561452" y="61851"/>
                      <a:pt x="550420" y="67557"/>
                    </a:cubicBezTo>
                    <a:lnTo>
                      <a:pt x="550702" y="68121"/>
                    </a:lnTo>
                    <a:cubicBezTo>
                      <a:pt x="537872" y="74250"/>
                      <a:pt x="510838" y="89361"/>
                      <a:pt x="444185" y="126663"/>
                    </a:cubicBezTo>
                    <a:lnTo>
                      <a:pt x="422720" y="138674"/>
                    </a:lnTo>
                    <a:lnTo>
                      <a:pt x="446265" y="199012"/>
                    </a:lnTo>
                    <a:lnTo>
                      <a:pt x="475485"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85"/>
                      <a:pt x="434386" y="332650"/>
                      <a:pt x="397377" y="359773"/>
                    </a:cubicBezTo>
                    <a:cubicBezTo>
                      <a:pt x="338162" y="403168"/>
                      <a:pt x="309329" y="415990"/>
                      <a:pt x="278735" y="412643"/>
                    </a:cubicBezTo>
                    <a:cubicBezTo>
                      <a:pt x="244757" y="408910"/>
                      <a:pt x="145888" y="384218"/>
                      <a:pt x="110676" y="375025"/>
                    </a:cubicBezTo>
                    <a:lnTo>
                      <a:pt x="99750" y="372171"/>
                    </a:lnTo>
                    <a:lnTo>
                      <a:pt x="0" y="416518"/>
                    </a:lnTo>
                    <a:lnTo>
                      <a:pt x="36869"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57"/>
                      <a:pt x="718796" y="213876"/>
                      <a:pt x="737336" y="202253"/>
                    </a:cubicBezTo>
                    <a:cubicBezTo>
                      <a:pt x="806280" y="159068"/>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67" name="Gruppieren 66">
              <a:extLst>
                <a:ext uri="{FF2B5EF4-FFF2-40B4-BE49-F238E27FC236}">
                  <a16:creationId xmlns:a16="http://schemas.microsoft.com/office/drawing/2014/main" id="{B1874973-5AF1-31A7-54F5-69E4B189E2F8}"/>
                </a:ext>
              </a:extLst>
            </p:cNvPr>
            <p:cNvGrpSpPr/>
            <p:nvPr/>
          </p:nvGrpSpPr>
          <p:grpSpPr>
            <a:xfrm>
              <a:off x="6434690" y="4019650"/>
              <a:ext cx="1210919" cy="1210284"/>
              <a:chOff x="6434690" y="4019650"/>
              <a:chExt cx="1210919" cy="1210284"/>
            </a:xfrm>
          </p:grpSpPr>
          <p:sp>
            <p:nvSpPr>
              <p:cNvPr id="68" name="Freihandform 67">
                <a:extLst>
                  <a:ext uri="{FF2B5EF4-FFF2-40B4-BE49-F238E27FC236}">
                    <a16:creationId xmlns:a16="http://schemas.microsoft.com/office/drawing/2014/main" id="{7AFC7C2F-2946-9065-4DBD-E85BF7C42884}"/>
                  </a:ext>
                </a:extLst>
              </p:cNvPr>
              <p:cNvSpPr/>
              <p:nvPr/>
            </p:nvSpPr>
            <p:spPr>
              <a:xfrm>
                <a:off x="6821387" y="4019650"/>
                <a:ext cx="624662" cy="594610"/>
              </a:xfrm>
              <a:custGeom>
                <a:avLst/>
                <a:gdLst>
                  <a:gd name="connsiteX0" fmla="*/ 505480 w 624662"/>
                  <a:gd name="connsiteY0" fmla="*/ 320183 h 594610"/>
                  <a:gd name="connsiteX1" fmla="*/ 347044 w 624662"/>
                  <a:gd name="connsiteY1" fmla="*/ 478548 h 594610"/>
                  <a:gd name="connsiteX2" fmla="*/ 188608 w 624662"/>
                  <a:gd name="connsiteY2" fmla="*/ 320183 h 594610"/>
                  <a:gd name="connsiteX3" fmla="*/ 347044 w 624662"/>
                  <a:gd name="connsiteY3" fmla="*/ 161817 h 594610"/>
                  <a:gd name="connsiteX4" fmla="*/ 505480 w 624662"/>
                  <a:gd name="connsiteY4" fmla="*/ 320183 h 594610"/>
                  <a:gd name="connsiteX5" fmla="*/ 298685 w 624662"/>
                  <a:gd name="connsiteY5" fmla="*/ 259669 h 594610"/>
                  <a:gd name="connsiteX6" fmla="*/ 395368 w 624662"/>
                  <a:gd name="connsiteY6" fmla="*/ 259669 h 594610"/>
                  <a:gd name="connsiteX7" fmla="*/ 377321 w 624662"/>
                  <a:gd name="connsiteY7" fmla="*/ 199859 h 594610"/>
                  <a:gd name="connsiteX8" fmla="*/ 347009 w 624662"/>
                  <a:gd name="connsiteY8" fmla="*/ 195984 h 594610"/>
                  <a:gd name="connsiteX9" fmla="*/ 316696 w 624662"/>
                  <a:gd name="connsiteY9" fmla="*/ 199859 h 594610"/>
                  <a:gd name="connsiteX10" fmla="*/ 298649 w 624662"/>
                  <a:gd name="connsiteY10" fmla="*/ 259669 h 594610"/>
                  <a:gd name="connsiteX11" fmla="*/ 273342 w 624662"/>
                  <a:gd name="connsiteY11" fmla="*/ 359352 h 594610"/>
                  <a:gd name="connsiteX12" fmla="*/ 271298 w 624662"/>
                  <a:gd name="connsiteY12" fmla="*/ 321803 h 594610"/>
                  <a:gd name="connsiteX13" fmla="*/ 273730 w 624662"/>
                  <a:gd name="connsiteY13" fmla="*/ 281014 h 594610"/>
                  <a:gd name="connsiteX14" fmla="*/ 229212 w 624662"/>
                  <a:gd name="connsiteY14" fmla="*/ 281014 h 594610"/>
                  <a:gd name="connsiteX15" fmla="*/ 222762 w 624662"/>
                  <a:gd name="connsiteY15" fmla="*/ 320183 h 594610"/>
                  <a:gd name="connsiteX16" fmla="*/ 229212 w 624662"/>
                  <a:gd name="connsiteY16" fmla="*/ 359352 h 594610"/>
                  <a:gd name="connsiteX17" fmla="*/ 273342 w 624662"/>
                  <a:gd name="connsiteY17" fmla="*/ 359352 h 594610"/>
                  <a:gd name="connsiteX18" fmla="*/ 288604 w 624662"/>
                  <a:gd name="connsiteY18" fmla="*/ 429729 h 594610"/>
                  <a:gd name="connsiteX19" fmla="*/ 276373 w 624662"/>
                  <a:gd name="connsiteY19" fmla="*/ 380697 h 594610"/>
                  <a:gd name="connsiteX20" fmla="*/ 238623 w 624662"/>
                  <a:gd name="connsiteY20" fmla="*/ 380697 h 594610"/>
                  <a:gd name="connsiteX21" fmla="*/ 288604 w 624662"/>
                  <a:gd name="connsiteY21" fmla="*/ 429729 h 594610"/>
                  <a:gd name="connsiteX22" fmla="*/ 289943 w 624662"/>
                  <a:gd name="connsiteY22" fmla="*/ 210003 h 594610"/>
                  <a:gd name="connsiteX23" fmla="*/ 238623 w 624662"/>
                  <a:gd name="connsiteY23" fmla="*/ 259669 h 594610"/>
                  <a:gd name="connsiteX24" fmla="*/ 276972 w 624662"/>
                  <a:gd name="connsiteY24" fmla="*/ 259669 h 594610"/>
                  <a:gd name="connsiteX25" fmla="*/ 289943 w 624662"/>
                  <a:gd name="connsiteY25" fmla="*/ 210003 h 594610"/>
                  <a:gd name="connsiteX26" fmla="*/ 396037 w 624662"/>
                  <a:gd name="connsiteY26" fmla="*/ 380697 h 594610"/>
                  <a:gd name="connsiteX27" fmla="*/ 298085 w 624662"/>
                  <a:gd name="connsiteY27" fmla="*/ 380697 h 594610"/>
                  <a:gd name="connsiteX28" fmla="*/ 315216 w 624662"/>
                  <a:gd name="connsiteY28" fmla="*/ 440084 h 594610"/>
                  <a:gd name="connsiteX29" fmla="*/ 347044 w 624662"/>
                  <a:gd name="connsiteY29" fmla="*/ 444381 h 594610"/>
                  <a:gd name="connsiteX30" fmla="*/ 378907 w 624662"/>
                  <a:gd name="connsiteY30" fmla="*/ 440084 h 594610"/>
                  <a:gd name="connsiteX31" fmla="*/ 396037 w 624662"/>
                  <a:gd name="connsiteY31" fmla="*/ 380697 h 594610"/>
                  <a:gd name="connsiteX32" fmla="*/ 401430 w 624662"/>
                  <a:gd name="connsiteY32" fmla="*/ 321803 h 594610"/>
                  <a:gd name="connsiteX33" fmla="*/ 398787 w 624662"/>
                  <a:gd name="connsiteY33" fmla="*/ 281014 h 594610"/>
                  <a:gd name="connsiteX34" fmla="*/ 295266 w 624662"/>
                  <a:gd name="connsiteY34" fmla="*/ 281014 h 594610"/>
                  <a:gd name="connsiteX35" fmla="*/ 292622 w 624662"/>
                  <a:gd name="connsiteY35" fmla="*/ 321803 h 594610"/>
                  <a:gd name="connsiteX36" fmla="*/ 294843 w 624662"/>
                  <a:gd name="connsiteY36" fmla="*/ 359352 h 594610"/>
                  <a:gd name="connsiteX37" fmla="*/ 399210 w 624662"/>
                  <a:gd name="connsiteY37" fmla="*/ 359352 h 594610"/>
                  <a:gd name="connsiteX38" fmla="*/ 401430 w 624662"/>
                  <a:gd name="connsiteY38" fmla="*/ 321803 h 594610"/>
                  <a:gd name="connsiteX39" fmla="*/ 404144 w 624662"/>
                  <a:gd name="connsiteY39" fmla="*/ 210003 h 594610"/>
                  <a:gd name="connsiteX40" fmla="*/ 417115 w 624662"/>
                  <a:gd name="connsiteY40" fmla="*/ 259669 h 594610"/>
                  <a:gd name="connsiteX41" fmla="*/ 455464 w 624662"/>
                  <a:gd name="connsiteY41" fmla="*/ 259669 h 594610"/>
                  <a:gd name="connsiteX42" fmla="*/ 404144 w 624662"/>
                  <a:gd name="connsiteY42" fmla="*/ 210003 h 594610"/>
                  <a:gd name="connsiteX43" fmla="*/ 455464 w 624662"/>
                  <a:gd name="connsiteY43" fmla="*/ 380697 h 594610"/>
                  <a:gd name="connsiteX44" fmla="*/ 417714 w 624662"/>
                  <a:gd name="connsiteY44" fmla="*/ 380697 h 594610"/>
                  <a:gd name="connsiteX45" fmla="*/ 405484 w 624662"/>
                  <a:gd name="connsiteY45" fmla="*/ 429729 h 594610"/>
                  <a:gd name="connsiteX46" fmla="*/ 455429 w 624662"/>
                  <a:gd name="connsiteY46" fmla="*/ 380697 h 594610"/>
                  <a:gd name="connsiteX47" fmla="*/ 464875 w 624662"/>
                  <a:gd name="connsiteY47" fmla="*/ 359352 h 594610"/>
                  <a:gd name="connsiteX48" fmla="*/ 471325 w 624662"/>
                  <a:gd name="connsiteY48" fmla="*/ 320183 h 594610"/>
                  <a:gd name="connsiteX49" fmla="*/ 464875 w 624662"/>
                  <a:gd name="connsiteY49" fmla="*/ 281014 h 594610"/>
                  <a:gd name="connsiteX50" fmla="*/ 420358 w 624662"/>
                  <a:gd name="connsiteY50" fmla="*/ 281014 h 594610"/>
                  <a:gd name="connsiteX51" fmla="*/ 422790 w 624662"/>
                  <a:gd name="connsiteY51" fmla="*/ 321803 h 594610"/>
                  <a:gd name="connsiteX52" fmla="*/ 420746 w 624662"/>
                  <a:gd name="connsiteY52" fmla="*/ 359352 h 594610"/>
                  <a:gd name="connsiteX53" fmla="*/ 464875 w 624662"/>
                  <a:gd name="connsiteY53" fmla="*/ 359352 h 594610"/>
                  <a:gd name="connsiteX54" fmla="*/ 73667 w 624662"/>
                  <a:gd name="connsiteY54" fmla="*/ 297429 h 594610"/>
                  <a:gd name="connsiteX55" fmla="*/ 139544 w 624662"/>
                  <a:gd name="connsiteY55" fmla="*/ 508453 h 594610"/>
                  <a:gd name="connsiteX56" fmla="*/ 340911 w 624662"/>
                  <a:gd name="connsiteY56" fmla="*/ 594610 h 594610"/>
                  <a:gd name="connsiteX57" fmla="*/ 363293 w 624662"/>
                  <a:gd name="connsiteY57" fmla="*/ 593800 h 594610"/>
                  <a:gd name="connsiteX58" fmla="*/ 380352 w 624662"/>
                  <a:gd name="connsiteY58" fmla="*/ 592532 h 594610"/>
                  <a:gd name="connsiteX59" fmla="*/ 377850 w 624662"/>
                  <a:gd name="connsiteY59" fmla="*/ 558471 h 594610"/>
                  <a:gd name="connsiteX60" fmla="*/ 360790 w 624662"/>
                  <a:gd name="connsiteY60" fmla="*/ 559704 h 594610"/>
                  <a:gd name="connsiteX61" fmla="*/ 164851 w 624662"/>
                  <a:gd name="connsiteY61" fmla="*/ 485523 h 594610"/>
                  <a:gd name="connsiteX62" fmla="*/ 107257 w 624662"/>
                  <a:gd name="connsiteY62" fmla="*/ 305917 h 594610"/>
                  <a:gd name="connsiteX63" fmla="*/ 142575 w 624662"/>
                  <a:gd name="connsiteY63" fmla="*/ 357907 h 594610"/>
                  <a:gd name="connsiteX64" fmla="*/ 170878 w 624662"/>
                  <a:gd name="connsiteY64" fmla="*/ 338675 h 594610"/>
                  <a:gd name="connsiteX65" fmla="*/ 101723 w 624662"/>
                  <a:gd name="connsiteY65" fmla="*/ 236985 h 594610"/>
                  <a:gd name="connsiteX66" fmla="*/ 0 w 624662"/>
                  <a:gd name="connsiteY66" fmla="*/ 306094 h 594610"/>
                  <a:gd name="connsiteX67" fmla="*/ 19245 w 624662"/>
                  <a:gd name="connsiteY67" fmla="*/ 334413 h 594610"/>
                  <a:gd name="connsiteX68" fmla="*/ 73667 w 624662"/>
                  <a:gd name="connsiteY68" fmla="*/ 297464 h 594610"/>
                  <a:gd name="connsiteX69" fmla="*/ 73667 w 624662"/>
                  <a:gd name="connsiteY69" fmla="*/ 297429 h 594610"/>
                  <a:gd name="connsiteX70" fmla="*/ 167530 w 624662"/>
                  <a:gd name="connsiteY70" fmla="*/ 150757 h 594610"/>
                  <a:gd name="connsiteX71" fmla="*/ 177082 w 624662"/>
                  <a:gd name="connsiteY71" fmla="*/ 141634 h 594610"/>
                  <a:gd name="connsiteX72" fmla="*/ 458636 w 624662"/>
                  <a:gd name="connsiteY72" fmla="*/ 103170 h 594610"/>
                  <a:gd name="connsiteX73" fmla="*/ 397483 w 624662"/>
                  <a:gd name="connsiteY73" fmla="*/ 125009 h 594610"/>
                  <a:gd name="connsiteX74" fmla="*/ 409008 w 624662"/>
                  <a:gd name="connsiteY74" fmla="*/ 157203 h 594610"/>
                  <a:gd name="connsiteX75" fmla="*/ 524831 w 624662"/>
                  <a:gd name="connsiteY75" fmla="*/ 115745 h 594610"/>
                  <a:gd name="connsiteX76" fmla="*/ 483380 w 624662"/>
                  <a:gd name="connsiteY76" fmla="*/ 0 h 594610"/>
                  <a:gd name="connsiteX77" fmla="*/ 451129 w 624662"/>
                  <a:gd name="connsiteY77" fmla="*/ 11518 h 594610"/>
                  <a:gd name="connsiteX78" fmla="*/ 472806 w 624662"/>
                  <a:gd name="connsiteY78" fmla="*/ 72032 h 594610"/>
                  <a:gd name="connsiteX79" fmla="*/ 154136 w 624662"/>
                  <a:gd name="connsiteY79" fmla="*/ 116273 h 594610"/>
                  <a:gd name="connsiteX80" fmla="*/ 143350 w 624662"/>
                  <a:gd name="connsiteY80" fmla="*/ 126559 h 594610"/>
                  <a:gd name="connsiteX81" fmla="*/ 131296 w 624662"/>
                  <a:gd name="connsiteY81" fmla="*/ 138640 h 594610"/>
                  <a:gd name="connsiteX82" fmla="*/ 155475 w 624662"/>
                  <a:gd name="connsiteY82" fmla="*/ 162769 h 594610"/>
                  <a:gd name="connsiteX83" fmla="*/ 167530 w 624662"/>
                  <a:gd name="connsiteY83" fmla="*/ 150687 h 594610"/>
                  <a:gd name="connsiteX84" fmla="*/ 167530 w 624662"/>
                  <a:gd name="connsiteY84" fmla="*/ 150757 h 594610"/>
                  <a:gd name="connsiteX85" fmla="*/ 508652 w 624662"/>
                  <a:gd name="connsiteY85" fmla="*/ 506833 h 594610"/>
                  <a:gd name="connsiteX86" fmla="*/ 508370 w 624662"/>
                  <a:gd name="connsiteY86" fmla="*/ 507080 h 594610"/>
                  <a:gd name="connsiteX87" fmla="*/ 513270 w 624662"/>
                  <a:gd name="connsiteY87" fmla="*/ 442656 h 594610"/>
                  <a:gd name="connsiteX88" fmla="*/ 479115 w 624662"/>
                  <a:gd name="connsiteY88" fmla="*/ 440084 h 594610"/>
                  <a:gd name="connsiteX89" fmla="*/ 469880 w 624662"/>
                  <a:gd name="connsiteY89" fmla="*/ 562698 h 594610"/>
                  <a:gd name="connsiteX90" fmla="*/ 592541 w 624662"/>
                  <a:gd name="connsiteY90" fmla="*/ 571926 h 594610"/>
                  <a:gd name="connsiteX91" fmla="*/ 595114 w 624662"/>
                  <a:gd name="connsiteY91" fmla="*/ 537795 h 594610"/>
                  <a:gd name="connsiteX92" fmla="*/ 530682 w 624662"/>
                  <a:gd name="connsiteY92" fmla="*/ 532969 h 594610"/>
                  <a:gd name="connsiteX93" fmla="*/ 531633 w 624662"/>
                  <a:gd name="connsiteY93" fmla="*/ 532159 h 594610"/>
                  <a:gd name="connsiteX94" fmla="*/ 599731 w 624662"/>
                  <a:gd name="connsiteY94" fmla="*/ 201937 h 594610"/>
                  <a:gd name="connsiteX95" fmla="*/ 592893 w 624662"/>
                  <a:gd name="connsiteY95" fmla="*/ 186298 h 594610"/>
                  <a:gd name="connsiteX96" fmla="*/ 561594 w 624662"/>
                  <a:gd name="connsiteY96" fmla="*/ 200000 h 594610"/>
                  <a:gd name="connsiteX97" fmla="*/ 568431 w 624662"/>
                  <a:gd name="connsiteY97" fmla="*/ 215639 h 594610"/>
                  <a:gd name="connsiteX98" fmla="*/ 508687 w 624662"/>
                  <a:gd name="connsiteY98" fmla="*/ 506868 h 59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4662" h="594610">
                    <a:moveTo>
                      <a:pt x="505480" y="320183"/>
                    </a:moveTo>
                    <a:cubicBezTo>
                      <a:pt x="505480" y="407502"/>
                      <a:pt x="434422" y="478548"/>
                      <a:pt x="347044" y="478548"/>
                    </a:cubicBezTo>
                    <a:cubicBezTo>
                      <a:pt x="259666" y="478548"/>
                      <a:pt x="188608" y="407502"/>
                      <a:pt x="188608" y="320183"/>
                    </a:cubicBezTo>
                    <a:cubicBezTo>
                      <a:pt x="188608" y="232863"/>
                      <a:pt x="259666" y="161817"/>
                      <a:pt x="347044" y="161817"/>
                    </a:cubicBezTo>
                    <a:cubicBezTo>
                      <a:pt x="434422" y="161817"/>
                      <a:pt x="505480" y="232863"/>
                      <a:pt x="505480" y="320183"/>
                    </a:cubicBezTo>
                    <a:moveTo>
                      <a:pt x="298685" y="259669"/>
                    </a:moveTo>
                    <a:lnTo>
                      <a:pt x="395368" y="259669"/>
                    </a:lnTo>
                    <a:cubicBezTo>
                      <a:pt x="391350" y="238887"/>
                      <a:pt x="385287" y="218774"/>
                      <a:pt x="377321" y="199859"/>
                    </a:cubicBezTo>
                    <a:cubicBezTo>
                      <a:pt x="367593" y="197393"/>
                      <a:pt x="357512" y="195984"/>
                      <a:pt x="347009" y="195984"/>
                    </a:cubicBezTo>
                    <a:cubicBezTo>
                      <a:pt x="336505" y="195984"/>
                      <a:pt x="326424" y="197429"/>
                      <a:pt x="316696" y="199859"/>
                    </a:cubicBezTo>
                    <a:cubicBezTo>
                      <a:pt x="308695" y="218774"/>
                      <a:pt x="302668" y="238852"/>
                      <a:pt x="298649" y="259669"/>
                    </a:cubicBezTo>
                    <a:moveTo>
                      <a:pt x="273342" y="359352"/>
                    </a:moveTo>
                    <a:cubicBezTo>
                      <a:pt x="272003" y="346953"/>
                      <a:pt x="271298" y="334413"/>
                      <a:pt x="271298" y="321803"/>
                    </a:cubicBezTo>
                    <a:cubicBezTo>
                      <a:pt x="271298" y="308101"/>
                      <a:pt x="272179" y="294470"/>
                      <a:pt x="273730" y="281014"/>
                    </a:cubicBezTo>
                    <a:lnTo>
                      <a:pt x="229212" y="281014"/>
                    </a:lnTo>
                    <a:cubicBezTo>
                      <a:pt x="225089" y="293342"/>
                      <a:pt x="222762" y="306481"/>
                      <a:pt x="222762" y="320183"/>
                    </a:cubicBezTo>
                    <a:cubicBezTo>
                      <a:pt x="222762" y="333885"/>
                      <a:pt x="225089" y="347023"/>
                      <a:pt x="229212" y="359352"/>
                    </a:cubicBezTo>
                    <a:lnTo>
                      <a:pt x="273342" y="359352"/>
                    </a:lnTo>
                    <a:close/>
                    <a:moveTo>
                      <a:pt x="288604" y="429729"/>
                    </a:moveTo>
                    <a:cubicBezTo>
                      <a:pt x="283317" y="413913"/>
                      <a:pt x="279263" y="397499"/>
                      <a:pt x="276373" y="380697"/>
                    </a:cubicBezTo>
                    <a:lnTo>
                      <a:pt x="238623" y="380697"/>
                    </a:lnTo>
                    <a:cubicBezTo>
                      <a:pt x="250255" y="401409"/>
                      <a:pt x="267597" y="418492"/>
                      <a:pt x="288604" y="429729"/>
                    </a:cubicBezTo>
                    <a:moveTo>
                      <a:pt x="289943" y="210003"/>
                    </a:moveTo>
                    <a:cubicBezTo>
                      <a:pt x="268372" y="221204"/>
                      <a:pt x="250502" y="238534"/>
                      <a:pt x="238623" y="259669"/>
                    </a:cubicBezTo>
                    <a:lnTo>
                      <a:pt x="276972" y="259669"/>
                    </a:lnTo>
                    <a:cubicBezTo>
                      <a:pt x="280074" y="242621"/>
                      <a:pt x="284374" y="225995"/>
                      <a:pt x="289943" y="210003"/>
                    </a:cubicBezTo>
                    <a:moveTo>
                      <a:pt x="396037" y="380697"/>
                    </a:moveTo>
                    <a:lnTo>
                      <a:pt x="298085" y="380697"/>
                    </a:lnTo>
                    <a:cubicBezTo>
                      <a:pt x="301857" y="401303"/>
                      <a:pt x="307567" y="421275"/>
                      <a:pt x="315216" y="440084"/>
                    </a:cubicBezTo>
                    <a:cubicBezTo>
                      <a:pt x="325402" y="442797"/>
                      <a:pt x="336011" y="444381"/>
                      <a:pt x="347044" y="444381"/>
                    </a:cubicBezTo>
                    <a:cubicBezTo>
                      <a:pt x="358076" y="444381"/>
                      <a:pt x="368721" y="442797"/>
                      <a:pt x="378907" y="440084"/>
                    </a:cubicBezTo>
                    <a:cubicBezTo>
                      <a:pt x="386521" y="421275"/>
                      <a:pt x="392266" y="401303"/>
                      <a:pt x="396037" y="380697"/>
                    </a:cubicBezTo>
                    <a:moveTo>
                      <a:pt x="401430" y="321803"/>
                    </a:moveTo>
                    <a:cubicBezTo>
                      <a:pt x="401430" y="308066"/>
                      <a:pt x="400479" y="294434"/>
                      <a:pt x="398787" y="281014"/>
                    </a:cubicBezTo>
                    <a:lnTo>
                      <a:pt x="295266" y="281014"/>
                    </a:lnTo>
                    <a:cubicBezTo>
                      <a:pt x="293574" y="294434"/>
                      <a:pt x="292622" y="308066"/>
                      <a:pt x="292622" y="321803"/>
                    </a:cubicBezTo>
                    <a:cubicBezTo>
                      <a:pt x="292622" y="334413"/>
                      <a:pt x="293433" y="346953"/>
                      <a:pt x="294843" y="359352"/>
                    </a:cubicBezTo>
                    <a:lnTo>
                      <a:pt x="399210" y="359352"/>
                    </a:lnTo>
                    <a:cubicBezTo>
                      <a:pt x="400620" y="346953"/>
                      <a:pt x="401430" y="334413"/>
                      <a:pt x="401430" y="321803"/>
                    </a:cubicBezTo>
                    <a:moveTo>
                      <a:pt x="404144" y="210003"/>
                    </a:moveTo>
                    <a:cubicBezTo>
                      <a:pt x="409713" y="225995"/>
                      <a:pt x="414049" y="242656"/>
                      <a:pt x="417115" y="259669"/>
                    </a:cubicBezTo>
                    <a:lnTo>
                      <a:pt x="455464" y="259669"/>
                    </a:lnTo>
                    <a:cubicBezTo>
                      <a:pt x="443586" y="238499"/>
                      <a:pt x="425716" y="221204"/>
                      <a:pt x="404144" y="210003"/>
                    </a:cubicBezTo>
                    <a:moveTo>
                      <a:pt x="455464" y="380697"/>
                    </a:moveTo>
                    <a:lnTo>
                      <a:pt x="417714" y="380697"/>
                    </a:lnTo>
                    <a:cubicBezTo>
                      <a:pt x="414824" y="397499"/>
                      <a:pt x="410771" y="413913"/>
                      <a:pt x="405484" y="429729"/>
                    </a:cubicBezTo>
                    <a:cubicBezTo>
                      <a:pt x="426456" y="418492"/>
                      <a:pt x="443833" y="401444"/>
                      <a:pt x="455429" y="380697"/>
                    </a:cubicBezTo>
                    <a:moveTo>
                      <a:pt x="464875" y="359352"/>
                    </a:moveTo>
                    <a:cubicBezTo>
                      <a:pt x="468999" y="347023"/>
                      <a:pt x="471325" y="333885"/>
                      <a:pt x="471325" y="320183"/>
                    </a:cubicBezTo>
                    <a:cubicBezTo>
                      <a:pt x="471325" y="306481"/>
                      <a:pt x="468999" y="293342"/>
                      <a:pt x="464875" y="281014"/>
                    </a:cubicBezTo>
                    <a:lnTo>
                      <a:pt x="420358" y="281014"/>
                    </a:lnTo>
                    <a:cubicBezTo>
                      <a:pt x="421944" y="294470"/>
                      <a:pt x="422790" y="308066"/>
                      <a:pt x="422790" y="321803"/>
                    </a:cubicBezTo>
                    <a:cubicBezTo>
                      <a:pt x="422790" y="334413"/>
                      <a:pt x="422085" y="346953"/>
                      <a:pt x="420746" y="359352"/>
                    </a:cubicBezTo>
                    <a:lnTo>
                      <a:pt x="464875" y="359352"/>
                    </a:lnTo>
                    <a:close/>
                    <a:moveTo>
                      <a:pt x="73667" y="297429"/>
                    </a:moveTo>
                    <a:cubicBezTo>
                      <a:pt x="65313" y="376470"/>
                      <a:pt x="88929" y="452659"/>
                      <a:pt x="139544" y="508453"/>
                    </a:cubicBezTo>
                    <a:cubicBezTo>
                      <a:pt x="189806" y="563860"/>
                      <a:pt x="262239" y="594610"/>
                      <a:pt x="340911" y="594610"/>
                    </a:cubicBezTo>
                    <a:cubicBezTo>
                      <a:pt x="348313" y="594610"/>
                      <a:pt x="355785" y="594329"/>
                      <a:pt x="363293" y="593800"/>
                    </a:cubicBezTo>
                    <a:lnTo>
                      <a:pt x="380352" y="592532"/>
                    </a:lnTo>
                    <a:lnTo>
                      <a:pt x="377850" y="558471"/>
                    </a:lnTo>
                    <a:lnTo>
                      <a:pt x="360790" y="559704"/>
                    </a:lnTo>
                    <a:cubicBezTo>
                      <a:pt x="284092" y="565304"/>
                      <a:pt x="212717" y="538288"/>
                      <a:pt x="164851" y="485523"/>
                    </a:cubicBezTo>
                    <a:cubicBezTo>
                      <a:pt x="121850" y="438147"/>
                      <a:pt x="101371" y="373547"/>
                      <a:pt x="107257" y="305917"/>
                    </a:cubicBezTo>
                    <a:lnTo>
                      <a:pt x="142575" y="357907"/>
                    </a:lnTo>
                    <a:lnTo>
                      <a:pt x="170878" y="338675"/>
                    </a:lnTo>
                    <a:lnTo>
                      <a:pt x="101723" y="236985"/>
                    </a:lnTo>
                    <a:lnTo>
                      <a:pt x="0" y="306094"/>
                    </a:lnTo>
                    <a:lnTo>
                      <a:pt x="19245" y="334413"/>
                    </a:lnTo>
                    <a:lnTo>
                      <a:pt x="73667" y="297464"/>
                    </a:lnTo>
                    <a:lnTo>
                      <a:pt x="73667" y="297429"/>
                    </a:lnTo>
                    <a:close/>
                    <a:moveTo>
                      <a:pt x="167530" y="150757"/>
                    </a:moveTo>
                    <a:cubicBezTo>
                      <a:pt x="170632" y="147657"/>
                      <a:pt x="173804" y="144628"/>
                      <a:pt x="177082" y="141634"/>
                    </a:cubicBezTo>
                    <a:cubicBezTo>
                      <a:pt x="253322" y="72525"/>
                      <a:pt x="364632" y="57943"/>
                      <a:pt x="458636" y="103170"/>
                    </a:cubicBezTo>
                    <a:lnTo>
                      <a:pt x="397483" y="125009"/>
                    </a:lnTo>
                    <a:lnTo>
                      <a:pt x="409008" y="157203"/>
                    </a:lnTo>
                    <a:lnTo>
                      <a:pt x="524831" y="115745"/>
                    </a:lnTo>
                    <a:lnTo>
                      <a:pt x="483380" y="0"/>
                    </a:lnTo>
                    <a:lnTo>
                      <a:pt x="451129" y="11518"/>
                    </a:lnTo>
                    <a:lnTo>
                      <a:pt x="472806" y="72032"/>
                    </a:lnTo>
                    <a:cubicBezTo>
                      <a:pt x="366500" y="21169"/>
                      <a:pt x="240562" y="37936"/>
                      <a:pt x="154136" y="116273"/>
                    </a:cubicBezTo>
                    <a:cubicBezTo>
                      <a:pt x="150435" y="119620"/>
                      <a:pt x="146840" y="123071"/>
                      <a:pt x="143350" y="126559"/>
                    </a:cubicBezTo>
                    <a:lnTo>
                      <a:pt x="131296" y="138640"/>
                    </a:lnTo>
                    <a:lnTo>
                      <a:pt x="155475" y="162769"/>
                    </a:lnTo>
                    <a:lnTo>
                      <a:pt x="167530" y="150687"/>
                    </a:lnTo>
                    <a:lnTo>
                      <a:pt x="167530" y="150757"/>
                    </a:lnTo>
                    <a:close/>
                    <a:moveTo>
                      <a:pt x="508652" y="506833"/>
                    </a:moveTo>
                    <a:cubicBezTo>
                      <a:pt x="508652" y="506833"/>
                      <a:pt x="508441" y="507009"/>
                      <a:pt x="508370" y="507080"/>
                    </a:cubicBezTo>
                    <a:lnTo>
                      <a:pt x="513270" y="442656"/>
                    </a:lnTo>
                    <a:lnTo>
                      <a:pt x="479115" y="440084"/>
                    </a:lnTo>
                    <a:lnTo>
                      <a:pt x="469880" y="562698"/>
                    </a:lnTo>
                    <a:lnTo>
                      <a:pt x="592541" y="571926"/>
                    </a:lnTo>
                    <a:lnTo>
                      <a:pt x="595114" y="537795"/>
                    </a:lnTo>
                    <a:lnTo>
                      <a:pt x="530682" y="532969"/>
                    </a:lnTo>
                    <a:cubicBezTo>
                      <a:pt x="530999" y="532687"/>
                      <a:pt x="531316" y="532441"/>
                      <a:pt x="531633" y="532159"/>
                    </a:cubicBezTo>
                    <a:cubicBezTo>
                      <a:pt x="622677" y="449665"/>
                      <a:pt x="650029" y="316942"/>
                      <a:pt x="599731" y="201937"/>
                    </a:cubicBezTo>
                    <a:lnTo>
                      <a:pt x="592893" y="186298"/>
                    </a:lnTo>
                    <a:lnTo>
                      <a:pt x="561594" y="200000"/>
                    </a:lnTo>
                    <a:lnTo>
                      <a:pt x="568431" y="215639"/>
                    </a:lnTo>
                    <a:cubicBezTo>
                      <a:pt x="612878" y="317189"/>
                      <a:pt x="588840" y="434237"/>
                      <a:pt x="508687" y="506868"/>
                    </a:cubicBezTo>
                  </a:path>
                </a:pathLst>
              </a:custGeom>
              <a:solidFill>
                <a:srgbClr val="FFFFFF"/>
              </a:solidFill>
              <a:ln w="3521" cap="flat">
                <a:noFill/>
                <a:prstDash val="solid"/>
                <a:miter/>
              </a:ln>
            </p:spPr>
            <p:txBody>
              <a:bodyPr rtlCol="0" anchor="ctr"/>
              <a:lstStyle/>
              <a:p>
                <a:endParaRPr lang="de-DE"/>
              </a:p>
            </p:txBody>
          </p:sp>
          <p:sp>
            <p:nvSpPr>
              <p:cNvPr id="69" name="Freihandform 68">
                <a:extLst>
                  <a:ext uri="{FF2B5EF4-FFF2-40B4-BE49-F238E27FC236}">
                    <a16:creationId xmlns:a16="http://schemas.microsoft.com/office/drawing/2014/main" id="{9C5135D5-25D4-CCF3-9300-B74AA680A5F2}"/>
                  </a:ext>
                </a:extLst>
              </p:cNvPr>
              <p:cNvSpPr/>
              <p:nvPr/>
            </p:nvSpPr>
            <p:spPr>
              <a:xfrm>
                <a:off x="6434690" y="4737437"/>
                <a:ext cx="438651" cy="492497"/>
              </a:xfrm>
              <a:custGeom>
                <a:avLst/>
                <a:gdLst>
                  <a:gd name="connsiteX0" fmla="*/ 0 w 438651"/>
                  <a:gd name="connsiteY0" fmla="*/ 116344 h 492497"/>
                  <a:gd name="connsiteX1" fmla="*/ 34719 w 438651"/>
                  <a:gd name="connsiteY1" fmla="*/ 170165 h 492497"/>
                  <a:gd name="connsiteX2" fmla="*/ 162913 w 438651"/>
                  <a:gd name="connsiteY2" fmla="*/ 87496 h 492497"/>
                  <a:gd name="connsiteX3" fmla="*/ 352049 w 438651"/>
                  <a:gd name="connsiteY3" fmla="*/ 361817 h 492497"/>
                  <a:gd name="connsiteX4" fmla="*/ 251277 w 438651"/>
                  <a:gd name="connsiteY4" fmla="*/ 442515 h 492497"/>
                  <a:gd name="connsiteX5" fmla="*/ 291353 w 438651"/>
                  <a:gd name="connsiteY5" fmla="*/ 492497 h 492497"/>
                  <a:gd name="connsiteX6" fmla="*/ 438651 w 438651"/>
                  <a:gd name="connsiteY6" fmla="*/ 374533 h 492497"/>
                  <a:gd name="connsiteX7" fmla="*/ 180395 w 438651"/>
                  <a:gd name="connsiteY7" fmla="*/ 0 h 492497"/>
                  <a:gd name="connsiteX8" fmla="*/ 0 w 438651"/>
                  <a:gd name="connsiteY8" fmla="*/ 116344 h 49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97">
                    <a:moveTo>
                      <a:pt x="0" y="116344"/>
                    </a:moveTo>
                    <a:lnTo>
                      <a:pt x="34719" y="170165"/>
                    </a:lnTo>
                    <a:lnTo>
                      <a:pt x="162913" y="87496"/>
                    </a:lnTo>
                    <a:lnTo>
                      <a:pt x="352049" y="361817"/>
                    </a:lnTo>
                    <a:lnTo>
                      <a:pt x="251277" y="442515"/>
                    </a:lnTo>
                    <a:lnTo>
                      <a:pt x="291353" y="492497"/>
                    </a:lnTo>
                    <a:lnTo>
                      <a:pt x="438651" y="374533"/>
                    </a:lnTo>
                    <a:lnTo>
                      <a:pt x="180395" y="0"/>
                    </a:lnTo>
                    <a:lnTo>
                      <a:pt x="0" y="116344"/>
                    </a:lnTo>
                    <a:close/>
                  </a:path>
                </a:pathLst>
              </a:custGeom>
              <a:solidFill>
                <a:srgbClr val="FFFFFF"/>
              </a:solidFill>
              <a:ln w="3521" cap="flat">
                <a:noFill/>
                <a:prstDash val="solid"/>
                <a:miter/>
              </a:ln>
            </p:spPr>
            <p:txBody>
              <a:bodyPr rtlCol="0" anchor="ctr"/>
              <a:lstStyle/>
              <a:p>
                <a:endParaRPr lang="de-DE"/>
              </a:p>
            </p:txBody>
          </p:sp>
          <p:sp>
            <p:nvSpPr>
              <p:cNvPr id="70" name="Freihandform 69">
                <a:extLst>
                  <a:ext uri="{FF2B5EF4-FFF2-40B4-BE49-F238E27FC236}">
                    <a16:creationId xmlns:a16="http://schemas.microsoft.com/office/drawing/2014/main" id="{0DC8E518-A803-417D-BB8A-C9FD2C4DF983}"/>
                  </a:ext>
                </a:extLst>
              </p:cNvPr>
              <p:cNvSpPr/>
              <p:nvPr/>
            </p:nvSpPr>
            <p:spPr>
              <a:xfrm>
                <a:off x="6681984" y="4628378"/>
                <a:ext cx="563872" cy="266931"/>
              </a:xfrm>
              <a:custGeom>
                <a:avLst/>
                <a:gdLst>
                  <a:gd name="connsiteX0" fmla="*/ 61260 w 563872"/>
                  <a:gd name="connsiteY0" fmla="*/ 170384 h 266931"/>
                  <a:gd name="connsiteX1" fmla="*/ 176624 w 563872"/>
                  <a:gd name="connsiteY1" fmla="*/ 83381 h 266931"/>
                  <a:gd name="connsiteX2" fmla="*/ 323851 w 563872"/>
                  <a:gd name="connsiteY2" fmla="*/ 84332 h 266931"/>
                  <a:gd name="connsiteX3" fmla="*/ 407634 w 563872"/>
                  <a:gd name="connsiteY3" fmla="*/ 110468 h 266931"/>
                  <a:gd name="connsiteX4" fmla="*/ 498360 w 563872"/>
                  <a:gd name="connsiteY4" fmla="*/ 156083 h 266931"/>
                  <a:gd name="connsiteX5" fmla="*/ 493002 w 563872"/>
                  <a:gd name="connsiteY5" fmla="*/ 186305 h 266931"/>
                  <a:gd name="connsiteX6" fmla="*/ 429452 w 563872"/>
                  <a:gd name="connsiteY6" fmla="*/ 202402 h 266931"/>
                  <a:gd name="connsiteX7" fmla="*/ 269782 w 563872"/>
                  <a:gd name="connsiteY7" fmla="*/ 167319 h 266931"/>
                  <a:gd name="connsiteX8" fmla="*/ 238729 w 563872"/>
                  <a:gd name="connsiteY8" fmla="*/ 159394 h 266931"/>
                  <a:gd name="connsiteX9" fmla="*/ 222833 w 563872"/>
                  <a:gd name="connsiteY9" fmla="*/ 221458 h 266931"/>
                  <a:gd name="connsiteX10" fmla="*/ 253886 w 563872"/>
                  <a:gd name="connsiteY10" fmla="*/ 229383 h 266931"/>
                  <a:gd name="connsiteX11" fmla="*/ 424940 w 563872"/>
                  <a:gd name="connsiteY11" fmla="*/ 266333 h 266931"/>
                  <a:gd name="connsiteX12" fmla="*/ 441683 w 563872"/>
                  <a:gd name="connsiteY12" fmla="*/ 266932 h 266931"/>
                  <a:gd name="connsiteX13" fmla="*/ 542349 w 563872"/>
                  <a:gd name="connsiteY13" fmla="*/ 227164 h 266931"/>
                  <a:gd name="connsiteX14" fmla="*/ 560325 w 563872"/>
                  <a:gd name="connsiteY14" fmla="*/ 139739 h 266931"/>
                  <a:gd name="connsiteX15" fmla="*/ 425011 w 563872"/>
                  <a:gd name="connsiteY15" fmla="*/ 48862 h 266931"/>
                  <a:gd name="connsiteX16" fmla="*/ 345740 w 563872"/>
                  <a:gd name="connsiteY16" fmla="*/ 24170 h 266931"/>
                  <a:gd name="connsiteX17" fmla="*/ 141341 w 563872"/>
                  <a:gd name="connsiteY17" fmla="*/ 29912 h 266931"/>
                  <a:gd name="connsiteX18" fmla="*/ 20866 w 563872"/>
                  <a:gd name="connsiteY18" fmla="*/ 120648 h 266931"/>
                  <a:gd name="connsiteX19" fmla="*/ 0 w 563872"/>
                  <a:gd name="connsiteY19" fmla="*/ 137520 h 266931"/>
                  <a:gd name="connsiteX20" fmla="*/ 36305 w 563872"/>
                  <a:gd name="connsiteY20" fmla="*/ 190567 h 266931"/>
                  <a:gd name="connsiteX21" fmla="*/ 61189 w 563872"/>
                  <a:gd name="connsiteY21" fmla="*/ 170419 h 266931"/>
                  <a:gd name="connsiteX22" fmla="*/ 61260 w 563872"/>
                  <a:gd name="connsiteY22" fmla="*/ 170384 h 26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93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5" y="198845"/>
                      <a:pt x="460117" y="204516"/>
                      <a:pt x="429452" y="202402"/>
                    </a:cubicBezTo>
                    <a:cubicBezTo>
                      <a:pt x="406753" y="200782"/>
                      <a:pt x="319445" y="180035"/>
                      <a:pt x="269782" y="167319"/>
                    </a:cubicBezTo>
                    <a:lnTo>
                      <a:pt x="238729" y="159394"/>
                    </a:lnTo>
                    <a:lnTo>
                      <a:pt x="222833" y="221458"/>
                    </a:lnTo>
                    <a:lnTo>
                      <a:pt x="253886" y="229383"/>
                    </a:lnTo>
                    <a:cubicBezTo>
                      <a:pt x="267632" y="232906"/>
                      <a:pt x="389059" y="263797"/>
                      <a:pt x="424940" y="266333"/>
                    </a:cubicBezTo>
                    <a:cubicBezTo>
                      <a:pt x="430756" y="266756"/>
                      <a:pt x="436325" y="266932"/>
                      <a:pt x="441683" y="266932"/>
                    </a:cubicBezTo>
                    <a:cubicBezTo>
                      <a:pt x="497162" y="266932"/>
                      <a:pt x="526910" y="245833"/>
                      <a:pt x="542349" y="227164"/>
                    </a:cubicBezTo>
                    <a:cubicBezTo>
                      <a:pt x="562122" y="203283"/>
                      <a:pt x="568678" y="171405"/>
                      <a:pt x="560325" y="139739"/>
                    </a:cubicBezTo>
                    <a:cubicBezTo>
                      <a:pt x="545274" y="82747"/>
                      <a:pt x="489548" y="67038"/>
                      <a:pt x="425011" y="48862"/>
                    </a:cubicBezTo>
                    <a:cubicBezTo>
                      <a:pt x="401184" y="42134"/>
                      <a:pt x="374184" y="34526"/>
                      <a:pt x="345740" y="24170"/>
                    </a:cubicBezTo>
                    <a:cubicBezTo>
                      <a:pt x="252687" y="-9679"/>
                      <a:pt x="199182" y="-8165"/>
                      <a:pt x="141341" y="29912"/>
                    </a:cubicBezTo>
                    <a:cubicBezTo>
                      <a:pt x="96754" y="59253"/>
                      <a:pt x="23968" y="118147"/>
                      <a:pt x="20866" y="120648"/>
                    </a:cubicBezTo>
                    <a:lnTo>
                      <a:pt x="0" y="137520"/>
                    </a:lnTo>
                    <a:lnTo>
                      <a:pt x="36305" y="190567"/>
                    </a:lnTo>
                    <a:lnTo>
                      <a:pt x="61189" y="170419"/>
                    </a:lnTo>
                    <a:lnTo>
                      <a:pt x="61260" y="170384"/>
                    </a:lnTo>
                    <a:close/>
                  </a:path>
                </a:pathLst>
              </a:custGeom>
              <a:solidFill>
                <a:srgbClr val="FFFFFF"/>
              </a:solidFill>
              <a:ln w="3521" cap="flat">
                <a:noFill/>
                <a:prstDash val="solid"/>
                <a:miter/>
              </a:ln>
            </p:spPr>
            <p:txBody>
              <a:bodyPr rtlCol="0" anchor="ctr"/>
              <a:lstStyle/>
              <a:p>
                <a:endParaRPr lang="de-DE"/>
              </a:p>
            </p:txBody>
          </p:sp>
          <p:sp>
            <p:nvSpPr>
              <p:cNvPr id="71" name="Freihandform 70">
                <a:extLst>
                  <a:ext uri="{FF2B5EF4-FFF2-40B4-BE49-F238E27FC236}">
                    <a16:creationId xmlns:a16="http://schemas.microsoft.com/office/drawing/2014/main" id="{12E6C8D4-F1D0-642B-F79E-D5A4DE37F713}"/>
                  </a:ext>
                </a:extLst>
              </p:cNvPr>
              <p:cNvSpPr/>
              <p:nvPr/>
            </p:nvSpPr>
            <p:spPr>
              <a:xfrm>
                <a:off x="6845919" y="4586596"/>
                <a:ext cx="799690" cy="477328"/>
              </a:xfrm>
              <a:custGeom>
                <a:avLst/>
                <a:gdLst>
                  <a:gd name="connsiteX0" fmla="*/ 786717 w 799690"/>
                  <a:gd name="connsiteY0" fmla="*/ 43338 h 477328"/>
                  <a:gd name="connsiteX1" fmla="*/ 581931 w 799690"/>
                  <a:gd name="connsiteY1" fmla="*/ 51017 h 477328"/>
                  <a:gd name="connsiteX2" fmla="*/ 550491 w 799690"/>
                  <a:gd name="connsiteY2" fmla="*/ 67572 h 477328"/>
                  <a:gd name="connsiteX3" fmla="*/ 550773 w 799690"/>
                  <a:gd name="connsiteY3" fmla="*/ 68136 h 477328"/>
                  <a:gd name="connsiteX4" fmla="*/ 444256 w 799690"/>
                  <a:gd name="connsiteY4" fmla="*/ 126677 h 477328"/>
                  <a:gd name="connsiteX5" fmla="*/ 422825 w 799690"/>
                  <a:gd name="connsiteY5" fmla="*/ 138689 h 477328"/>
                  <a:gd name="connsiteX6" fmla="*/ 446370 w 799690"/>
                  <a:gd name="connsiteY6" fmla="*/ 199062 h 477328"/>
                  <a:gd name="connsiteX7" fmla="*/ 475590 w 799690"/>
                  <a:gd name="connsiteY7" fmla="*/ 182577 h 477328"/>
                  <a:gd name="connsiteX8" fmla="*/ 578688 w 799690"/>
                  <a:gd name="connsiteY8" fmla="*/ 125128 h 477328"/>
                  <a:gd name="connsiteX9" fmla="*/ 580098 w 799690"/>
                  <a:gd name="connsiteY9" fmla="*/ 124388 h 477328"/>
                  <a:gd name="connsiteX10" fmla="*/ 611962 w 799690"/>
                  <a:gd name="connsiteY10" fmla="*/ 107586 h 477328"/>
                  <a:gd name="connsiteX11" fmla="*/ 731908 w 799690"/>
                  <a:gd name="connsiteY11" fmla="*/ 76590 h 477328"/>
                  <a:gd name="connsiteX12" fmla="*/ 703358 w 799690"/>
                  <a:gd name="connsiteY12" fmla="*/ 148094 h 477328"/>
                  <a:gd name="connsiteX13" fmla="*/ 397412 w 799690"/>
                  <a:gd name="connsiteY13" fmla="*/ 359858 h 477328"/>
                  <a:gd name="connsiteX14" fmla="*/ 278770 w 799690"/>
                  <a:gd name="connsiteY14" fmla="*/ 412729 h 477328"/>
                  <a:gd name="connsiteX15" fmla="*/ 110711 w 799690"/>
                  <a:gd name="connsiteY15" fmla="*/ 375110 h 477328"/>
                  <a:gd name="connsiteX16" fmla="*/ 99750 w 799690"/>
                  <a:gd name="connsiteY16" fmla="*/ 372257 h 477328"/>
                  <a:gd name="connsiteX17" fmla="*/ 0 w 799690"/>
                  <a:gd name="connsiteY17" fmla="*/ 416639 h 477328"/>
                  <a:gd name="connsiteX18" fmla="*/ 36869 w 799690"/>
                  <a:gd name="connsiteY18" fmla="*/ 470813 h 477328"/>
                  <a:gd name="connsiteX19" fmla="*/ 105495 w 799690"/>
                  <a:gd name="connsiteY19" fmla="*/ 439921 h 477328"/>
                  <a:gd name="connsiteX20" fmla="*/ 271756 w 799690"/>
                  <a:gd name="connsiteY20" fmla="*/ 476413 h 477328"/>
                  <a:gd name="connsiteX21" fmla="*/ 288111 w 799690"/>
                  <a:gd name="connsiteY21" fmla="*/ 477329 h 477328"/>
                  <a:gd name="connsiteX22" fmla="*/ 435268 w 799690"/>
                  <a:gd name="connsiteY22" fmla="*/ 411531 h 477328"/>
                  <a:gd name="connsiteX23" fmla="*/ 737336 w 799690"/>
                  <a:gd name="connsiteY23" fmla="*/ 202373 h 477328"/>
                  <a:gd name="connsiteX24" fmla="*/ 786612 w 799690"/>
                  <a:gd name="connsiteY24" fmla="*/ 43374 h 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328">
                    <a:moveTo>
                      <a:pt x="786717" y="43338"/>
                    </a:moveTo>
                    <a:cubicBezTo>
                      <a:pt x="740297" y="-33097"/>
                      <a:pt x="666912" y="5896"/>
                      <a:pt x="581931" y="51017"/>
                    </a:cubicBezTo>
                    <a:cubicBezTo>
                      <a:pt x="571991" y="56301"/>
                      <a:pt x="561523" y="61866"/>
                      <a:pt x="550491" y="67572"/>
                    </a:cubicBezTo>
                    <a:lnTo>
                      <a:pt x="550773" y="68136"/>
                    </a:lnTo>
                    <a:cubicBezTo>
                      <a:pt x="537943" y="74265"/>
                      <a:pt x="510908" y="89411"/>
                      <a:pt x="444256" y="126677"/>
                    </a:cubicBezTo>
                    <a:lnTo>
                      <a:pt x="422825" y="138689"/>
                    </a:lnTo>
                    <a:lnTo>
                      <a:pt x="446370" y="199062"/>
                    </a:lnTo>
                    <a:lnTo>
                      <a:pt x="475590" y="182577"/>
                    </a:lnTo>
                    <a:cubicBezTo>
                      <a:pt x="511472" y="162500"/>
                      <a:pt x="569172" y="130270"/>
                      <a:pt x="578688" y="125128"/>
                    </a:cubicBezTo>
                    <a:lnTo>
                      <a:pt x="580098" y="124388"/>
                    </a:lnTo>
                    <a:cubicBezTo>
                      <a:pt x="591272" y="118576"/>
                      <a:pt x="601881" y="112940"/>
                      <a:pt x="611962" y="107586"/>
                    </a:cubicBezTo>
                    <a:cubicBezTo>
                      <a:pt x="707200" y="57005"/>
                      <a:pt x="719748" y="56547"/>
                      <a:pt x="731908" y="76590"/>
                    </a:cubicBezTo>
                    <a:cubicBezTo>
                      <a:pt x="736878" y="84797"/>
                      <a:pt x="742447" y="123578"/>
                      <a:pt x="703358" y="148094"/>
                    </a:cubicBezTo>
                    <a:cubicBezTo>
                      <a:pt x="680341" y="162535"/>
                      <a:pt x="434457" y="332736"/>
                      <a:pt x="397412" y="359858"/>
                    </a:cubicBezTo>
                    <a:cubicBezTo>
                      <a:pt x="338197" y="403254"/>
                      <a:pt x="309329" y="416075"/>
                      <a:pt x="278770" y="412729"/>
                    </a:cubicBezTo>
                    <a:cubicBezTo>
                      <a:pt x="244827" y="408995"/>
                      <a:pt x="145923" y="384303"/>
                      <a:pt x="110711" y="375110"/>
                    </a:cubicBezTo>
                    <a:lnTo>
                      <a:pt x="99750" y="372257"/>
                    </a:lnTo>
                    <a:lnTo>
                      <a:pt x="0" y="416639"/>
                    </a:lnTo>
                    <a:lnTo>
                      <a:pt x="36869" y="470813"/>
                    </a:lnTo>
                    <a:lnTo>
                      <a:pt x="105495" y="439921"/>
                    </a:lnTo>
                    <a:cubicBezTo>
                      <a:pt x="138134" y="448269"/>
                      <a:pt x="233477" y="472186"/>
                      <a:pt x="271756" y="476413"/>
                    </a:cubicBezTo>
                    <a:cubicBezTo>
                      <a:pt x="277290" y="477012"/>
                      <a:pt x="282718" y="477329"/>
                      <a:pt x="288111" y="477329"/>
                    </a:cubicBezTo>
                    <a:cubicBezTo>
                      <a:pt x="335835" y="477329"/>
                      <a:pt x="377956" y="453553"/>
                      <a:pt x="435268" y="411531"/>
                    </a:cubicBezTo>
                    <a:cubicBezTo>
                      <a:pt x="474780" y="382577"/>
                      <a:pt x="718796" y="213997"/>
                      <a:pt x="737336" y="202373"/>
                    </a:cubicBezTo>
                    <a:cubicBezTo>
                      <a:pt x="806280" y="159189"/>
                      <a:pt x="810263" y="82261"/>
                      <a:pt x="786612" y="43374"/>
                    </a:cubicBezTo>
                  </a:path>
                </a:pathLst>
              </a:custGeom>
              <a:solidFill>
                <a:srgbClr val="FFFFFF"/>
              </a:solidFill>
              <a:ln w="3521"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205486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B071E5A6-90EC-9D1C-94E7-D3BA8727F737}"/>
              </a:ext>
            </a:extLst>
          </p:cNvPr>
          <p:cNvSpPr>
            <a:spLocks noGrp="1"/>
          </p:cNvSpPr>
          <p:nvPr>
            <p:ph type="title"/>
          </p:nvPr>
        </p:nvSpPr>
        <p:spPr/>
        <p:txBody>
          <a:bodyPr/>
          <a:lstStyle/>
          <a:p>
            <a:r>
              <a:rPr lang="de-DE" dirty="0"/>
              <a:t>Hier steht der Kapitelname.</a:t>
            </a:r>
          </a:p>
        </p:txBody>
      </p:sp>
      <p:pic>
        <p:nvPicPr>
          <p:cNvPr id="24" name="Inhaltsplatzhalter 83">
            <a:extLst>
              <a:ext uri="{FF2B5EF4-FFF2-40B4-BE49-F238E27FC236}">
                <a16:creationId xmlns:a16="http://schemas.microsoft.com/office/drawing/2014/main" id="{0415387A-FB79-6977-4FD5-00533490826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a:ext>
            </a:extLst>
          </a:blip>
          <a:srcRect t="12509" b="12509"/>
          <a:stretch/>
        </p:blipFill>
        <p:spPr/>
      </p:pic>
      <p:sp>
        <p:nvSpPr>
          <p:cNvPr id="22" name="Textplatzhalter 21">
            <a:extLst>
              <a:ext uri="{FF2B5EF4-FFF2-40B4-BE49-F238E27FC236}">
                <a16:creationId xmlns:a16="http://schemas.microsoft.com/office/drawing/2014/main" id="{CD8CAAA1-9612-36EB-F13E-B5C33C388B7D}"/>
              </a:ext>
            </a:extLst>
          </p:cNvPr>
          <p:cNvSpPr>
            <a:spLocks noGrp="1"/>
          </p:cNvSpPr>
          <p:nvPr>
            <p:ph type="body" sz="quarter" idx="11"/>
          </p:nvPr>
        </p:nvSpPr>
        <p:spPr/>
        <p:txBody>
          <a:bodyPr/>
          <a:lstStyle/>
          <a:p>
            <a:r>
              <a:rPr lang="de-DE" dirty="0"/>
              <a:t>1</a:t>
            </a:r>
          </a:p>
        </p:txBody>
      </p:sp>
      <p:sp>
        <p:nvSpPr>
          <p:cNvPr id="2" name="Textplatzhalter 1">
            <a:extLst>
              <a:ext uri="{FF2B5EF4-FFF2-40B4-BE49-F238E27FC236}">
                <a16:creationId xmlns:a16="http://schemas.microsoft.com/office/drawing/2014/main" id="{D0C2AC84-4AAC-B00D-1434-A947E5645140}"/>
              </a:ext>
            </a:extLst>
          </p:cNvPr>
          <p:cNvSpPr>
            <a:spLocks noGrp="1"/>
          </p:cNvSpPr>
          <p:nvPr>
            <p:ph type="body" sz="quarter" idx="14"/>
          </p:nvPr>
        </p:nvSpPr>
        <p:spPr/>
        <p:txBody>
          <a:bodyPr/>
          <a:lstStyle/>
          <a:p>
            <a:endParaRPr lang="de-DE"/>
          </a:p>
        </p:txBody>
      </p:sp>
      <p:sp>
        <p:nvSpPr>
          <p:cNvPr id="17" name="Datumsplatzhalter 16">
            <a:extLst>
              <a:ext uri="{FF2B5EF4-FFF2-40B4-BE49-F238E27FC236}">
                <a16:creationId xmlns:a16="http://schemas.microsoft.com/office/drawing/2014/main" id="{5ADB983C-A65B-E96A-212A-2FF0BA826087}"/>
              </a:ext>
            </a:extLst>
          </p:cNvPr>
          <p:cNvSpPr>
            <a:spLocks noGrp="1"/>
          </p:cNvSpPr>
          <p:nvPr>
            <p:ph type="dt" sz="half" idx="2"/>
          </p:nvPr>
        </p:nvSpPr>
        <p:spPr/>
        <p:txBody>
          <a:bodyPr/>
          <a:lstStyle/>
          <a:p>
            <a:r>
              <a:rPr lang="de-DE"/>
              <a:t>02.08.2024</a:t>
            </a:r>
            <a:endParaRPr lang="de-DE" dirty="0"/>
          </a:p>
        </p:txBody>
      </p:sp>
      <p:sp>
        <p:nvSpPr>
          <p:cNvPr id="18" name="Fußzeilenplatzhalter 17">
            <a:extLst>
              <a:ext uri="{FF2B5EF4-FFF2-40B4-BE49-F238E27FC236}">
                <a16:creationId xmlns:a16="http://schemas.microsoft.com/office/drawing/2014/main" id="{84EC6AD6-304F-3E59-1B20-79651653292D}"/>
              </a:ext>
            </a:extLst>
          </p:cNvPr>
          <p:cNvSpPr>
            <a:spLocks noGrp="1"/>
          </p:cNvSpPr>
          <p:nvPr>
            <p:ph type="ftr" sz="quarter" idx="3"/>
          </p:nvPr>
        </p:nvSpPr>
        <p:spPr/>
        <p:txBody>
          <a:bodyPr/>
          <a:lstStyle/>
          <a:p>
            <a:r>
              <a:rPr lang="de-DE"/>
              <a:t>PowerPoint Folienmaster</a:t>
            </a:r>
            <a:endParaRPr lang="de-DE" dirty="0"/>
          </a:p>
        </p:txBody>
      </p:sp>
      <p:sp>
        <p:nvSpPr>
          <p:cNvPr id="19" name="Foliennummernplatzhalter 18">
            <a:extLst>
              <a:ext uri="{FF2B5EF4-FFF2-40B4-BE49-F238E27FC236}">
                <a16:creationId xmlns:a16="http://schemas.microsoft.com/office/drawing/2014/main" id="{9FB7B4FE-A7D5-7C11-5696-E47DA370B15A}"/>
              </a:ext>
            </a:extLst>
          </p:cNvPr>
          <p:cNvSpPr>
            <a:spLocks noGrp="1"/>
          </p:cNvSpPr>
          <p:nvPr>
            <p:ph type="sldNum" sz="quarter" idx="4"/>
          </p:nvPr>
        </p:nvSpPr>
        <p:spPr/>
        <p:txBody>
          <a:bodyPr/>
          <a:lstStyle/>
          <a:p>
            <a:fld id="{E84006A6-0E15-460A-BCD4-002C20F8AC9F}" type="slidenum">
              <a:rPr lang="de-DE" smtClean="0"/>
              <a:pPr/>
              <a:t>11</a:t>
            </a:fld>
            <a:endParaRPr lang="de-DE"/>
          </a:p>
        </p:txBody>
      </p:sp>
    </p:spTree>
    <p:extLst>
      <p:ext uri="{BB962C8B-B14F-4D97-AF65-F5344CB8AC3E}">
        <p14:creationId xmlns:p14="http://schemas.microsoft.com/office/powerpoint/2010/main" val="132018311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ADA91D-A6D6-1246-A084-1F050E6AD43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005EFF75-BBF9-D650-B0EA-D018EC84BD7B}"/>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8D4DB6EE-B970-5C47-6F43-E22BFD8B637F}"/>
              </a:ext>
            </a:extLst>
          </p:cNvPr>
          <p:cNvSpPr>
            <a:spLocks noGrp="1"/>
          </p:cNvSpPr>
          <p:nvPr>
            <p:ph type="sldNum" sz="quarter" idx="12"/>
          </p:nvPr>
        </p:nvSpPr>
        <p:spPr/>
        <p:txBody>
          <a:bodyPr/>
          <a:lstStyle/>
          <a:p>
            <a:fld id="{E84006A6-0E15-460A-BCD4-002C20F8AC9F}" type="slidenum">
              <a:rPr lang="de-DE" smtClean="0"/>
              <a:pPr/>
              <a:t>110</a:t>
            </a:fld>
            <a:endParaRPr lang="de-DE"/>
          </a:p>
        </p:txBody>
      </p:sp>
      <p:sp>
        <p:nvSpPr>
          <p:cNvPr id="5" name="Titel 4">
            <a:extLst>
              <a:ext uri="{FF2B5EF4-FFF2-40B4-BE49-F238E27FC236}">
                <a16:creationId xmlns:a16="http://schemas.microsoft.com/office/drawing/2014/main" id="{F444A88A-DF83-2CAC-2415-97F1706E5329}"/>
              </a:ext>
            </a:extLst>
          </p:cNvPr>
          <p:cNvSpPr>
            <a:spLocks noGrp="1"/>
          </p:cNvSpPr>
          <p:nvPr>
            <p:ph type="title"/>
          </p:nvPr>
        </p:nvSpPr>
        <p:spPr/>
        <p:txBody>
          <a:bodyPr/>
          <a:lstStyle/>
          <a:p>
            <a:r>
              <a:rPr lang="de-DE" dirty="0"/>
              <a:t>Layoutvorlage </a:t>
            </a:r>
            <a:r>
              <a:rPr lang="de-DE" dirty="0" err="1"/>
              <a:t>protecting</a:t>
            </a:r>
            <a:r>
              <a:rPr lang="de-DE" dirty="0"/>
              <a:t> planet</a:t>
            </a:r>
          </a:p>
        </p:txBody>
      </p:sp>
      <p:grpSp>
        <p:nvGrpSpPr>
          <p:cNvPr id="8" name="Gruppieren 7">
            <a:extLst>
              <a:ext uri="{FF2B5EF4-FFF2-40B4-BE49-F238E27FC236}">
                <a16:creationId xmlns:a16="http://schemas.microsoft.com/office/drawing/2014/main" id="{4B5E7FFA-EB4B-DE05-EDE2-B806BD78223B}"/>
              </a:ext>
            </a:extLst>
          </p:cNvPr>
          <p:cNvGrpSpPr/>
          <p:nvPr/>
        </p:nvGrpSpPr>
        <p:grpSpPr>
          <a:xfrm>
            <a:off x="6096000" y="1773238"/>
            <a:ext cx="5234367" cy="3510694"/>
            <a:chOff x="6096000" y="2104567"/>
            <a:chExt cx="5243653" cy="3516922"/>
          </a:xfrm>
        </p:grpSpPr>
        <p:sp>
          <p:nvSpPr>
            <p:cNvPr id="9" name="Freihandform 8">
              <a:extLst>
                <a:ext uri="{FF2B5EF4-FFF2-40B4-BE49-F238E27FC236}">
                  <a16:creationId xmlns:a16="http://schemas.microsoft.com/office/drawing/2014/main" id="{F637F01A-1724-A920-A0CA-F07C18F398F0}"/>
                </a:ext>
              </a:extLst>
            </p:cNvPr>
            <p:cNvSpPr/>
            <p:nvPr/>
          </p:nvSpPr>
          <p:spPr>
            <a:xfrm>
              <a:off x="9341420" y="2104602"/>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5"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5"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10" name="Freihandform 9">
              <a:extLst>
                <a:ext uri="{FF2B5EF4-FFF2-40B4-BE49-F238E27FC236}">
                  <a16:creationId xmlns:a16="http://schemas.microsoft.com/office/drawing/2014/main" id="{840389D6-45FA-36D0-9214-BE977755FDD4}"/>
                </a:ext>
              </a:extLst>
            </p:cNvPr>
            <p:cNvSpPr/>
            <p:nvPr/>
          </p:nvSpPr>
          <p:spPr>
            <a:xfrm>
              <a:off x="7177806" y="2104567"/>
              <a:ext cx="1998233" cy="1891844"/>
            </a:xfrm>
            <a:custGeom>
              <a:avLst/>
              <a:gdLst>
                <a:gd name="connsiteX0" fmla="*/ 159670 w 1998233"/>
                <a:gd name="connsiteY0" fmla="*/ 370456 h 1891844"/>
                <a:gd name="connsiteX1" fmla="*/ 0 w 1998233"/>
                <a:gd name="connsiteY1" fmla="*/ 627941 h 1891844"/>
                <a:gd name="connsiteX2" fmla="*/ 0 w 1998233"/>
                <a:gd name="connsiteY2" fmla="*/ 1263939 h 1891844"/>
                <a:gd name="connsiteX3" fmla="*/ 159670 w 1998233"/>
                <a:gd name="connsiteY3" fmla="*/ 1521424 h 1891844"/>
                <a:gd name="connsiteX4" fmla="*/ 839447 w 1998233"/>
                <a:gd name="connsiteY4" fmla="*/ 1859007 h 1891844"/>
                <a:gd name="connsiteX5" fmla="*/ 1158787 w 1998233"/>
                <a:gd name="connsiteY5" fmla="*/ 1859007 h 1891844"/>
                <a:gd name="connsiteX6" fmla="*/ 1838564 w 1998233"/>
                <a:gd name="connsiteY6" fmla="*/ 1521424 h 1891844"/>
                <a:gd name="connsiteX7" fmla="*/ 1998234 w 1998233"/>
                <a:gd name="connsiteY7" fmla="*/ 1263939 h 1891844"/>
                <a:gd name="connsiteX8" fmla="*/ 1998234 w 1998233"/>
                <a:gd name="connsiteY8" fmla="*/ 627941 h 1891844"/>
                <a:gd name="connsiteX9" fmla="*/ 1838564 w 1998233"/>
                <a:gd name="connsiteY9" fmla="*/ 370456 h 1891844"/>
                <a:gd name="connsiteX10" fmla="*/ 1158822 w 1998233"/>
                <a:gd name="connsiteY10" fmla="*/ 32837 h 1891844"/>
                <a:gd name="connsiteX11" fmla="*/ 839482 w 1998233"/>
                <a:gd name="connsiteY11" fmla="*/ 32837 h 1891844"/>
                <a:gd name="connsiteX12" fmla="*/ 159705 w 1998233"/>
                <a:gd name="connsiteY12" fmla="*/ 370421 h 1891844"/>
                <a:gd name="connsiteX13" fmla="*/ 159670 w 1998233"/>
                <a:gd name="connsiteY13" fmla="*/ 370456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44">
                  <a:moveTo>
                    <a:pt x="159670" y="370456"/>
                  </a:moveTo>
                  <a:cubicBezTo>
                    <a:pt x="71481" y="414239"/>
                    <a:pt x="0" y="529526"/>
                    <a:pt x="0" y="627941"/>
                  </a:cubicBezTo>
                  <a:lnTo>
                    <a:pt x="0" y="1263939"/>
                  </a:lnTo>
                  <a:cubicBezTo>
                    <a:pt x="0" y="1362354"/>
                    <a:pt x="71481" y="1477641"/>
                    <a:pt x="159670" y="1521424"/>
                  </a:cubicBezTo>
                  <a:lnTo>
                    <a:pt x="839447" y="1859007"/>
                  </a:lnTo>
                  <a:cubicBezTo>
                    <a:pt x="927635" y="1902790"/>
                    <a:pt x="1070598" y="1902790"/>
                    <a:pt x="1158787" y="1859007"/>
                  </a:cubicBezTo>
                  <a:lnTo>
                    <a:pt x="1838564" y="1521424"/>
                  </a:lnTo>
                  <a:cubicBezTo>
                    <a:pt x="1926752" y="1477641"/>
                    <a:pt x="1998234" y="1362354"/>
                    <a:pt x="1998234" y="1263939"/>
                  </a:cubicBezTo>
                  <a:lnTo>
                    <a:pt x="1998234" y="627941"/>
                  </a:lnTo>
                  <a:cubicBezTo>
                    <a:pt x="1998234" y="529526"/>
                    <a:pt x="1926752" y="414239"/>
                    <a:pt x="1838564" y="370456"/>
                  </a:cubicBezTo>
                  <a:lnTo>
                    <a:pt x="1158822" y="32837"/>
                  </a:lnTo>
                  <a:cubicBezTo>
                    <a:pt x="1070633" y="-10946"/>
                    <a:pt x="927671" y="-10946"/>
                    <a:pt x="839482" y="32837"/>
                  </a:cubicBezTo>
                  <a:lnTo>
                    <a:pt x="159705" y="370421"/>
                  </a:lnTo>
                  <a:lnTo>
                    <a:pt x="159670" y="370456"/>
                  </a:lnTo>
                  <a:close/>
                </a:path>
              </a:pathLst>
            </a:custGeom>
            <a:solidFill>
              <a:srgbClr val="50936E"/>
            </a:solidFill>
            <a:ln w="3521" cap="flat">
              <a:noFill/>
              <a:prstDash val="solid"/>
              <a:miter/>
            </a:ln>
          </p:spPr>
          <p:txBody>
            <a:bodyPr rtlCol="0" anchor="ctr"/>
            <a:lstStyle/>
            <a:p>
              <a:endParaRPr lang="de-DE"/>
            </a:p>
          </p:txBody>
        </p:sp>
        <p:sp>
          <p:nvSpPr>
            <p:cNvPr id="11" name="Freihandform 10">
              <a:extLst>
                <a:ext uri="{FF2B5EF4-FFF2-40B4-BE49-F238E27FC236}">
                  <a16:creationId xmlns:a16="http://schemas.microsoft.com/office/drawing/2014/main" id="{3F9950AC-A58C-08DE-6D5B-4722965446D3}"/>
                </a:ext>
              </a:extLst>
            </p:cNvPr>
            <p:cNvSpPr/>
            <p:nvPr/>
          </p:nvSpPr>
          <p:spPr>
            <a:xfrm>
              <a:off x="8259613" y="3729645"/>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2"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sp>
          <p:nvSpPr>
            <p:cNvPr id="12" name="Freihandform 11">
              <a:extLst>
                <a:ext uri="{FF2B5EF4-FFF2-40B4-BE49-F238E27FC236}">
                  <a16:creationId xmlns:a16="http://schemas.microsoft.com/office/drawing/2014/main" id="{008F56FA-EEE9-FBE0-D78B-E269ECAFE675}"/>
                </a:ext>
              </a:extLst>
            </p:cNvPr>
            <p:cNvSpPr/>
            <p:nvPr/>
          </p:nvSpPr>
          <p:spPr>
            <a:xfrm>
              <a:off x="6096000" y="3729680"/>
              <a:ext cx="1998233" cy="1891809"/>
            </a:xfrm>
            <a:custGeom>
              <a:avLst/>
              <a:gdLst>
                <a:gd name="connsiteX0" fmla="*/ 159670 w 1998233"/>
                <a:gd name="connsiteY0" fmla="*/ 370421 h 1891809"/>
                <a:gd name="connsiteX1" fmla="*/ 0 w 1998233"/>
                <a:gd name="connsiteY1" fmla="*/ 627906 h 1891809"/>
                <a:gd name="connsiteX2" fmla="*/ 0 w 1998233"/>
                <a:gd name="connsiteY2" fmla="*/ 1263904 h 1891809"/>
                <a:gd name="connsiteX3" fmla="*/ 159670 w 1998233"/>
                <a:gd name="connsiteY3" fmla="*/ 1521389 h 1891809"/>
                <a:gd name="connsiteX4" fmla="*/ 839447 w 1998233"/>
                <a:gd name="connsiteY4" fmla="*/ 1858972 h 1891809"/>
                <a:gd name="connsiteX5" fmla="*/ 1158787 w 1998233"/>
                <a:gd name="connsiteY5" fmla="*/ 1858972 h 1891809"/>
                <a:gd name="connsiteX6" fmla="*/ 1838564 w 1998233"/>
                <a:gd name="connsiteY6" fmla="*/ 1521389 h 1891809"/>
                <a:gd name="connsiteX7" fmla="*/ 1998234 w 1998233"/>
                <a:gd name="connsiteY7" fmla="*/ 1263904 h 1891809"/>
                <a:gd name="connsiteX8" fmla="*/ 1998234 w 1998233"/>
                <a:gd name="connsiteY8" fmla="*/ 627906 h 1891809"/>
                <a:gd name="connsiteX9" fmla="*/ 1838564 w 1998233"/>
                <a:gd name="connsiteY9" fmla="*/ 370421 h 1891809"/>
                <a:gd name="connsiteX10" fmla="*/ 1158787 w 1998233"/>
                <a:gd name="connsiteY10" fmla="*/ 32837 h 1891809"/>
                <a:gd name="connsiteX11" fmla="*/ 839447 w 1998233"/>
                <a:gd name="connsiteY11" fmla="*/ 32837 h 1891809"/>
                <a:gd name="connsiteX12" fmla="*/ 159670 w 1998233"/>
                <a:gd name="connsiteY12" fmla="*/ 370421 h 1891809"/>
                <a:gd name="connsiteX13" fmla="*/ 159670 w 1998233"/>
                <a:gd name="connsiteY13" fmla="*/ 370421 h 189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8233" h="1891809">
                  <a:moveTo>
                    <a:pt x="159670" y="370421"/>
                  </a:moveTo>
                  <a:cubicBezTo>
                    <a:pt x="71481" y="414204"/>
                    <a:pt x="0" y="529491"/>
                    <a:pt x="0" y="627906"/>
                  </a:cubicBezTo>
                  <a:lnTo>
                    <a:pt x="0" y="1263904"/>
                  </a:lnTo>
                  <a:cubicBezTo>
                    <a:pt x="0" y="1362319"/>
                    <a:pt x="71481" y="1477606"/>
                    <a:pt x="159670" y="1521389"/>
                  </a:cubicBezTo>
                  <a:lnTo>
                    <a:pt x="839447" y="1858972"/>
                  </a:lnTo>
                  <a:cubicBezTo>
                    <a:pt x="927636" y="1902755"/>
                    <a:pt x="1070598" y="1902755"/>
                    <a:pt x="1158787" y="1858972"/>
                  </a:cubicBezTo>
                  <a:lnTo>
                    <a:pt x="1838564" y="1521389"/>
                  </a:lnTo>
                  <a:cubicBezTo>
                    <a:pt x="1926753" y="1477606"/>
                    <a:pt x="1998234" y="1362319"/>
                    <a:pt x="1998234" y="1263904"/>
                  </a:cubicBezTo>
                  <a:lnTo>
                    <a:pt x="1998234" y="627906"/>
                  </a:lnTo>
                  <a:cubicBezTo>
                    <a:pt x="1998234" y="529491"/>
                    <a:pt x="1926717" y="414204"/>
                    <a:pt x="1838564" y="370421"/>
                  </a:cubicBezTo>
                  <a:lnTo>
                    <a:pt x="1158787" y="32837"/>
                  </a:lnTo>
                  <a:cubicBezTo>
                    <a:pt x="1070598" y="-10946"/>
                    <a:pt x="927636" y="-10946"/>
                    <a:pt x="839447" y="32837"/>
                  </a:cubicBezTo>
                  <a:lnTo>
                    <a:pt x="159670" y="370421"/>
                  </a:lnTo>
                  <a:lnTo>
                    <a:pt x="159670" y="370421"/>
                  </a:lnTo>
                  <a:close/>
                </a:path>
              </a:pathLst>
            </a:custGeom>
            <a:solidFill>
              <a:srgbClr val="50936E"/>
            </a:solidFill>
            <a:ln w="3521" cap="flat">
              <a:noFill/>
              <a:prstDash val="solid"/>
              <a:miter/>
            </a:ln>
          </p:spPr>
          <p:txBody>
            <a:bodyPr rtlCol="0" anchor="ctr"/>
            <a:lstStyle/>
            <a:p>
              <a:endParaRPr lang="de-DE"/>
            </a:p>
          </p:txBody>
        </p:sp>
        <p:grpSp>
          <p:nvGrpSpPr>
            <p:cNvPr id="13" name="Gruppieren 12">
              <a:extLst>
                <a:ext uri="{FF2B5EF4-FFF2-40B4-BE49-F238E27FC236}">
                  <a16:creationId xmlns:a16="http://schemas.microsoft.com/office/drawing/2014/main" id="{955FE184-D845-814E-BDC3-6CB5F35EAF3E}"/>
                </a:ext>
              </a:extLst>
            </p:cNvPr>
            <p:cNvGrpSpPr/>
            <p:nvPr/>
          </p:nvGrpSpPr>
          <p:grpSpPr>
            <a:xfrm>
              <a:off x="9680110" y="2394677"/>
              <a:ext cx="1210954" cy="1210144"/>
              <a:chOff x="9680110" y="2394677"/>
              <a:chExt cx="1210954" cy="1210144"/>
            </a:xfrm>
          </p:grpSpPr>
          <p:sp>
            <p:nvSpPr>
              <p:cNvPr id="29" name="Freihandform 28">
                <a:extLst>
                  <a:ext uri="{FF2B5EF4-FFF2-40B4-BE49-F238E27FC236}">
                    <a16:creationId xmlns:a16="http://schemas.microsoft.com/office/drawing/2014/main" id="{2E268365-5BC0-5609-3B24-2539840E7CE5}"/>
                  </a:ext>
                </a:extLst>
              </p:cNvPr>
              <p:cNvSpPr/>
              <p:nvPr/>
            </p:nvSpPr>
            <p:spPr>
              <a:xfrm>
                <a:off x="9680110" y="2961604"/>
                <a:ext cx="1210954" cy="643217"/>
              </a:xfrm>
              <a:custGeom>
                <a:avLst/>
                <a:gdLst>
                  <a:gd name="connsiteX0" fmla="*/ 180431 w 1210954"/>
                  <a:gd name="connsiteY0" fmla="*/ 150791 h 643217"/>
                  <a:gd name="connsiteX1" fmla="*/ 438652 w 1210954"/>
                  <a:gd name="connsiteY1" fmla="*/ 525289 h 643217"/>
                  <a:gd name="connsiteX2" fmla="*/ 291353 w 1210954"/>
                  <a:gd name="connsiteY2" fmla="*/ 643217 h 643217"/>
                  <a:gd name="connsiteX3" fmla="*/ 251277 w 1210954"/>
                  <a:gd name="connsiteY3" fmla="*/ 593235 h 643217"/>
                  <a:gd name="connsiteX4" fmla="*/ 352049 w 1210954"/>
                  <a:gd name="connsiteY4" fmla="*/ 512538 h 643217"/>
                  <a:gd name="connsiteX5" fmla="*/ 162912 w 1210954"/>
                  <a:gd name="connsiteY5" fmla="*/ 238251 h 643217"/>
                  <a:gd name="connsiteX6" fmla="*/ 34754 w 1210954"/>
                  <a:gd name="connsiteY6" fmla="*/ 320921 h 643217"/>
                  <a:gd name="connsiteX7" fmla="*/ 0 w 1210954"/>
                  <a:gd name="connsiteY7" fmla="*/ 267099 h 643217"/>
                  <a:gd name="connsiteX8" fmla="*/ 180430 w 1210954"/>
                  <a:gd name="connsiteY8" fmla="*/ 150755 h 643217"/>
                  <a:gd name="connsiteX9" fmla="*/ 180430 w 1210954"/>
                  <a:gd name="connsiteY9" fmla="*/ 150791 h 643217"/>
                  <a:gd name="connsiteX10" fmla="*/ 672340 w 1210954"/>
                  <a:gd name="connsiteY10" fmla="*/ 90593 h 643217"/>
                  <a:gd name="connsiteX11" fmla="*/ 593069 w 1210954"/>
                  <a:gd name="connsiteY11" fmla="*/ 65902 h 643217"/>
                  <a:gd name="connsiteX12" fmla="*/ 388671 w 1210954"/>
                  <a:gd name="connsiteY12" fmla="*/ 71643 h 643217"/>
                  <a:gd name="connsiteX13" fmla="*/ 268196 w 1210954"/>
                  <a:gd name="connsiteY13" fmla="*/ 162344 h 643217"/>
                  <a:gd name="connsiteX14" fmla="*/ 247329 w 1210954"/>
                  <a:gd name="connsiteY14" fmla="*/ 179216 h 643217"/>
                  <a:gd name="connsiteX15" fmla="*/ 283634 w 1210954"/>
                  <a:gd name="connsiteY15" fmla="*/ 232263 h 643217"/>
                  <a:gd name="connsiteX16" fmla="*/ 308519 w 1210954"/>
                  <a:gd name="connsiteY16" fmla="*/ 212115 h 643217"/>
                  <a:gd name="connsiteX17" fmla="*/ 423883 w 1210954"/>
                  <a:gd name="connsiteY17" fmla="*/ 125113 h 643217"/>
                  <a:gd name="connsiteX18" fmla="*/ 571110 w 1210954"/>
                  <a:gd name="connsiteY18" fmla="*/ 126064 h 643217"/>
                  <a:gd name="connsiteX19" fmla="*/ 654893 w 1210954"/>
                  <a:gd name="connsiteY19" fmla="*/ 152200 h 643217"/>
                  <a:gd name="connsiteX20" fmla="*/ 745619 w 1210954"/>
                  <a:gd name="connsiteY20" fmla="*/ 197814 h 643217"/>
                  <a:gd name="connsiteX21" fmla="*/ 740262 w 1210954"/>
                  <a:gd name="connsiteY21" fmla="*/ 228036 h 643217"/>
                  <a:gd name="connsiteX22" fmla="*/ 676711 w 1210954"/>
                  <a:gd name="connsiteY22" fmla="*/ 244133 h 643217"/>
                  <a:gd name="connsiteX23" fmla="*/ 517041 w 1210954"/>
                  <a:gd name="connsiteY23" fmla="*/ 209051 h 643217"/>
                  <a:gd name="connsiteX24" fmla="*/ 485988 w 1210954"/>
                  <a:gd name="connsiteY24" fmla="*/ 201125 h 643217"/>
                  <a:gd name="connsiteX25" fmla="*/ 470091 w 1210954"/>
                  <a:gd name="connsiteY25" fmla="*/ 263154 h 643217"/>
                  <a:gd name="connsiteX26" fmla="*/ 501145 w 1210954"/>
                  <a:gd name="connsiteY26" fmla="*/ 271079 h 643217"/>
                  <a:gd name="connsiteX27" fmla="*/ 672200 w 1210954"/>
                  <a:gd name="connsiteY27" fmla="*/ 307994 h 643217"/>
                  <a:gd name="connsiteX28" fmla="*/ 688942 w 1210954"/>
                  <a:gd name="connsiteY28" fmla="*/ 308593 h 643217"/>
                  <a:gd name="connsiteX29" fmla="*/ 789608 w 1210954"/>
                  <a:gd name="connsiteY29" fmla="*/ 268860 h 643217"/>
                  <a:gd name="connsiteX30" fmla="*/ 807584 w 1210954"/>
                  <a:gd name="connsiteY30" fmla="*/ 181470 h 643217"/>
                  <a:gd name="connsiteX31" fmla="*/ 672270 w 1210954"/>
                  <a:gd name="connsiteY31" fmla="*/ 90593 h 643217"/>
                  <a:gd name="connsiteX32" fmla="*/ 1197946 w 1210954"/>
                  <a:gd name="connsiteY32" fmla="*/ 43323 h 643217"/>
                  <a:gd name="connsiteX33" fmla="*/ 993160 w 1210954"/>
                  <a:gd name="connsiteY33" fmla="*/ 51002 h 643217"/>
                  <a:gd name="connsiteX34" fmla="*/ 961720 w 1210954"/>
                  <a:gd name="connsiteY34" fmla="*/ 67557 h 643217"/>
                  <a:gd name="connsiteX35" fmla="*/ 962002 w 1210954"/>
                  <a:gd name="connsiteY35" fmla="*/ 68121 h 643217"/>
                  <a:gd name="connsiteX36" fmla="*/ 855485 w 1210954"/>
                  <a:gd name="connsiteY36" fmla="*/ 126662 h 643217"/>
                  <a:gd name="connsiteX37" fmla="*/ 834054 w 1210954"/>
                  <a:gd name="connsiteY37" fmla="*/ 138674 h 643217"/>
                  <a:gd name="connsiteX38" fmla="*/ 857600 w 1210954"/>
                  <a:gd name="connsiteY38" fmla="*/ 199012 h 643217"/>
                  <a:gd name="connsiteX39" fmla="*/ 886820 w 1210954"/>
                  <a:gd name="connsiteY39" fmla="*/ 182527 h 643217"/>
                  <a:gd name="connsiteX40" fmla="*/ 989918 w 1210954"/>
                  <a:gd name="connsiteY40" fmla="*/ 125077 h 643217"/>
                  <a:gd name="connsiteX41" fmla="*/ 991363 w 1210954"/>
                  <a:gd name="connsiteY41" fmla="*/ 124338 h 643217"/>
                  <a:gd name="connsiteX42" fmla="*/ 1023227 w 1210954"/>
                  <a:gd name="connsiteY42" fmla="*/ 107536 h 643217"/>
                  <a:gd name="connsiteX43" fmla="*/ 1143172 w 1210954"/>
                  <a:gd name="connsiteY43" fmla="*/ 76539 h 643217"/>
                  <a:gd name="connsiteX44" fmla="*/ 1114622 w 1210954"/>
                  <a:gd name="connsiteY44" fmla="*/ 148043 h 643217"/>
                  <a:gd name="connsiteX45" fmla="*/ 808677 w 1210954"/>
                  <a:gd name="connsiteY45" fmla="*/ 359773 h 643217"/>
                  <a:gd name="connsiteX46" fmla="*/ 690035 w 1210954"/>
                  <a:gd name="connsiteY46" fmla="*/ 412643 h 643217"/>
                  <a:gd name="connsiteX47" fmla="*/ 521976 w 1210954"/>
                  <a:gd name="connsiteY47" fmla="*/ 375024 h 643217"/>
                  <a:gd name="connsiteX48" fmla="*/ 511014 w 1210954"/>
                  <a:gd name="connsiteY48" fmla="*/ 372171 h 643217"/>
                  <a:gd name="connsiteX49" fmla="*/ 411264 w 1210954"/>
                  <a:gd name="connsiteY49" fmla="*/ 416518 h 643217"/>
                  <a:gd name="connsiteX50" fmla="*/ 448133 w 1210954"/>
                  <a:gd name="connsiteY50" fmla="*/ 470692 h 643217"/>
                  <a:gd name="connsiteX51" fmla="*/ 516759 w 1210954"/>
                  <a:gd name="connsiteY51" fmla="*/ 439836 h 643217"/>
                  <a:gd name="connsiteX52" fmla="*/ 683020 w 1210954"/>
                  <a:gd name="connsiteY52" fmla="*/ 476328 h 643217"/>
                  <a:gd name="connsiteX53" fmla="*/ 699375 w 1210954"/>
                  <a:gd name="connsiteY53" fmla="*/ 477243 h 643217"/>
                  <a:gd name="connsiteX54" fmla="*/ 846532 w 1210954"/>
                  <a:gd name="connsiteY54" fmla="*/ 411446 h 643217"/>
                  <a:gd name="connsiteX55" fmla="*/ 1148600 w 1210954"/>
                  <a:gd name="connsiteY55" fmla="*/ 202323 h 643217"/>
                  <a:gd name="connsiteX56" fmla="*/ 1197876 w 1210954"/>
                  <a:gd name="connsiteY56" fmla="*/ 43323 h 64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210954" h="643217">
                    <a:moveTo>
                      <a:pt x="180431" y="150791"/>
                    </a:moveTo>
                    <a:lnTo>
                      <a:pt x="438652" y="525289"/>
                    </a:lnTo>
                    <a:lnTo>
                      <a:pt x="291353" y="643217"/>
                    </a:lnTo>
                    <a:lnTo>
                      <a:pt x="251277" y="593235"/>
                    </a:lnTo>
                    <a:lnTo>
                      <a:pt x="352049" y="512538"/>
                    </a:lnTo>
                    <a:lnTo>
                      <a:pt x="162912" y="238251"/>
                    </a:lnTo>
                    <a:lnTo>
                      <a:pt x="34754" y="320921"/>
                    </a:lnTo>
                    <a:lnTo>
                      <a:pt x="0" y="267099"/>
                    </a:lnTo>
                    <a:lnTo>
                      <a:pt x="180430" y="150755"/>
                    </a:lnTo>
                    <a:lnTo>
                      <a:pt x="180430" y="150791"/>
                    </a:lnTo>
                    <a:close/>
                    <a:moveTo>
                      <a:pt x="672340" y="90593"/>
                    </a:moveTo>
                    <a:cubicBezTo>
                      <a:pt x="648513" y="83866"/>
                      <a:pt x="621514" y="76257"/>
                      <a:pt x="593069" y="65902"/>
                    </a:cubicBezTo>
                    <a:cubicBezTo>
                      <a:pt x="500017" y="32052"/>
                      <a:pt x="446512" y="33566"/>
                      <a:pt x="388671" y="71643"/>
                    </a:cubicBezTo>
                    <a:cubicBezTo>
                      <a:pt x="344083" y="100985"/>
                      <a:pt x="271298" y="159878"/>
                      <a:pt x="268196" y="162344"/>
                    </a:cubicBezTo>
                    <a:lnTo>
                      <a:pt x="247329" y="179216"/>
                    </a:lnTo>
                    <a:lnTo>
                      <a:pt x="283634" y="232263"/>
                    </a:lnTo>
                    <a:lnTo>
                      <a:pt x="308519" y="212115"/>
                    </a:lnTo>
                    <a:cubicBezTo>
                      <a:pt x="309259" y="211516"/>
                      <a:pt x="381903" y="152728"/>
                      <a:pt x="423883" y="125113"/>
                    </a:cubicBezTo>
                    <a:cubicBezTo>
                      <a:pt x="454971" y="104648"/>
                      <a:pt x="482005" y="93693"/>
                      <a:pt x="571110" y="126064"/>
                    </a:cubicBezTo>
                    <a:cubicBezTo>
                      <a:pt x="601775" y="137230"/>
                      <a:pt x="630008" y="145190"/>
                      <a:pt x="654893" y="152200"/>
                    </a:cubicBezTo>
                    <a:cubicBezTo>
                      <a:pt x="710760" y="167945"/>
                      <a:pt x="740191" y="177138"/>
                      <a:pt x="745619" y="197814"/>
                    </a:cubicBezTo>
                    <a:cubicBezTo>
                      <a:pt x="747064" y="203239"/>
                      <a:pt x="749391" y="217011"/>
                      <a:pt x="740262" y="228036"/>
                    </a:cubicBezTo>
                    <a:cubicBezTo>
                      <a:pt x="729864" y="240576"/>
                      <a:pt x="707341" y="246247"/>
                      <a:pt x="676711" y="244133"/>
                    </a:cubicBezTo>
                    <a:cubicBezTo>
                      <a:pt x="654012" y="242548"/>
                      <a:pt x="566740" y="221766"/>
                      <a:pt x="517041" y="209051"/>
                    </a:cubicBezTo>
                    <a:lnTo>
                      <a:pt x="485988" y="201125"/>
                    </a:lnTo>
                    <a:lnTo>
                      <a:pt x="470091" y="263154"/>
                    </a:lnTo>
                    <a:lnTo>
                      <a:pt x="501145" y="271079"/>
                    </a:lnTo>
                    <a:cubicBezTo>
                      <a:pt x="514891" y="274602"/>
                      <a:pt x="636318" y="305493"/>
                      <a:pt x="672200" y="307994"/>
                    </a:cubicBezTo>
                    <a:cubicBezTo>
                      <a:pt x="678015" y="308417"/>
                      <a:pt x="683584" y="308593"/>
                      <a:pt x="688942" y="308593"/>
                    </a:cubicBezTo>
                    <a:cubicBezTo>
                      <a:pt x="744421" y="308593"/>
                      <a:pt x="774170" y="287494"/>
                      <a:pt x="789608" y="268860"/>
                    </a:cubicBezTo>
                    <a:cubicBezTo>
                      <a:pt x="809417" y="244979"/>
                      <a:pt x="815938" y="213101"/>
                      <a:pt x="807584" y="181470"/>
                    </a:cubicBezTo>
                    <a:cubicBezTo>
                      <a:pt x="792533" y="124479"/>
                      <a:pt x="736808" y="108769"/>
                      <a:pt x="672270" y="90593"/>
                    </a:cubicBezTo>
                    <a:moveTo>
                      <a:pt x="1197946" y="43323"/>
                    </a:moveTo>
                    <a:cubicBezTo>
                      <a:pt x="1151526" y="-33077"/>
                      <a:pt x="1078141" y="5881"/>
                      <a:pt x="993160" y="51002"/>
                    </a:cubicBezTo>
                    <a:cubicBezTo>
                      <a:pt x="983221" y="56286"/>
                      <a:pt x="972752" y="61851"/>
                      <a:pt x="961720" y="67557"/>
                    </a:cubicBezTo>
                    <a:lnTo>
                      <a:pt x="962002" y="68121"/>
                    </a:lnTo>
                    <a:cubicBezTo>
                      <a:pt x="949172" y="74250"/>
                      <a:pt x="922137" y="89361"/>
                      <a:pt x="855485" y="126662"/>
                    </a:cubicBezTo>
                    <a:lnTo>
                      <a:pt x="834054" y="138674"/>
                    </a:lnTo>
                    <a:lnTo>
                      <a:pt x="857600" y="199012"/>
                    </a:lnTo>
                    <a:lnTo>
                      <a:pt x="886820" y="182527"/>
                    </a:lnTo>
                    <a:cubicBezTo>
                      <a:pt x="922702" y="162450"/>
                      <a:pt x="980401" y="130220"/>
                      <a:pt x="989918" y="125077"/>
                    </a:cubicBezTo>
                    <a:lnTo>
                      <a:pt x="991363" y="124338"/>
                    </a:lnTo>
                    <a:cubicBezTo>
                      <a:pt x="1002537" y="118526"/>
                      <a:pt x="1013146" y="112890"/>
                      <a:pt x="1023227" y="107536"/>
                    </a:cubicBezTo>
                    <a:cubicBezTo>
                      <a:pt x="1118464" y="56955"/>
                      <a:pt x="1131012" y="56497"/>
                      <a:pt x="1143172" y="76539"/>
                    </a:cubicBezTo>
                    <a:cubicBezTo>
                      <a:pt x="1148142" y="84746"/>
                      <a:pt x="1153711" y="123528"/>
                      <a:pt x="1114622" y="148043"/>
                    </a:cubicBezTo>
                    <a:cubicBezTo>
                      <a:pt x="1091606" y="162450"/>
                      <a:pt x="845721" y="332650"/>
                      <a:pt x="808677" y="359773"/>
                    </a:cubicBezTo>
                    <a:cubicBezTo>
                      <a:pt x="749461" y="403168"/>
                      <a:pt x="720629" y="415990"/>
                      <a:pt x="690035" y="412643"/>
                    </a:cubicBezTo>
                    <a:cubicBezTo>
                      <a:pt x="656092" y="408910"/>
                      <a:pt x="557188" y="384218"/>
                      <a:pt x="521976" y="375024"/>
                    </a:cubicBezTo>
                    <a:lnTo>
                      <a:pt x="511014" y="372171"/>
                    </a:lnTo>
                    <a:lnTo>
                      <a:pt x="411264" y="416518"/>
                    </a:lnTo>
                    <a:lnTo>
                      <a:pt x="448133" y="470692"/>
                    </a:lnTo>
                    <a:lnTo>
                      <a:pt x="516759" y="439836"/>
                    </a:lnTo>
                    <a:cubicBezTo>
                      <a:pt x="549398" y="448184"/>
                      <a:pt x="644742" y="472101"/>
                      <a:pt x="683020" y="476328"/>
                    </a:cubicBezTo>
                    <a:cubicBezTo>
                      <a:pt x="688554" y="476926"/>
                      <a:pt x="693982" y="477243"/>
                      <a:pt x="699375" y="477243"/>
                    </a:cubicBezTo>
                    <a:cubicBezTo>
                      <a:pt x="747100" y="477243"/>
                      <a:pt x="789220" y="453467"/>
                      <a:pt x="846532" y="411446"/>
                    </a:cubicBezTo>
                    <a:cubicBezTo>
                      <a:pt x="886009" y="382492"/>
                      <a:pt x="1130060" y="213947"/>
                      <a:pt x="1148600" y="202323"/>
                    </a:cubicBezTo>
                    <a:cubicBezTo>
                      <a:pt x="1217544" y="159104"/>
                      <a:pt x="1221526" y="82210"/>
                      <a:pt x="1197876" y="43323"/>
                    </a:cubicBezTo>
                  </a:path>
                </a:pathLst>
              </a:custGeom>
              <a:solidFill>
                <a:srgbClr val="FFFFFF"/>
              </a:solidFill>
              <a:ln w="3521" cap="flat">
                <a:noFill/>
                <a:prstDash val="solid"/>
                <a:miter/>
              </a:ln>
            </p:spPr>
            <p:txBody>
              <a:bodyPr rtlCol="0" anchor="ctr"/>
              <a:lstStyle/>
              <a:p>
                <a:endParaRPr lang="de-DE"/>
              </a:p>
            </p:txBody>
          </p:sp>
          <p:sp>
            <p:nvSpPr>
              <p:cNvPr id="30" name="Freihandform 29">
                <a:extLst>
                  <a:ext uri="{FF2B5EF4-FFF2-40B4-BE49-F238E27FC236}">
                    <a16:creationId xmlns:a16="http://schemas.microsoft.com/office/drawing/2014/main" id="{9B395A5C-C9E4-2775-2326-A02C413BD309}"/>
                  </a:ext>
                </a:extLst>
              </p:cNvPr>
              <p:cNvSpPr/>
              <p:nvPr/>
            </p:nvSpPr>
            <p:spPr>
              <a:xfrm>
                <a:off x="10318269" y="2574424"/>
                <a:ext cx="319787" cy="441951"/>
              </a:xfrm>
              <a:custGeom>
                <a:avLst/>
                <a:gdLst>
                  <a:gd name="connsiteX0" fmla="*/ 301531 w 319787"/>
                  <a:gd name="connsiteY0" fmla="*/ 353540 h 441951"/>
                  <a:gd name="connsiteX1" fmla="*/ 248872 w 319787"/>
                  <a:gd name="connsiteY1" fmla="*/ 286227 h 441951"/>
                  <a:gd name="connsiteX2" fmla="*/ 215669 w 319787"/>
                  <a:gd name="connsiteY2" fmla="*/ 189891 h 441951"/>
                  <a:gd name="connsiteX3" fmla="*/ 215669 w 319787"/>
                  <a:gd name="connsiteY3" fmla="*/ 34167 h 441951"/>
                  <a:gd name="connsiteX4" fmla="*/ 219723 w 319787"/>
                  <a:gd name="connsiteY4" fmla="*/ 34167 h 441951"/>
                  <a:gd name="connsiteX5" fmla="*/ 236817 w 319787"/>
                  <a:gd name="connsiteY5" fmla="*/ 17083 h 441951"/>
                  <a:gd name="connsiteX6" fmla="*/ 219723 w 319787"/>
                  <a:gd name="connsiteY6" fmla="*/ 0 h 441951"/>
                  <a:gd name="connsiteX7" fmla="*/ 99670 w 319787"/>
                  <a:gd name="connsiteY7" fmla="*/ 0 h 441951"/>
                  <a:gd name="connsiteX8" fmla="*/ 82575 w 319787"/>
                  <a:gd name="connsiteY8" fmla="*/ 17083 h 441951"/>
                  <a:gd name="connsiteX9" fmla="*/ 99670 w 319787"/>
                  <a:gd name="connsiteY9" fmla="*/ 34167 h 441951"/>
                  <a:gd name="connsiteX10" fmla="*/ 109011 w 319787"/>
                  <a:gd name="connsiteY10" fmla="*/ 34167 h 441951"/>
                  <a:gd name="connsiteX11" fmla="*/ 109011 w 319787"/>
                  <a:gd name="connsiteY11" fmla="*/ 181331 h 441951"/>
                  <a:gd name="connsiteX12" fmla="*/ 70345 w 319787"/>
                  <a:gd name="connsiteY12" fmla="*/ 292673 h 441951"/>
                  <a:gd name="connsiteX13" fmla="*/ 16663 w 319787"/>
                  <a:gd name="connsiteY13" fmla="*/ 360655 h 441951"/>
                  <a:gd name="connsiteX14" fmla="*/ 3587 w 319787"/>
                  <a:gd name="connsiteY14" fmla="*/ 418422 h 441951"/>
                  <a:gd name="connsiteX15" fmla="*/ 56105 w 319787"/>
                  <a:gd name="connsiteY15" fmla="*/ 441951 h 441951"/>
                  <a:gd name="connsiteX16" fmla="*/ 258459 w 319787"/>
                  <a:gd name="connsiteY16" fmla="*/ 441951 h 441951"/>
                  <a:gd name="connsiteX17" fmla="*/ 315877 w 319787"/>
                  <a:gd name="connsiteY17" fmla="*/ 416590 h 441951"/>
                  <a:gd name="connsiteX18" fmla="*/ 301601 w 319787"/>
                  <a:gd name="connsiteY18" fmla="*/ 353505 h 441951"/>
                  <a:gd name="connsiteX19" fmla="*/ 181479 w 319787"/>
                  <a:gd name="connsiteY19" fmla="*/ 34202 h 441951"/>
                  <a:gd name="connsiteX20" fmla="*/ 181479 w 319787"/>
                  <a:gd name="connsiteY20" fmla="*/ 189926 h 441951"/>
                  <a:gd name="connsiteX21" fmla="*/ 201746 w 319787"/>
                  <a:gd name="connsiteY21" fmla="*/ 274251 h 441951"/>
                  <a:gd name="connsiteX22" fmla="*/ 121206 w 319787"/>
                  <a:gd name="connsiteY22" fmla="*/ 274251 h 441951"/>
                  <a:gd name="connsiteX23" fmla="*/ 143130 w 319787"/>
                  <a:gd name="connsiteY23" fmla="*/ 181402 h 441951"/>
                  <a:gd name="connsiteX24" fmla="*/ 143130 w 319787"/>
                  <a:gd name="connsiteY24" fmla="*/ 34237 h 441951"/>
                  <a:gd name="connsiteX25" fmla="*/ 181479 w 319787"/>
                  <a:gd name="connsiteY25" fmla="*/ 34237 h 441951"/>
                  <a:gd name="connsiteX26" fmla="*/ 181479 w 319787"/>
                  <a:gd name="connsiteY26" fmla="*/ 34202 h 441951"/>
                  <a:gd name="connsiteX27" fmla="*/ 285071 w 319787"/>
                  <a:gd name="connsiteY27" fmla="*/ 401690 h 441951"/>
                  <a:gd name="connsiteX28" fmla="*/ 258389 w 319787"/>
                  <a:gd name="connsiteY28" fmla="*/ 407855 h 441951"/>
                  <a:gd name="connsiteX29" fmla="*/ 56034 w 319787"/>
                  <a:gd name="connsiteY29" fmla="*/ 407855 h 441951"/>
                  <a:gd name="connsiteX30" fmla="*/ 34287 w 319787"/>
                  <a:gd name="connsiteY30" fmla="*/ 403593 h 441951"/>
                  <a:gd name="connsiteX31" fmla="*/ 43451 w 319787"/>
                  <a:gd name="connsiteY31" fmla="*/ 381895 h 441951"/>
                  <a:gd name="connsiteX32" fmla="*/ 97133 w 319787"/>
                  <a:gd name="connsiteY32" fmla="*/ 313913 h 441951"/>
                  <a:gd name="connsiteX33" fmla="*/ 101151 w 319787"/>
                  <a:gd name="connsiteY33" fmla="*/ 308418 h 441951"/>
                  <a:gd name="connsiteX34" fmla="*/ 219687 w 319787"/>
                  <a:gd name="connsiteY34" fmla="*/ 308418 h 441951"/>
                  <a:gd name="connsiteX35" fmla="*/ 222577 w 319787"/>
                  <a:gd name="connsiteY35" fmla="*/ 308136 h 441951"/>
                  <a:gd name="connsiteX36" fmla="*/ 274567 w 319787"/>
                  <a:gd name="connsiteY36" fmla="*/ 374603 h 441951"/>
                  <a:gd name="connsiteX37" fmla="*/ 285071 w 319787"/>
                  <a:gd name="connsiteY37" fmla="*/ 401726 h 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19787" h="441951">
                    <a:moveTo>
                      <a:pt x="301531" y="353540"/>
                    </a:moveTo>
                    <a:lnTo>
                      <a:pt x="248872" y="286227"/>
                    </a:lnTo>
                    <a:cubicBezTo>
                      <a:pt x="216304" y="244593"/>
                      <a:pt x="215669" y="190384"/>
                      <a:pt x="215669" y="189891"/>
                    </a:cubicBezTo>
                    <a:lnTo>
                      <a:pt x="215669" y="34167"/>
                    </a:lnTo>
                    <a:lnTo>
                      <a:pt x="219723" y="34167"/>
                    </a:lnTo>
                    <a:cubicBezTo>
                      <a:pt x="229169" y="34167"/>
                      <a:pt x="236817" y="26523"/>
                      <a:pt x="236817" y="17083"/>
                    </a:cubicBezTo>
                    <a:cubicBezTo>
                      <a:pt x="236817" y="7644"/>
                      <a:pt x="229169" y="0"/>
                      <a:pt x="219723" y="0"/>
                    </a:cubicBezTo>
                    <a:lnTo>
                      <a:pt x="99670" y="0"/>
                    </a:lnTo>
                    <a:cubicBezTo>
                      <a:pt x="90224" y="0"/>
                      <a:pt x="82575" y="7644"/>
                      <a:pt x="82575" y="17083"/>
                    </a:cubicBezTo>
                    <a:cubicBezTo>
                      <a:pt x="82575" y="26523"/>
                      <a:pt x="90224" y="34167"/>
                      <a:pt x="99670" y="34167"/>
                    </a:cubicBezTo>
                    <a:lnTo>
                      <a:pt x="109011" y="34167"/>
                    </a:lnTo>
                    <a:lnTo>
                      <a:pt x="109011" y="181331"/>
                    </a:lnTo>
                    <a:cubicBezTo>
                      <a:pt x="109011" y="181965"/>
                      <a:pt x="108588" y="244276"/>
                      <a:pt x="70345" y="292673"/>
                    </a:cubicBezTo>
                    <a:lnTo>
                      <a:pt x="16663" y="360655"/>
                    </a:lnTo>
                    <a:cubicBezTo>
                      <a:pt x="12434" y="366044"/>
                      <a:pt x="-8186" y="394117"/>
                      <a:pt x="3587" y="418422"/>
                    </a:cubicBezTo>
                    <a:cubicBezTo>
                      <a:pt x="11164" y="434026"/>
                      <a:pt x="28823" y="441951"/>
                      <a:pt x="56105" y="441951"/>
                    </a:cubicBezTo>
                    <a:lnTo>
                      <a:pt x="258459" y="441951"/>
                    </a:lnTo>
                    <a:cubicBezTo>
                      <a:pt x="288348" y="441951"/>
                      <a:pt x="307664" y="433427"/>
                      <a:pt x="315877" y="416590"/>
                    </a:cubicBezTo>
                    <a:cubicBezTo>
                      <a:pt x="328707" y="390313"/>
                      <a:pt x="306254" y="359422"/>
                      <a:pt x="301601" y="353505"/>
                    </a:cubicBezTo>
                    <a:moveTo>
                      <a:pt x="181479" y="34202"/>
                    </a:moveTo>
                    <a:lnTo>
                      <a:pt x="181479" y="189926"/>
                    </a:lnTo>
                    <a:cubicBezTo>
                      <a:pt x="181479" y="192039"/>
                      <a:pt x="181831" y="232229"/>
                      <a:pt x="201746" y="274251"/>
                    </a:cubicBezTo>
                    <a:lnTo>
                      <a:pt x="121206" y="274251"/>
                    </a:lnTo>
                    <a:cubicBezTo>
                      <a:pt x="142742" y="227721"/>
                      <a:pt x="143130" y="183762"/>
                      <a:pt x="143130" y="181402"/>
                    </a:cubicBezTo>
                    <a:lnTo>
                      <a:pt x="143130" y="34237"/>
                    </a:lnTo>
                    <a:lnTo>
                      <a:pt x="181479" y="34237"/>
                    </a:lnTo>
                    <a:lnTo>
                      <a:pt x="181479" y="34202"/>
                    </a:lnTo>
                    <a:close/>
                    <a:moveTo>
                      <a:pt x="285071" y="401690"/>
                    </a:moveTo>
                    <a:cubicBezTo>
                      <a:pt x="284013" y="403839"/>
                      <a:pt x="277105" y="407855"/>
                      <a:pt x="258389" y="407855"/>
                    </a:cubicBezTo>
                    <a:lnTo>
                      <a:pt x="56034" y="407855"/>
                    </a:lnTo>
                    <a:cubicBezTo>
                      <a:pt x="38023" y="407855"/>
                      <a:pt x="34322" y="403628"/>
                      <a:pt x="34287" y="403593"/>
                    </a:cubicBezTo>
                    <a:cubicBezTo>
                      <a:pt x="32948" y="400951"/>
                      <a:pt x="37177" y="389961"/>
                      <a:pt x="43451" y="381895"/>
                    </a:cubicBezTo>
                    <a:lnTo>
                      <a:pt x="97133" y="313913"/>
                    </a:lnTo>
                    <a:cubicBezTo>
                      <a:pt x="98543" y="312117"/>
                      <a:pt x="99812" y="310250"/>
                      <a:pt x="101151" y="308418"/>
                    </a:cubicBezTo>
                    <a:lnTo>
                      <a:pt x="219687" y="308418"/>
                    </a:lnTo>
                    <a:cubicBezTo>
                      <a:pt x="220674" y="308418"/>
                      <a:pt x="221626" y="308277"/>
                      <a:pt x="222577" y="308136"/>
                    </a:cubicBezTo>
                    <a:lnTo>
                      <a:pt x="274567" y="374603"/>
                    </a:lnTo>
                    <a:cubicBezTo>
                      <a:pt x="281158" y="383128"/>
                      <a:pt x="287326" y="397147"/>
                      <a:pt x="285071" y="401726"/>
                    </a:cubicBezTo>
                  </a:path>
                </a:pathLst>
              </a:custGeom>
              <a:solidFill>
                <a:srgbClr val="FFFFFF"/>
              </a:solidFill>
              <a:ln w="3521" cap="flat">
                <a:noFill/>
                <a:prstDash val="solid"/>
                <a:miter/>
              </a:ln>
            </p:spPr>
            <p:txBody>
              <a:bodyPr rtlCol="0" anchor="ctr"/>
              <a:lstStyle/>
              <a:p>
                <a:endParaRPr lang="de-DE"/>
              </a:p>
            </p:txBody>
          </p:sp>
          <p:sp>
            <p:nvSpPr>
              <p:cNvPr id="31" name="Freihandform 30">
                <a:extLst>
                  <a:ext uri="{FF2B5EF4-FFF2-40B4-BE49-F238E27FC236}">
                    <a16:creationId xmlns:a16="http://schemas.microsoft.com/office/drawing/2014/main" id="{3CD913C9-625F-802E-2CC3-15EC06E33C24}"/>
                  </a:ext>
                </a:extLst>
              </p:cNvPr>
              <p:cNvSpPr/>
              <p:nvPr/>
            </p:nvSpPr>
            <p:spPr>
              <a:xfrm>
                <a:off x="10438242" y="2508591"/>
                <a:ext cx="39653" cy="39626"/>
              </a:xfrm>
              <a:custGeom>
                <a:avLst/>
                <a:gdLst>
                  <a:gd name="connsiteX0" fmla="*/ 0 w 39653"/>
                  <a:gd name="connsiteY0" fmla="*/ 19831 h 39626"/>
                  <a:gd name="connsiteX1" fmla="*/ 19809 w 39653"/>
                  <a:gd name="connsiteY1" fmla="*/ 39627 h 39626"/>
                  <a:gd name="connsiteX2" fmla="*/ 39653 w 39653"/>
                  <a:gd name="connsiteY2" fmla="*/ 19831 h 39626"/>
                  <a:gd name="connsiteX3" fmla="*/ 19809 w 39653"/>
                  <a:gd name="connsiteY3" fmla="*/ 0 h 39626"/>
                  <a:gd name="connsiteX4" fmla="*/ 0 w 39653"/>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0" y="19831"/>
                    </a:moveTo>
                    <a:cubicBezTo>
                      <a:pt x="0" y="30750"/>
                      <a:pt x="8882" y="39627"/>
                      <a:pt x="19809" y="39627"/>
                    </a:cubicBezTo>
                    <a:cubicBezTo>
                      <a:pt x="30735" y="39627"/>
                      <a:pt x="39653" y="30750"/>
                      <a:pt x="39653" y="19831"/>
                    </a:cubicBezTo>
                    <a:cubicBezTo>
                      <a:pt x="39653" y="8912"/>
                      <a:pt x="30771" y="0"/>
                      <a:pt x="19809" y="0"/>
                    </a:cubicBezTo>
                    <a:cubicBezTo>
                      <a:pt x="8847" y="0"/>
                      <a:pt x="0" y="8876"/>
                      <a:pt x="0" y="19831"/>
                    </a:cubicBezTo>
                  </a:path>
                </a:pathLst>
              </a:custGeom>
              <a:solidFill>
                <a:srgbClr val="FFFFFF"/>
              </a:solidFill>
              <a:ln w="3521" cap="flat">
                <a:noFill/>
                <a:prstDash val="solid"/>
                <a:miter/>
              </a:ln>
            </p:spPr>
            <p:txBody>
              <a:bodyPr rtlCol="0" anchor="ctr"/>
              <a:lstStyle/>
              <a:p>
                <a:endParaRPr lang="de-DE"/>
              </a:p>
            </p:txBody>
          </p:sp>
          <p:sp>
            <p:nvSpPr>
              <p:cNvPr id="32" name="Freihandform 31">
                <a:extLst>
                  <a:ext uri="{FF2B5EF4-FFF2-40B4-BE49-F238E27FC236}">
                    <a16:creationId xmlns:a16="http://schemas.microsoft.com/office/drawing/2014/main" id="{B99E832B-76CF-F320-43BA-068DF16728F6}"/>
                  </a:ext>
                </a:extLst>
              </p:cNvPr>
              <p:cNvSpPr/>
              <p:nvPr/>
            </p:nvSpPr>
            <p:spPr>
              <a:xfrm>
                <a:off x="10430488" y="2434269"/>
                <a:ext cx="39653" cy="39661"/>
              </a:xfrm>
              <a:custGeom>
                <a:avLst/>
                <a:gdLst>
                  <a:gd name="connsiteX0" fmla="*/ 19809 w 39653"/>
                  <a:gd name="connsiteY0" fmla="*/ 39662 h 39661"/>
                  <a:gd name="connsiteX1" fmla="*/ 39653 w 39653"/>
                  <a:gd name="connsiteY1" fmla="*/ 19831 h 39661"/>
                  <a:gd name="connsiteX2" fmla="*/ 19809 w 39653"/>
                  <a:gd name="connsiteY2" fmla="*/ 0 h 39661"/>
                  <a:gd name="connsiteX3" fmla="*/ 0 w 39653"/>
                  <a:gd name="connsiteY3" fmla="*/ 19831 h 39661"/>
                  <a:gd name="connsiteX4" fmla="*/ 19809 w 39653"/>
                  <a:gd name="connsiteY4" fmla="*/ 39662 h 39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61">
                    <a:moveTo>
                      <a:pt x="19809" y="39662"/>
                    </a:moveTo>
                    <a:cubicBezTo>
                      <a:pt x="30771" y="39662"/>
                      <a:pt x="39653" y="30785"/>
                      <a:pt x="39653" y="19831"/>
                    </a:cubicBezTo>
                    <a:cubicBezTo>
                      <a:pt x="39653" y="8876"/>
                      <a:pt x="30771" y="0"/>
                      <a:pt x="19809" y="0"/>
                    </a:cubicBezTo>
                    <a:cubicBezTo>
                      <a:pt x="8847" y="0"/>
                      <a:pt x="0" y="8876"/>
                      <a:pt x="0" y="19831"/>
                    </a:cubicBezTo>
                    <a:cubicBezTo>
                      <a:pt x="0" y="30785"/>
                      <a:pt x="8882" y="39662"/>
                      <a:pt x="19809" y="39662"/>
                    </a:cubicBezTo>
                  </a:path>
                </a:pathLst>
              </a:custGeom>
              <a:solidFill>
                <a:srgbClr val="FFFFFF"/>
              </a:solidFill>
              <a:ln w="3521" cap="flat">
                <a:noFill/>
                <a:prstDash val="solid"/>
                <a:miter/>
              </a:ln>
            </p:spPr>
            <p:txBody>
              <a:bodyPr rtlCol="0" anchor="ctr"/>
              <a:lstStyle/>
              <a:p>
                <a:endParaRPr lang="de-DE"/>
              </a:p>
            </p:txBody>
          </p:sp>
          <p:sp>
            <p:nvSpPr>
              <p:cNvPr id="33" name="Freihandform 32">
                <a:extLst>
                  <a:ext uri="{FF2B5EF4-FFF2-40B4-BE49-F238E27FC236}">
                    <a16:creationId xmlns:a16="http://schemas.microsoft.com/office/drawing/2014/main" id="{4FC458A0-8E26-1261-EB36-0D44E1B16A79}"/>
                  </a:ext>
                </a:extLst>
              </p:cNvPr>
              <p:cNvSpPr/>
              <p:nvPr/>
            </p:nvSpPr>
            <p:spPr>
              <a:xfrm>
                <a:off x="10487482" y="2470760"/>
                <a:ext cx="39688" cy="39626"/>
              </a:xfrm>
              <a:custGeom>
                <a:avLst/>
                <a:gdLst>
                  <a:gd name="connsiteX0" fmla="*/ 0 w 39688"/>
                  <a:gd name="connsiteY0" fmla="*/ 19831 h 39626"/>
                  <a:gd name="connsiteX1" fmla="*/ 19844 w 39688"/>
                  <a:gd name="connsiteY1" fmla="*/ 39627 h 39626"/>
                  <a:gd name="connsiteX2" fmla="*/ 39688 w 39688"/>
                  <a:gd name="connsiteY2" fmla="*/ 19831 h 39626"/>
                  <a:gd name="connsiteX3" fmla="*/ 19844 w 39688"/>
                  <a:gd name="connsiteY3" fmla="*/ 0 h 39626"/>
                  <a:gd name="connsiteX4" fmla="*/ 0 w 39688"/>
                  <a:gd name="connsiteY4" fmla="*/ 19831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88" h="39626">
                    <a:moveTo>
                      <a:pt x="0" y="19831"/>
                    </a:moveTo>
                    <a:cubicBezTo>
                      <a:pt x="0" y="30750"/>
                      <a:pt x="8882" y="39627"/>
                      <a:pt x="19844" y="39627"/>
                    </a:cubicBezTo>
                    <a:cubicBezTo>
                      <a:pt x="30806" y="39627"/>
                      <a:pt x="39688" y="30750"/>
                      <a:pt x="39688" y="19831"/>
                    </a:cubicBezTo>
                    <a:cubicBezTo>
                      <a:pt x="39688" y="8912"/>
                      <a:pt x="30806" y="0"/>
                      <a:pt x="19844" y="0"/>
                    </a:cubicBezTo>
                    <a:cubicBezTo>
                      <a:pt x="8882" y="0"/>
                      <a:pt x="0" y="8876"/>
                      <a:pt x="0" y="19831"/>
                    </a:cubicBezTo>
                  </a:path>
                </a:pathLst>
              </a:custGeom>
              <a:solidFill>
                <a:srgbClr val="FFFFFF"/>
              </a:solidFill>
              <a:ln w="3521" cap="flat">
                <a:noFill/>
                <a:prstDash val="solid"/>
                <a:miter/>
              </a:ln>
            </p:spPr>
            <p:txBody>
              <a:bodyPr rtlCol="0" anchor="ctr"/>
              <a:lstStyle/>
              <a:p>
                <a:endParaRPr lang="de-DE"/>
              </a:p>
            </p:txBody>
          </p:sp>
          <p:sp>
            <p:nvSpPr>
              <p:cNvPr id="34" name="Freihandform 33">
                <a:extLst>
                  <a:ext uri="{FF2B5EF4-FFF2-40B4-BE49-F238E27FC236}">
                    <a16:creationId xmlns:a16="http://schemas.microsoft.com/office/drawing/2014/main" id="{B4DD1868-0A3E-1287-2E15-8795EA47682A}"/>
                  </a:ext>
                </a:extLst>
              </p:cNvPr>
              <p:cNvSpPr/>
              <p:nvPr/>
            </p:nvSpPr>
            <p:spPr>
              <a:xfrm>
                <a:off x="10477930" y="2394677"/>
                <a:ext cx="39653" cy="39626"/>
              </a:xfrm>
              <a:custGeom>
                <a:avLst/>
                <a:gdLst>
                  <a:gd name="connsiteX0" fmla="*/ 19809 w 39653"/>
                  <a:gd name="connsiteY0" fmla="*/ 39627 h 39626"/>
                  <a:gd name="connsiteX1" fmla="*/ 39653 w 39653"/>
                  <a:gd name="connsiteY1" fmla="*/ 19831 h 39626"/>
                  <a:gd name="connsiteX2" fmla="*/ 19809 w 39653"/>
                  <a:gd name="connsiteY2" fmla="*/ 0 h 39626"/>
                  <a:gd name="connsiteX3" fmla="*/ 0 w 39653"/>
                  <a:gd name="connsiteY3" fmla="*/ 19831 h 39626"/>
                  <a:gd name="connsiteX4" fmla="*/ 19809 w 39653"/>
                  <a:gd name="connsiteY4" fmla="*/ 39627 h 39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53" h="39626">
                    <a:moveTo>
                      <a:pt x="19809" y="39627"/>
                    </a:moveTo>
                    <a:cubicBezTo>
                      <a:pt x="30771" y="39627"/>
                      <a:pt x="39653" y="30750"/>
                      <a:pt x="39653" y="19831"/>
                    </a:cubicBezTo>
                    <a:cubicBezTo>
                      <a:pt x="39653" y="8912"/>
                      <a:pt x="30771" y="0"/>
                      <a:pt x="19809" y="0"/>
                    </a:cubicBezTo>
                    <a:cubicBezTo>
                      <a:pt x="8847" y="0"/>
                      <a:pt x="0" y="8876"/>
                      <a:pt x="0" y="19831"/>
                    </a:cubicBezTo>
                    <a:cubicBezTo>
                      <a:pt x="0" y="30785"/>
                      <a:pt x="8882" y="39627"/>
                      <a:pt x="19809" y="39627"/>
                    </a:cubicBezTo>
                  </a:path>
                </a:pathLst>
              </a:custGeom>
              <a:solidFill>
                <a:srgbClr val="FFFFFF"/>
              </a:solidFill>
              <a:ln w="3521" cap="flat">
                <a:noFill/>
                <a:prstDash val="solid"/>
                <a:miter/>
              </a:ln>
            </p:spPr>
            <p:txBody>
              <a:bodyPr rtlCol="0" anchor="ctr"/>
              <a:lstStyle/>
              <a:p>
                <a:endParaRPr lang="de-DE"/>
              </a:p>
            </p:txBody>
          </p:sp>
        </p:grpSp>
        <p:grpSp>
          <p:nvGrpSpPr>
            <p:cNvPr id="14" name="Gruppieren 13">
              <a:extLst>
                <a:ext uri="{FF2B5EF4-FFF2-40B4-BE49-F238E27FC236}">
                  <a16:creationId xmlns:a16="http://schemas.microsoft.com/office/drawing/2014/main" id="{CE526DA0-DC50-DEA4-5AA8-68CAB0BCC287}"/>
                </a:ext>
              </a:extLst>
            </p:cNvPr>
            <p:cNvGrpSpPr/>
            <p:nvPr/>
          </p:nvGrpSpPr>
          <p:grpSpPr>
            <a:xfrm>
              <a:off x="7516497" y="2609745"/>
              <a:ext cx="1210989" cy="995110"/>
              <a:chOff x="7516497" y="2609745"/>
              <a:chExt cx="1210989" cy="995110"/>
            </a:xfrm>
          </p:grpSpPr>
          <p:sp>
            <p:nvSpPr>
              <p:cNvPr id="25" name="Freihandform 24">
                <a:extLst>
                  <a:ext uri="{FF2B5EF4-FFF2-40B4-BE49-F238E27FC236}">
                    <a16:creationId xmlns:a16="http://schemas.microsoft.com/office/drawing/2014/main" id="{B60C1008-840F-D0E7-E58A-857693C91270}"/>
                  </a:ext>
                </a:extLst>
              </p:cNvPr>
              <p:cNvSpPr/>
              <p:nvPr/>
            </p:nvSpPr>
            <p:spPr>
              <a:xfrm>
                <a:off x="7962934" y="2609745"/>
                <a:ext cx="637639" cy="368694"/>
              </a:xfrm>
              <a:custGeom>
                <a:avLst/>
                <a:gdLst>
                  <a:gd name="connsiteX0" fmla="*/ 203133 w 637639"/>
                  <a:gd name="connsiteY0" fmla="*/ 325862 h 368694"/>
                  <a:gd name="connsiteX1" fmla="*/ 333195 w 637639"/>
                  <a:gd name="connsiteY1" fmla="*/ 174225 h 368694"/>
                  <a:gd name="connsiteX2" fmla="*/ 424062 w 637639"/>
                  <a:gd name="connsiteY2" fmla="*/ 45236 h 368694"/>
                  <a:gd name="connsiteX3" fmla="*/ 571607 w 637639"/>
                  <a:gd name="connsiteY3" fmla="*/ 80248 h 368694"/>
                  <a:gd name="connsiteX4" fmla="*/ 578410 w 637639"/>
                  <a:gd name="connsiteY4" fmla="*/ 248300 h 368694"/>
                  <a:gd name="connsiteX5" fmla="*/ 498575 w 637639"/>
                  <a:gd name="connsiteY5" fmla="*/ 298529 h 368694"/>
                  <a:gd name="connsiteX6" fmla="*/ 399107 w 637639"/>
                  <a:gd name="connsiteY6" fmla="*/ 270209 h 368694"/>
                  <a:gd name="connsiteX7" fmla="*/ 462764 w 637639"/>
                  <a:gd name="connsiteY7" fmla="*/ 257317 h 368694"/>
                  <a:gd name="connsiteX8" fmla="*/ 455926 w 637639"/>
                  <a:gd name="connsiteY8" fmla="*/ 223784 h 368694"/>
                  <a:gd name="connsiteX9" fmla="*/ 366433 w 637639"/>
                  <a:gd name="connsiteY9" fmla="*/ 241960 h 368694"/>
                  <a:gd name="connsiteX10" fmla="*/ 366081 w 637639"/>
                  <a:gd name="connsiteY10" fmla="*/ 241607 h 368694"/>
                  <a:gd name="connsiteX11" fmla="*/ 365552 w 637639"/>
                  <a:gd name="connsiteY11" fmla="*/ 242136 h 368694"/>
                  <a:gd name="connsiteX12" fmla="*/ 335380 w 637639"/>
                  <a:gd name="connsiteY12" fmla="*/ 248265 h 368694"/>
                  <a:gd name="connsiteX13" fmla="*/ 359912 w 637639"/>
                  <a:gd name="connsiteY13" fmla="*/ 368694 h 368694"/>
                  <a:gd name="connsiteX14" fmla="*/ 393468 w 637639"/>
                  <a:gd name="connsiteY14" fmla="*/ 361861 h 368694"/>
                  <a:gd name="connsiteX15" fmla="*/ 380532 w 637639"/>
                  <a:gd name="connsiteY15" fmla="*/ 298282 h 368694"/>
                  <a:gd name="connsiteX16" fmla="*/ 488071 w 637639"/>
                  <a:gd name="connsiteY16" fmla="*/ 332731 h 368694"/>
                  <a:gd name="connsiteX17" fmla="*/ 501712 w 637639"/>
                  <a:gd name="connsiteY17" fmla="*/ 332097 h 368694"/>
                  <a:gd name="connsiteX18" fmla="*/ 606325 w 637639"/>
                  <a:gd name="connsiteY18" fmla="*/ 267356 h 368694"/>
                  <a:gd name="connsiteX19" fmla="*/ 597655 w 637639"/>
                  <a:gd name="connsiteY19" fmla="*/ 58550 h 368694"/>
                  <a:gd name="connsiteX20" fmla="*/ 410351 w 637639"/>
                  <a:gd name="connsiteY20" fmla="*/ 14309 h 368694"/>
                  <a:gd name="connsiteX21" fmla="*/ 300591 w 637639"/>
                  <a:gd name="connsiteY21" fmla="*/ 165278 h 368694"/>
                  <a:gd name="connsiteX22" fmla="*/ 194039 w 637639"/>
                  <a:gd name="connsiteY22" fmla="*/ 293280 h 368694"/>
                  <a:gd name="connsiteX23" fmla="*/ 67537 w 637639"/>
                  <a:gd name="connsiteY23" fmla="*/ 257317 h 368694"/>
                  <a:gd name="connsiteX24" fmla="*/ 45860 w 637639"/>
                  <a:gd name="connsiteY24" fmla="*/ 107687 h 368694"/>
                  <a:gd name="connsiteX25" fmla="*/ 136868 w 637639"/>
                  <a:gd name="connsiteY25" fmla="*/ 37874 h 368694"/>
                  <a:gd name="connsiteX26" fmla="*/ 255228 w 637639"/>
                  <a:gd name="connsiteY26" fmla="*/ 63129 h 368694"/>
                  <a:gd name="connsiteX27" fmla="*/ 268023 w 637639"/>
                  <a:gd name="connsiteY27" fmla="*/ 74189 h 368694"/>
                  <a:gd name="connsiteX28" fmla="*/ 290158 w 637639"/>
                  <a:gd name="connsiteY28" fmla="*/ 48652 h 368694"/>
                  <a:gd name="connsiteX29" fmla="*/ 277399 w 637639"/>
                  <a:gd name="connsiteY29" fmla="*/ 37592 h 368694"/>
                  <a:gd name="connsiteX30" fmla="*/ 129678 w 637639"/>
                  <a:gd name="connsiteY30" fmla="*/ 4869 h 368694"/>
                  <a:gd name="connsiteX31" fmla="*/ 15089 w 637639"/>
                  <a:gd name="connsiteY31" fmla="*/ 93668 h 368694"/>
                  <a:gd name="connsiteX32" fmla="*/ 41842 w 637639"/>
                  <a:gd name="connsiteY32" fmla="*/ 279297 h 368694"/>
                  <a:gd name="connsiteX33" fmla="*/ 203168 w 637639"/>
                  <a:gd name="connsiteY33" fmla="*/ 325827 h 36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7639" h="368694">
                    <a:moveTo>
                      <a:pt x="203133" y="325862"/>
                    </a:moveTo>
                    <a:cubicBezTo>
                      <a:pt x="299111" y="298987"/>
                      <a:pt x="317228" y="232696"/>
                      <a:pt x="333195" y="174225"/>
                    </a:cubicBezTo>
                    <a:cubicBezTo>
                      <a:pt x="347364" y="122411"/>
                      <a:pt x="360723" y="73485"/>
                      <a:pt x="424062" y="45236"/>
                    </a:cubicBezTo>
                    <a:cubicBezTo>
                      <a:pt x="487754" y="16880"/>
                      <a:pt x="542035" y="44707"/>
                      <a:pt x="571607" y="80248"/>
                    </a:cubicBezTo>
                    <a:cubicBezTo>
                      <a:pt x="602519" y="117374"/>
                      <a:pt x="622856" y="183629"/>
                      <a:pt x="578410" y="248300"/>
                    </a:cubicBezTo>
                    <a:cubicBezTo>
                      <a:pt x="557543" y="278663"/>
                      <a:pt x="530685" y="295570"/>
                      <a:pt x="498575" y="298529"/>
                    </a:cubicBezTo>
                    <a:cubicBezTo>
                      <a:pt x="461248" y="301945"/>
                      <a:pt x="423992" y="286518"/>
                      <a:pt x="399107" y="270209"/>
                    </a:cubicBezTo>
                    <a:lnTo>
                      <a:pt x="462764" y="257317"/>
                    </a:lnTo>
                    <a:lnTo>
                      <a:pt x="455926" y="223784"/>
                    </a:lnTo>
                    <a:lnTo>
                      <a:pt x="366433" y="241960"/>
                    </a:lnTo>
                    <a:lnTo>
                      <a:pt x="366081" y="241607"/>
                    </a:lnTo>
                    <a:lnTo>
                      <a:pt x="365552" y="242136"/>
                    </a:lnTo>
                    <a:lnTo>
                      <a:pt x="335380" y="248265"/>
                    </a:lnTo>
                    <a:lnTo>
                      <a:pt x="359912" y="368694"/>
                    </a:lnTo>
                    <a:lnTo>
                      <a:pt x="393468" y="361861"/>
                    </a:lnTo>
                    <a:lnTo>
                      <a:pt x="380532" y="298282"/>
                    </a:lnTo>
                    <a:cubicBezTo>
                      <a:pt x="407919" y="316211"/>
                      <a:pt x="446938" y="332731"/>
                      <a:pt x="488071" y="332731"/>
                    </a:cubicBezTo>
                    <a:cubicBezTo>
                      <a:pt x="492583" y="332731"/>
                      <a:pt x="497130" y="332520"/>
                      <a:pt x="501712" y="332097"/>
                    </a:cubicBezTo>
                    <a:cubicBezTo>
                      <a:pt x="543691" y="328222"/>
                      <a:pt x="579890" y="305855"/>
                      <a:pt x="606325" y="267356"/>
                    </a:cubicBezTo>
                    <a:cubicBezTo>
                      <a:pt x="657927" y="192259"/>
                      <a:pt x="639141" y="108356"/>
                      <a:pt x="597655" y="58550"/>
                    </a:cubicBezTo>
                    <a:cubicBezTo>
                      <a:pt x="550529" y="1981"/>
                      <a:pt x="477004" y="-15384"/>
                      <a:pt x="410351" y="14309"/>
                    </a:cubicBezTo>
                    <a:cubicBezTo>
                      <a:pt x="332349" y="49075"/>
                      <a:pt x="315501" y="110787"/>
                      <a:pt x="300591" y="165278"/>
                    </a:cubicBezTo>
                    <a:cubicBezTo>
                      <a:pt x="285012" y="222305"/>
                      <a:pt x="271548" y="271583"/>
                      <a:pt x="194039" y="293280"/>
                    </a:cubicBezTo>
                    <a:cubicBezTo>
                      <a:pt x="145010" y="307053"/>
                      <a:pt x="98907" y="293914"/>
                      <a:pt x="67537" y="257317"/>
                    </a:cubicBezTo>
                    <a:cubicBezTo>
                      <a:pt x="32431" y="216317"/>
                      <a:pt x="23725" y="156190"/>
                      <a:pt x="45860" y="107687"/>
                    </a:cubicBezTo>
                    <a:cubicBezTo>
                      <a:pt x="61968" y="72393"/>
                      <a:pt x="95135" y="46961"/>
                      <a:pt x="136868" y="37874"/>
                    </a:cubicBezTo>
                    <a:cubicBezTo>
                      <a:pt x="180857" y="28328"/>
                      <a:pt x="226220" y="37979"/>
                      <a:pt x="255228" y="63129"/>
                    </a:cubicBezTo>
                    <a:lnTo>
                      <a:pt x="268023" y="74189"/>
                    </a:lnTo>
                    <a:lnTo>
                      <a:pt x="290158" y="48652"/>
                    </a:lnTo>
                    <a:lnTo>
                      <a:pt x="277399" y="37592"/>
                    </a:lnTo>
                    <a:cubicBezTo>
                      <a:pt x="240460" y="5609"/>
                      <a:pt x="183888" y="-6931"/>
                      <a:pt x="129678" y="4869"/>
                    </a:cubicBezTo>
                    <a:cubicBezTo>
                      <a:pt x="77406" y="16246"/>
                      <a:pt x="35638" y="48617"/>
                      <a:pt x="15089" y="93668"/>
                    </a:cubicBezTo>
                    <a:cubicBezTo>
                      <a:pt x="-12404" y="153936"/>
                      <a:pt x="-1653" y="228504"/>
                      <a:pt x="41842" y="279297"/>
                    </a:cubicBezTo>
                    <a:cubicBezTo>
                      <a:pt x="82129" y="326320"/>
                      <a:pt x="140886" y="343263"/>
                      <a:pt x="203168" y="325827"/>
                    </a:cubicBezTo>
                  </a:path>
                </a:pathLst>
              </a:custGeom>
              <a:solidFill>
                <a:srgbClr val="FFFFFF"/>
              </a:solidFill>
              <a:ln w="3521" cap="flat">
                <a:noFill/>
                <a:prstDash val="solid"/>
                <a:miter/>
              </a:ln>
            </p:spPr>
            <p:txBody>
              <a:bodyPr rtlCol="0" anchor="ctr"/>
              <a:lstStyle/>
              <a:p>
                <a:endParaRPr lang="de-DE"/>
              </a:p>
            </p:txBody>
          </p:sp>
          <p:sp>
            <p:nvSpPr>
              <p:cNvPr id="26" name="Freihandform 25">
                <a:extLst>
                  <a:ext uri="{FF2B5EF4-FFF2-40B4-BE49-F238E27FC236}">
                    <a16:creationId xmlns:a16="http://schemas.microsoft.com/office/drawing/2014/main" id="{4A62E240-8B03-EC2C-B80D-FD88D0CC3F01}"/>
                  </a:ext>
                </a:extLst>
              </p:cNvPr>
              <p:cNvSpPr/>
              <p:nvPr/>
            </p:nvSpPr>
            <p:spPr>
              <a:xfrm>
                <a:off x="7516497" y="3112394"/>
                <a:ext cx="438651" cy="492461"/>
              </a:xfrm>
              <a:custGeom>
                <a:avLst/>
                <a:gdLst>
                  <a:gd name="connsiteX0" fmla="*/ 0 w 438651"/>
                  <a:gd name="connsiteY0" fmla="*/ 116344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44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44"/>
                    </a:moveTo>
                    <a:lnTo>
                      <a:pt x="34754" y="170130"/>
                    </a:lnTo>
                    <a:lnTo>
                      <a:pt x="162913" y="87496"/>
                    </a:lnTo>
                    <a:lnTo>
                      <a:pt x="352049" y="361782"/>
                    </a:lnTo>
                    <a:lnTo>
                      <a:pt x="251277" y="442479"/>
                    </a:lnTo>
                    <a:lnTo>
                      <a:pt x="291353" y="492462"/>
                    </a:lnTo>
                    <a:lnTo>
                      <a:pt x="438651" y="374498"/>
                    </a:lnTo>
                    <a:lnTo>
                      <a:pt x="180430" y="0"/>
                    </a:lnTo>
                    <a:lnTo>
                      <a:pt x="0" y="116344"/>
                    </a:lnTo>
                    <a:close/>
                  </a:path>
                </a:pathLst>
              </a:custGeom>
              <a:solidFill>
                <a:srgbClr val="FFFFFF"/>
              </a:solidFill>
              <a:ln w="3521" cap="flat">
                <a:noFill/>
                <a:prstDash val="solid"/>
                <a:miter/>
              </a:ln>
            </p:spPr>
            <p:txBody>
              <a:bodyPr rtlCol="0" anchor="ctr"/>
              <a:lstStyle/>
              <a:p>
                <a:endParaRPr lang="de-DE"/>
              </a:p>
            </p:txBody>
          </p:sp>
          <p:sp>
            <p:nvSpPr>
              <p:cNvPr id="27" name="Freihandform 26">
                <a:extLst>
                  <a:ext uri="{FF2B5EF4-FFF2-40B4-BE49-F238E27FC236}">
                    <a16:creationId xmlns:a16="http://schemas.microsoft.com/office/drawing/2014/main" id="{437EE792-8E35-6753-A2D1-EDDC1D1320A3}"/>
                  </a:ext>
                </a:extLst>
              </p:cNvPr>
              <p:cNvSpPr/>
              <p:nvPr/>
            </p:nvSpPr>
            <p:spPr>
              <a:xfrm>
                <a:off x="7763791" y="3003335"/>
                <a:ext cx="563879" cy="266861"/>
              </a:xfrm>
              <a:custGeom>
                <a:avLst/>
                <a:gdLst>
                  <a:gd name="connsiteX0" fmla="*/ 61260 w 563879"/>
                  <a:gd name="connsiteY0" fmla="*/ 170384 h 266861"/>
                  <a:gd name="connsiteX1" fmla="*/ 176624 w 563879"/>
                  <a:gd name="connsiteY1" fmla="*/ 83381 h 266861"/>
                  <a:gd name="connsiteX2" fmla="*/ 323851 w 563879"/>
                  <a:gd name="connsiteY2" fmla="*/ 84332 h 266861"/>
                  <a:gd name="connsiteX3" fmla="*/ 407634 w 563879"/>
                  <a:gd name="connsiteY3" fmla="*/ 110468 h 266861"/>
                  <a:gd name="connsiteX4" fmla="*/ 498360 w 563879"/>
                  <a:gd name="connsiteY4" fmla="*/ 156083 h 266861"/>
                  <a:gd name="connsiteX5" fmla="*/ 493002 w 563879"/>
                  <a:gd name="connsiteY5" fmla="*/ 186305 h 266861"/>
                  <a:gd name="connsiteX6" fmla="*/ 429452 w 563879"/>
                  <a:gd name="connsiteY6" fmla="*/ 202402 h 266861"/>
                  <a:gd name="connsiteX7" fmla="*/ 269782 w 563879"/>
                  <a:gd name="connsiteY7" fmla="*/ 167319 h 266861"/>
                  <a:gd name="connsiteX8" fmla="*/ 238729 w 563879"/>
                  <a:gd name="connsiteY8" fmla="*/ 159394 h 266861"/>
                  <a:gd name="connsiteX9" fmla="*/ 222833 w 563879"/>
                  <a:gd name="connsiteY9" fmla="*/ 221423 h 266861"/>
                  <a:gd name="connsiteX10" fmla="*/ 253886 w 563879"/>
                  <a:gd name="connsiteY10" fmla="*/ 229348 h 266861"/>
                  <a:gd name="connsiteX11" fmla="*/ 424940 w 563879"/>
                  <a:gd name="connsiteY11" fmla="*/ 266263 h 266861"/>
                  <a:gd name="connsiteX12" fmla="*/ 441682 w 563879"/>
                  <a:gd name="connsiteY12" fmla="*/ 266861 h 266861"/>
                  <a:gd name="connsiteX13" fmla="*/ 542348 w 563879"/>
                  <a:gd name="connsiteY13" fmla="*/ 227129 h 266861"/>
                  <a:gd name="connsiteX14" fmla="*/ 560325 w 563879"/>
                  <a:gd name="connsiteY14" fmla="*/ 139739 h 266861"/>
                  <a:gd name="connsiteX15" fmla="*/ 425011 w 563879"/>
                  <a:gd name="connsiteY15" fmla="*/ 48862 h 266861"/>
                  <a:gd name="connsiteX16" fmla="*/ 345740 w 563879"/>
                  <a:gd name="connsiteY16" fmla="*/ 24170 h 266861"/>
                  <a:gd name="connsiteX17" fmla="*/ 141341 w 563879"/>
                  <a:gd name="connsiteY17" fmla="*/ 29912 h 266861"/>
                  <a:gd name="connsiteX18" fmla="*/ 20866 w 563879"/>
                  <a:gd name="connsiteY18" fmla="*/ 120613 h 266861"/>
                  <a:gd name="connsiteX19" fmla="*/ 0 w 563879"/>
                  <a:gd name="connsiteY19" fmla="*/ 137485 h 266861"/>
                  <a:gd name="connsiteX20" fmla="*/ 36305 w 563879"/>
                  <a:gd name="connsiteY20" fmla="*/ 190532 h 266861"/>
                  <a:gd name="connsiteX21" fmla="*/ 61189 w 563879"/>
                  <a:gd name="connsiteY21" fmla="*/ 170384 h 266861"/>
                  <a:gd name="connsiteX22" fmla="*/ 61260 w 563879"/>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9" h="26686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0" y="126213"/>
                      <a:pt x="492932" y="135407"/>
                      <a:pt x="498360" y="156083"/>
                    </a:cubicBezTo>
                    <a:cubicBezTo>
                      <a:pt x="499805" y="161507"/>
                      <a:pt x="502131" y="175280"/>
                      <a:pt x="493002" y="186305"/>
                    </a:cubicBezTo>
                    <a:cubicBezTo>
                      <a:pt x="482605" y="198844"/>
                      <a:pt x="460117" y="204516"/>
                      <a:pt x="429452" y="202402"/>
                    </a:cubicBezTo>
                    <a:cubicBezTo>
                      <a:pt x="406753" y="200817"/>
                      <a:pt x="319480" y="180035"/>
                      <a:pt x="269782" y="167319"/>
                    </a:cubicBezTo>
                    <a:lnTo>
                      <a:pt x="238729" y="159394"/>
                    </a:lnTo>
                    <a:lnTo>
                      <a:pt x="222833" y="221423"/>
                    </a:lnTo>
                    <a:lnTo>
                      <a:pt x="253886" y="229348"/>
                    </a:lnTo>
                    <a:cubicBezTo>
                      <a:pt x="267597" y="232871"/>
                      <a:pt x="389058" y="263762"/>
                      <a:pt x="424940" y="266263"/>
                    </a:cubicBezTo>
                    <a:cubicBezTo>
                      <a:pt x="430791" y="266685"/>
                      <a:pt x="436325" y="266861"/>
                      <a:pt x="441682" y="266861"/>
                    </a:cubicBezTo>
                    <a:cubicBezTo>
                      <a:pt x="497161" y="266861"/>
                      <a:pt x="526910" y="245762"/>
                      <a:pt x="542348" y="227129"/>
                    </a:cubicBezTo>
                    <a:cubicBezTo>
                      <a:pt x="562157" y="203247"/>
                      <a:pt x="568678" y="171370"/>
                      <a:pt x="560325" y="139739"/>
                    </a:cubicBezTo>
                    <a:cubicBezTo>
                      <a:pt x="545274" y="82747"/>
                      <a:pt x="489548" y="67038"/>
                      <a:pt x="425011"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28" name="Freihandform 27">
                <a:extLst>
                  <a:ext uri="{FF2B5EF4-FFF2-40B4-BE49-F238E27FC236}">
                    <a16:creationId xmlns:a16="http://schemas.microsoft.com/office/drawing/2014/main" id="{D6C11197-6D57-73F6-7E7F-B3254DCD08E8}"/>
                  </a:ext>
                </a:extLst>
              </p:cNvPr>
              <p:cNvSpPr/>
              <p:nvPr/>
            </p:nvSpPr>
            <p:spPr>
              <a:xfrm>
                <a:off x="7927796" y="2961604"/>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2 h 477173"/>
                  <a:gd name="connsiteX5" fmla="*/ 422720 w 799690"/>
                  <a:gd name="connsiteY5" fmla="*/ 138674 h 477173"/>
                  <a:gd name="connsiteX6" fmla="*/ 446265 w 799690"/>
                  <a:gd name="connsiteY6" fmla="*/ 199012 h 477173"/>
                  <a:gd name="connsiteX7" fmla="*/ 475484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4 h 477173"/>
                  <a:gd name="connsiteX16" fmla="*/ 99750 w 799690"/>
                  <a:gd name="connsiteY16" fmla="*/ 372171 h 477173"/>
                  <a:gd name="connsiteX17" fmla="*/ 0 w 799690"/>
                  <a:gd name="connsiteY17" fmla="*/ 416518 h 477173"/>
                  <a:gd name="connsiteX18" fmla="*/ 36868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2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61" y="-33077"/>
                      <a:pt x="666842" y="5881"/>
                      <a:pt x="581861" y="51002"/>
                    </a:cubicBezTo>
                    <a:cubicBezTo>
                      <a:pt x="571921" y="56286"/>
                      <a:pt x="561452" y="61851"/>
                      <a:pt x="550420" y="67557"/>
                    </a:cubicBezTo>
                    <a:lnTo>
                      <a:pt x="550702" y="68121"/>
                    </a:lnTo>
                    <a:cubicBezTo>
                      <a:pt x="537872" y="74250"/>
                      <a:pt x="510838" y="89361"/>
                      <a:pt x="444185" y="126662"/>
                    </a:cubicBezTo>
                    <a:lnTo>
                      <a:pt x="422720" y="138674"/>
                    </a:lnTo>
                    <a:lnTo>
                      <a:pt x="446265" y="199012"/>
                    </a:lnTo>
                    <a:lnTo>
                      <a:pt x="475484"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50"/>
                      <a:pt x="434386" y="332650"/>
                      <a:pt x="397377" y="359773"/>
                    </a:cubicBezTo>
                    <a:cubicBezTo>
                      <a:pt x="338162" y="403168"/>
                      <a:pt x="309329" y="415990"/>
                      <a:pt x="278735" y="412643"/>
                    </a:cubicBezTo>
                    <a:cubicBezTo>
                      <a:pt x="244757" y="408910"/>
                      <a:pt x="145888" y="384218"/>
                      <a:pt x="110676" y="375024"/>
                    </a:cubicBezTo>
                    <a:lnTo>
                      <a:pt x="99750" y="372171"/>
                    </a:lnTo>
                    <a:lnTo>
                      <a:pt x="0" y="416518"/>
                    </a:lnTo>
                    <a:lnTo>
                      <a:pt x="36868"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21"/>
                      <a:pt x="718796" y="213876"/>
                      <a:pt x="737336" y="202252"/>
                    </a:cubicBezTo>
                    <a:cubicBezTo>
                      <a:pt x="806280" y="159033"/>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15" name="Gruppieren 14">
              <a:extLst>
                <a:ext uri="{FF2B5EF4-FFF2-40B4-BE49-F238E27FC236}">
                  <a16:creationId xmlns:a16="http://schemas.microsoft.com/office/drawing/2014/main" id="{28D39873-BC37-348A-0DF4-EA10DBA86BF6}"/>
                </a:ext>
              </a:extLst>
            </p:cNvPr>
            <p:cNvGrpSpPr/>
            <p:nvPr/>
          </p:nvGrpSpPr>
          <p:grpSpPr>
            <a:xfrm>
              <a:off x="8598303" y="4019755"/>
              <a:ext cx="1210990" cy="1210178"/>
              <a:chOff x="8598303" y="4019755"/>
              <a:chExt cx="1210990" cy="1210178"/>
            </a:xfrm>
          </p:grpSpPr>
          <p:sp>
            <p:nvSpPr>
              <p:cNvPr id="21" name="Freihandform 20">
                <a:extLst>
                  <a:ext uri="{FF2B5EF4-FFF2-40B4-BE49-F238E27FC236}">
                    <a16:creationId xmlns:a16="http://schemas.microsoft.com/office/drawing/2014/main" id="{FFA6E140-482B-1EE3-6649-040A87FADA6E}"/>
                  </a:ext>
                </a:extLst>
              </p:cNvPr>
              <p:cNvSpPr/>
              <p:nvPr/>
            </p:nvSpPr>
            <p:spPr>
              <a:xfrm>
                <a:off x="9099659" y="4019755"/>
                <a:ext cx="550490" cy="653469"/>
              </a:xfrm>
              <a:custGeom>
                <a:avLst/>
                <a:gdLst>
                  <a:gd name="connsiteX0" fmla="*/ 281660 w 550490"/>
                  <a:gd name="connsiteY0" fmla="*/ 457872 h 653469"/>
                  <a:gd name="connsiteX1" fmla="*/ 275563 w 550490"/>
                  <a:gd name="connsiteY1" fmla="*/ 463684 h 653469"/>
                  <a:gd name="connsiteX2" fmla="*/ 269571 w 550490"/>
                  <a:gd name="connsiteY2" fmla="*/ 458013 h 653469"/>
                  <a:gd name="connsiteX3" fmla="*/ 171055 w 550490"/>
                  <a:gd name="connsiteY3" fmla="*/ 457731 h 653469"/>
                  <a:gd name="connsiteX4" fmla="*/ 149977 w 550490"/>
                  <a:gd name="connsiteY4" fmla="*/ 505283 h 653469"/>
                  <a:gd name="connsiteX5" fmla="*/ 170879 w 550490"/>
                  <a:gd name="connsiteY5" fmla="*/ 553786 h 653469"/>
                  <a:gd name="connsiteX6" fmla="*/ 276021 w 550490"/>
                  <a:gd name="connsiteY6" fmla="*/ 653469 h 653469"/>
                  <a:gd name="connsiteX7" fmla="*/ 362623 w 550490"/>
                  <a:gd name="connsiteY7" fmla="*/ 570870 h 653469"/>
                  <a:gd name="connsiteX8" fmla="*/ 380776 w 550490"/>
                  <a:gd name="connsiteY8" fmla="*/ 553646 h 653469"/>
                  <a:gd name="connsiteX9" fmla="*/ 401148 w 550490"/>
                  <a:gd name="connsiteY9" fmla="*/ 505142 h 653469"/>
                  <a:gd name="connsiteX10" fmla="*/ 380317 w 550490"/>
                  <a:gd name="connsiteY10" fmla="*/ 458013 h 653469"/>
                  <a:gd name="connsiteX11" fmla="*/ 281660 w 550490"/>
                  <a:gd name="connsiteY11" fmla="*/ 457872 h 653469"/>
                  <a:gd name="connsiteX12" fmla="*/ 366606 w 550490"/>
                  <a:gd name="connsiteY12" fmla="*/ 505530 h 653469"/>
                  <a:gd name="connsiteX13" fmla="*/ 356772 w 550490"/>
                  <a:gd name="connsiteY13" fmla="*/ 528848 h 653469"/>
                  <a:gd name="connsiteX14" fmla="*/ 275950 w 550490"/>
                  <a:gd name="connsiteY14" fmla="*/ 605847 h 653469"/>
                  <a:gd name="connsiteX15" fmla="*/ 194635 w 550490"/>
                  <a:gd name="connsiteY15" fmla="*/ 528778 h 653469"/>
                  <a:gd name="connsiteX16" fmla="*/ 184484 w 550490"/>
                  <a:gd name="connsiteY16" fmla="*/ 505530 h 653469"/>
                  <a:gd name="connsiteX17" fmla="*/ 194635 w 550490"/>
                  <a:gd name="connsiteY17" fmla="*/ 482952 h 653469"/>
                  <a:gd name="connsiteX18" fmla="*/ 220260 w 550490"/>
                  <a:gd name="connsiteY18" fmla="*/ 473019 h 653469"/>
                  <a:gd name="connsiteX19" fmla="*/ 245602 w 550490"/>
                  <a:gd name="connsiteY19" fmla="*/ 482952 h 653469"/>
                  <a:gd name="connsiteX20" fmla="*/ 275527 w 550490"/>
                  <a:gd name="connsiteY20" fmla="*/ 511271 h 653469"/>
                  <a:gd name="connsiteX21" fmla="*/ 305417 w 550490"/>
                  <a:gd name="connsiteY21" fmla="*/ 482952 h 653469"/>
                  <a:gd name="connsiteX22" fmla="*/ 356525 w 550490"/>
                  <a:gd name="connsiteY22" fmla="*/ 483092 h 653469"/>
                  <a:gd name="connsiteX23" fmla="*/ 366571 w 550490"/>
                  <a:gd name="connsiteY23" fmla="*/ 505565 h 653469"/>
                  <a:gd name="connsiteX24" fmla="*/ 34542 w 550490"/>
                  <a:gd name="connsiteY24" fmla="*/ 577562 h 653469"/>
                  <a:gd name="connsiteX25" fmla="*/ 273977 w 550490"/>
                  <a:gd name="connsiteY25" fmla="*/ 319725 h 653469"/>
                  <a:gd name="connsiteX26" fmla="*/ 275563 w 550490"/>
                  <a:gd name="connsiteY26" fmla="*/ 319796 h 653469"/>
                  <a:gd name="connsiteX27" fmla="*/ 277184 w 550490"/>
                  <a:gd name="connsiteY27" fmla="*/ 319725 h 653469"/>
                  <a:gd name="connsiteX28" fmla="*/ 456275 w 550490"/>
                  <a:gd name="connsiteY28" fmla="*/ 400493 h 653469"/>
                  <a:gd name="connsiteX29" fmla="*/ 516583 w 550490"/>
                  <a:gd name="connsiteY29" fmla="*/ 577598 h 653469"/>
                  <a:gd name="connsiteX30" fmla="*/ 550491 w 550490"/>
                  <a:gd name="connsiteY30" fmla="*/ 560303 h 653469"/>
                  <a:gd name="connsiteX31" fmla="*/ 358464 w 550490"/>
                  <a:gd name="connsiteY31" fmla="*/ 296513 h 653469"/>
                  <a:gd name="connsiteX32" fmla="*/ 435620 w 550490"/>
                  <a:gd name="connsiteY32" fmla="*/ 159915 h 653469"/>
                  <a:gd name="connsiteX33" fmla="*/ 275563 w 550490"/>
                  <a:gd name="connsiteY33" fmla="*/ 0 h 653469"/>
                  <a:gd name="connsiteX34" fmla="*/ 115540 w 550490"/>
                  <a:gd name="connsiteY34" fmla="*/ 159915 h 653469"/>
                  <a:gd name="connsiteX35" fmla="*/ 192555 w 550490"/>
                  <a:gd name="connsiteY35" fmla="*/ 296442 h 653469"/>
                  <a:gd name="connsiteX36" fmla="*/ 0 w 550490"/>
                  <a:gd name="connsiteY36" fmla="*/ 577598 h 653469"/>
                  <a:gd name="connsiteX37" fmla="*/ 0 w 550490"/>
                  <a:gd name="connsiteY37" fmla="*/ 583550 h 653469"/>
                  <a:gd name="connsiteX38" fmla="*/ 33978 w 550490"/>
                  <a:gd name="connsiteY38" fmla="*/ 590102 h 653469"/>
                  <a:gd name="connsiteX39" fmla="*/ 34542 w 550490"/>
                  <a:gd name="connsiteY39" fmla="*/ 577633 h 653469"/>
                  <a:gd name="connsiteX40" fmla="*/ 34542 w 550490"/>
                  <a:gd name="connsiteY40" fmla="*/ 577562 h 653469"/>
                  <a:gd name="connsiteX41" fmla="*/ 150083 w 550490"/>
                  <a:gd name="connsiteY41" fmla="*/ 159880 h 653469"/>
                  <a:gd name="connsiteX42" fmla="*/ 275563 w 550490"/>
                  <a:gd name="connsiteY42" fmla="*/ 34484 h 653469"/>
                  <a:gd name="connsiteX43" fmla="*/ 401043 w 550490"/>
                  <a:gd name="connsiteY43" fmla="*/ 159880 h 653469"/>
                  <a:gd name="connsiteX44" fmla="*/ 277642 w 550490"/>
                  <a:gd name="connsiteY44" fmla="*/ 285206 h 653469"/>
                  <a:gd name="connsiteX45" fmla="*/ 275563 w 550490"/>
                  <a:gd name="connsiteY45" fmla="*/ 285171 h 653469"/>
                  <a:gd name="connsiteX46" fmla="*/ 273483 w 550490"/>
                  <a:gd name="connsiteY46" fmla="*/ 285206 h 653469"/>
                  <a:gd name="connsiteX47" fmla="*/ 150083 w 550490"/>
                  <a:gd name="connsiteY47" fmla="*/ 159880 h 65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50490" h="653469">
                    <a:moveTo>
                      <a:pt x="281660" y="457872"/>
                    </a:moveTo>
                    <a:lnTo>
                      <a:pt x="275563" y="463684"/>
                    </a:lnTo>
                    <a:lnTo>
                      <a:pt x="269571" y="458013"/>
                    </a:lnTo>
                    <a:cubicBezTo>
                      <a:pt x="242642" y="431913"/>
                      <a:pt x="198336" y="431842"/>
                      <a:pt x="171055" y="457731"/>
                    </a:cubicBezTo>
                    <a:cubicBezTo>
                      <a:pt x="157590" y="470236"/>
                      <a:pt x="150083" y="487143"/>
                      <a:pt x="149977" y="505283"/>
                    </a:cubicBezTo>
                    <a:cubicBezTo>
                      <a:pt x="149871" y="523670"/>
                      <a:pt x="157308" y="540894"/>
                      <a:pt x="170879" y="553786"/>
                    </a:cubicBezTo>
                    <a:lnTo>
                      <a:pt x="276021" y="653469"/>
                    </a:lnTo>
                    <a:lnTo>
                      <a:pt x="362623" y="570870"/>
                    </a:lnTo>
                    <a:lnTo>
                      <a:pt x="380776" y="553646"/>
                    </a:lnTo>
                    <a:cubicBezTo>
                      <a:pt x="394099" y="540683"/>
                      <a:pt x="401360" y="523494"/>
                      <a:pt x="401148" y="505142"/>
                    </a:cubicBezTo>
                    <a:cubicBezTo>
                      <a:pt x="400937" y="487037"/>
                      <a:pt x="393464" y="470165"/>
                      <a:pt x="380317" y="458013"/>
                    </a:cubicBezTo>
                    <a:cubicBezTo>
                      <a:pt x="353388" y="431913"/>
                      <a:pt x="309153" y="431842"/>
                      <a:pt x="281660" y="457872"/>
                    </a:cubicBezTo>
                    <a:moveTo>
                      <a:pt x="366606" y="505530"/>
                    </a:moveTo>
                    <a:cubicBezTo>
                      <a:pt x="366712" y="514301"/>
                      <a:pt x="363222" y="522543"/>
                      <a:pt x="356772" y="528848"/>
                    </a:cubicBezTo>
                    <a:lnTo>
                      <a:pt x="275950" y="605847"/>
                    </a:lnTo>
                    <a:lnTo>
                      <a:pt x="194635" y="528778"/>
                    </a:lnTo>
                    <a:cubicBezTo>
                      <a:pt x="188009" y="522508"/>
                      <a:pt x="184413" y="514265"/>
                      <a:pt x="184484" y="505530"/>
                    </a:cubicBezTo>
                    <a:cubicBezTo>
                      <a:pt x="184554" y="497006"/>
                      <a:pt x="188079" y="489045"/>
                      <a:pt x="194635" y="482952"/>
                    </a:cubicBezTo>
                    <a:cubicBezTo>
                      <a:pt x="201614" y="476330"/>
                      <a:pt x="210955" y="473019"/>
                      <a:pt x="220260" y="473019"/>
                    </a:cubicBezTo>
                    <a:cubicBezTo>
                      <a:pt x="229565" y="473019"/>
                      <a:pt x="238764" y="476330"/>
                      <a:pt x="245602" y="482952"/>
                    </a:cubicBezTo>
                    <a:lnTo>
                      <a:pt x="275527" y="511271"/>
                    </a:lnTo>
                    <a:lnTo>
                      <a:pt x="305417" y="482952"/>
                    </a:lnTo>
                    <a:cubicBezTo>
                      <a:pt x="319375" y="469743"/>
                      <a:pt x="342673" y="469637"/>
                      <a:pt x="356525" y="483092"/>
                    </a:cubicBezTo>
                    <a:cubicBezTo>
                      <a:pt x="362905" y="489010"/>
                      <a:pt x="366500" y="497006"/>
                      <a:pt x="366571" y="505565"/>
                    </a:cubicBezTo>
                    <a:moveTo>
                      <a:pt x="34542" y="577562"/>
                    </a:moveTo>
                    <a:cubicBezTo>
                      <a:pt x="34860" y="453575"/>
                      <a:pt x="109830" y="320570"/>
                      <a:pt x="273977" y="319725"/>
                    </a:cubicBezTo>
                    <a:cubicBezTo>
                      <a:pt x="274505" y="319725"/>
                      <a:pt x="275034" y="319796"/>
                      <a:pt x="275563" y="319796"/>
                    </a:cubicBezTo>
                    <a:cubicBezTo>
                      <a:pt x="276127" y="319796"/>
                      <a:pt x="276655" y="319725"/>
                      <a:pt x="277184" y="319725"/>
                    </a:cubicBezTo>
                    <a:cubicBezTo>
                      <a:pt x="351203" y="320113"/>
                      <a:pt x="413132" y="347975"/>
                      <a:pt x="456275" y="400493"/>
                    </a:cubicBezTo>
                    <a:cubicBezTo>
                      <a:pt x="494448" y="446918"/>
                      <a:pt x="516371" y="511447"/>
                      <a:pt x="516583" y="577598"/>
                    </a:cubicBezTo>
                    <a:lnTo>
                      <a:pt x="550491" y="560303"/>
                    </a:lnTo>
                    <a:cubicBezTo>
                      <a:pt x="543512" y="448080"/>
                      <a:pt x="480419" y="331948"/>
                      <a:pt x="358464" y="296513"/>
                    </a:cubicBezTo>
                    <a:cubicBezTo>
                      <a:pt x="404638" y="268475"/>
                      <a:pt x="435620" y="217894"/>
                      <a:pt x="435620" y="159915"/>
                    </a:cubicBezTo>
                    <a:cubicBezTo>
                      <a:pt x="435620" y="71610"/>
                      <a:pt x="363998" y="0"/>
                      <a:pt x="275563" y="0"/>
                    </a:cubicBezTo>
                    <a:cubicBezTo>
                      <a:pt x="187127" y="0"/>
                      <a:pt x="115540" y="71610"/>
                      <a:pt x="115540" y="159915"/>
                    </a:cubicBezTo>
                    <a:cubicBezTo>
                      <a:pt x="115540" y="217858"/>
                      <a:pt x="146452" y="268404"/>
                      <a:pt x="192555" y="296442"/>
                    </a:cubicBezTo>
                    <a:cubicBezTo>
                      <a:pt x="62811" y="333920"/>
                      <a:pt x="282" y="458999"/>
                      <a:pt x="0" y="577598"/>
                    </a:cubicBezTo>
                    <a:lnTo>
                      <a:pt x="0" y="583550"/>
                    </a:lnTo>
                    <a:lnTo>
                      <a:pt x="33978" y="590102"/>
                    </a:lnTo>
                    <a:lnTo>
                      <a:pt x="34542" y="577633"/>
                    </a:lnTo>
                    <a:lnTo>
                      <a:pt x="34542" y="577562"/>
                    </a:lnTo>
                    <a:close/>
                    <a:moveTo>
                      <a:pt x="150083" y="159880"/>
                    </a:moveTo>
                    <a:cubicBezTo>
                      <a:pt x="150083" y="90736"/>
                      <a:pt x="206372" y="34484"/>
                      <a:pt x="275563" y="34484"/>
                    </a:cubicBezTo>
                    <a:cubicBezTo>
                      <a:pt x="344753" y="34484"/>
                      <a:pt x="401043" y="90736"/>
                      <a:pt x="401043" y="159880"/>
                    </a:cubicBezTo>
                    <a:cubicBezTo>
                      <a:pt x="401043" y="229024"/>
                      <a:pt x="345845" y="284044"/>
                      <a:pt x="277642" y="285206"/>
                    </a:cubicBezTo>
                    <a:cubicBezTo>
                      <a:pt x="276937" y="285206"/>
                      <a:pt x="276268" y="285171"/>
                      <a:pt x="275563" y="285171"/>
                    </a:cubicBezTo>
                    <a:cubicBezTo>
                      <a:pt x="274858" y="285171"/>
                      <a:pt x="274188" y="285206"/>
                      <a:pt x="273483" y="285206"/>
                    </a:cubicBezTo>
                    <a:cubicBezTo>
                      <a:pt x="205245" y="284079"/>
                      <a:pt x="150083" y="228320"/>
                      <a:pt x="150083" y="159880"/>
                    </a:cubicBezTo>
                  </a:path>
                </a:pathLst>
              </a:custGeom>
              <a:solidFill>
                <a:srgbClr val="FFFFFF"/>
              </a:solidFill>
              <a:ln w="3521" cap="flat">
                <a:noFill/>
                <a:prstDash val="solid"/>
                <a:miter/>
              </a:ln>
            </p:spPr>
            <p:txBody>
              <a:bodyPr rtlCol="0" anchor="ctr"/>
              <a:lstStyle/>
              <a:p>
                <a:endParaRPr lang="de-DE"/>
              </a:p>
            </p:txBody>
          </p:sp>
          <p:sp>
            <p:nvSpPr>
              <p:cNvPr id="22" name="Freihandform 21">
                <a:extLst>
                  <a:ext uri="{FF2B5EF4-FFF2-40B4-BE49-F238E27FC236}">
                    <a16:creationId xmlns:a16="http://schemas.microsoft.com/office/drawing/2014/main" id="{1AC16F37-5ED3-2956-EEA3-08993EF1841C}"/>
                  </a:ext>
                </a:extLst>
              </p:cNvPr>
              <p:cNvSpPr/>
              <p:nvPr/>
            </p:nvSpPr>
            <p:spPr>
              <a:xfrm>
                <a:off x="8598303" y="4737472"/>
                <a:ext cx="438651" cy="492461"/>
              </a:xfrm>
              <a:custGeom>
                <a:avLst/>
                <a:gdLst>
                  <a:gd name="connsiteX0" fmla="*/ 0 w 438651"/>
                  <a:gd name="connsiteY0" fmla="*/ 116309 h 492461"/>
                  <a:gd name="connsiteX1" fmla="*/ 34754 w 438651"/>
                  <a:gd name="connsiteY1" fmla="*/ 170130 h 492461"/>
                  <a:gd name="connsiteX2" fmla="*/ 162913 w 438651"/>
                  <a:gd name="connsiteY2" fmla="*/ 87496 h 492461"/>
                  <a:gd name="connsiteX3" fmla="*/ 352049 w 438651"/>
                  <a:gd name="connsiteY3" fmla="*/ 361782 h 492461"/>
                  <a:gd name="connsiteX4" fmla="*/ 251277 w 438651"/>
                  <a:gd name="connsiteY4" fmla="*/ 442479 h 492461"/>
                  <a:gd name="connsiteX5" fmla="*/ 291353 w 438651"/>
                  <a:gd name="connsiteY5" fmla="*/ 492462 h 492461"/>
                  <a:gd name="connsiteX6" fmla="*/ 438651 w 438651"/>
                  <a:gd name="connsiteY6" fmla="*/ 374498 h 492461"/>
                  <a:gd name="connsiteX7" fmla="*/ 180430 w 438651"/>
                  <a:gd name="connsiteY7" fmla="*/ 0 h 492461"/>
                  <a:gd name="connsiteX8" fmla="*/ 0 w 438651"/>
                  <a:gd name="connsiteY8" fmla="*/ 116309 h 49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61">
                    <a:moveTo>
                      <a:pt x="0" y="116309"/>
                    </a:moveTo>
                    <a:lnTo>
                      <a:pt x="34754" y="170130"/>
                    </a:lnTo>
                    <a:lnTo>
                      <a:pt x="162913" y="87496"/>
                    </a:lnTo>
                    <a:lnTo>
                      <a:pt x="352049" y="361782"/>
                    </a:lnTo>
                    <a:lnTo>
                      <a:pt x="251277" y="442479"/>
                    </a:lnTo>
                    <a:lnTo>
                      <a:pt x="291353" y="492462"/>
                    </a:lnTo>
                    <a:lnTo>
                      <a:pt x="438651" y="374498"/>
                    </a:lnTo>
                    <a:lnTo>
                      <a:pt x="180430" y="0"/>
                    </a:lnTo>
                    <a:lnTo>
                      <a:pt x="0" y="116309"/>
                    </a:lnTo>
                    <a:close/>
                  </a:path>
                </a:pathLst>
              </a:custGeom>
              <a:solidFill>
                <a:srgbClr val="FFFFFF"/>
              </a:solidFill>
              <a:ln w="3521" cap="flat">
                <a:noFill/>
                <a:prstDash val="solid"/>
                <a:miter/>
              </a:ln>
            </p:spPr>
            <p:txBody>
              <a:bodyPr rtlCol="0" anchor="ctr"/>
              <a:lstStyle/>
              <a:p>
                <a:endParaRPr lang="de-DE"/>
              </a:p>
            </p:txBody>
          </p:sp>
          <p:sp>
            <p:nvSpPr>
              <p:cNvPr id="23" name="Freihandform 22">
                <a:extLst>
                  <a:ext uri="{FF2B5EF4-FFF2-40B4-BE49-F238E27FC236}">
                    <a16:creationId xmlns:a16="http://schemas.microsoft.com/office/drawing/2014/main" id="{6F37649B-EF4E-4ED6-B8A8-8A8ECBF238F7}"/>
                  </a:ext>
                </a:extLst>
              </p:cNvPr>
              <p:cNvSpPr/>
              <p:nvPr/>
            </p:nvSpPr>
            <p:spPr>
              <a:xfrm>
                <a:off x="8845598" y="4628413"/>
                <a:ext cx="563872" cy="266861"/>
              </a:xfrm>
              <a:custGeom>
                <a:avLst/>
                <a:gdLst>
                  <a:gd name="connsiteX0" fmla="*/ 61259 w 563872"/>
                  <a:gd name="connsiteY0" fmla="*/ 170384 h 266861"/>
                  <a:gd name="connsiteX1" fmla="*/ 176624 w 563872"/>
                  <a:gd name="connsiteY1" fmla="*/ 83381 h 266861"/>
                  <a:gd name="connsiteX2" fmla="*/ 323851 w 563872"/>
                  <a:gd name="connsiteY2" fmla="*/ 84332 h 266861"/>
                  <a:gd name="connsiteX3" fmla="*/ 407634 w 563872"/>
                  <a:gd name="connsiteY3" fmla="*/ 110468 h 266861"/>
                  <a:gd name="connsiteX4" fmla="*/ 498360 w 563872"/>
                  <a:gd name="connsiteY4" fmla="*/ 156083 h 266861"/>
                  <a:gd name="connsiteX5" fmla="*/ 493002 w 563872"/>
                  <a:gd name="connsiteY5" fmla="*/ 186305 h 266861"/>
                  <a:gd name="connsiteX6" fmla="*/ 429452 w 563872"/>
                  <a:gd name="connsiteY6" fmla="*/ 202402 h 266861"/>
                  <a:gd name="connsiteX7" fmla="*/ 269782 w 563872"/>
                  <a:gd name="connsiteY7" fmla="*/ 167319 h 266861"/>
                  <a:gd name="connsiteX8" fmla="*/ 238729 w 563872"/>
                  <a:gd name="connsiteY8" fmla="*/ 159394 h 266861"/>
                  <a:gd name="connsiteX9" fmla="*/ 222833 w 563872"/>
                  <a:gd name="connsiteY9" fmla="*/ 221423 h 266861"/>
                  <a:gd name="connsiteX10" fmla="*/ 253885 w 563872"/>
                  <a:gd name="connsiteY10" fmla="*/ 229348 h 266861"/>
                  <a:gd name="connsiteX11" fmla="*/ 424940 w 563872"/>
                  <a:gd name="connsiteY11" fmla="*/ 266262 h 266861"/>
                  <a:gd name="connsiteX12" fmla="*/ 441683 w 563872"/>
                  <a:gd name="connsiteY12" fmla="*/ 266861 h 266861"/>
                  <a:gd name="connsiteX13" fmla="*/ 542349 w 563872"/>
                  <a:gd name="connsiteY13" fmla="*/ 227129 h 266861"/>
                  <a:gd name="connsiteX14" fmla="*/ 560325 w 563872"/>
                  <a:gd name="connsiteY14" fmla="*/ 139739 h 266861"/>
                  <a:gd name="connsiteX15" fmla="*/ 425010 w 563872"/>
                  <a:gd name="connsiteY15" fmla="*/ 48862 h 266861"/>
                  <a:gd name="connsiteX16" fmla="*/ 345740 w 563872"/>
                  <a:gd name="connsiteY16" fmla="*/ 24170 h 266861"/>
                  <a:gd name="connsiteX17" fmla="*/ 141341 w 563872"/>
                  <a:gd name="connsiteY17" fmla="*/ 29912 h 266861"/>
                  <a:gd name="connsiteX18" fmla="*/ 20866 w 563872"/>
                  <a:gd name="connsiteY18" fmla="*/ 120613 h 266861"/>
                  <a:gd name="connsiteX19" fmla="*/ 0 w 563872"/>
                  <a:gd name="connsiteY19" fmla="*/ 137485 h 266861"/>
                  <a:gd name="connsiteX20" fmla="*/ 36305 w 563872"/>
                  <a:gd name="connsiteY20" fmla="*/ 190532 h 266861"/>
                  <a:gd name="connsiteX21" fmla="*/ 61189 w 563872"/>
                  <a:gd name="connsiteY21" fmla="*/ 170384 h 266861"/>
                  <a:gd name="connsiteX22" fmla="*/ 61260 w 563872"/>
                  <a:gd name="connsiteY22" fmla="*/ 170384 h 26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861">
                    <a:moveTo>
                      <a:pt x="61259"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4" y="198844"/>
                      <a:pt x="460117" y="204516"/>
                      <a:pt x="429452" y="202402"/>
                    </a:cubicBezTo>
                    <a:cubicBezTo>
                      <a:pt x="406752" y="200817"/>
                      <a:pt x="319445" y="180035"/>
                      <a:pt x="269782" y="167319"/>
                    </a:cubicBezTo>
                    <a:lnTo>
                      <a:pt x="238729" y="159394"/>
                    </a:lnTo>
                    <a:lnTo>
                      <a:pt x="222833" y="221423"/>
                    </a:lnTo>
                    <a:lnTo>
                      <a:pt x="253885" y="229348"/>
                    </a:lnTo>
                    <a:cubicBezTo>
                      <a:pt x="267632" y="232871"/>
                      <a:pt x="389058" y="263726"/>
                      <a:pt x="424940" y="266262"/>
                    </a:cubicBezTo>
                    <a:cubicBezTo>
                      <a:pt x="430756" y="266685"/>
                      <a:pt x="436325" y="266861"/>
                      <a:pt x="441683" y="266861"/>
                    </a:cubicBezTo>
                    <a:cubicBezTo>
                      <a:pt x="497162" y="266861"/>
                      <a:pt x="526910" y="245762"/>
                      <a:pt x="542349" y="227129"/>
                    </a:cubicBezTo>
                    <a:cubicBezTo>
                      <a:pt x="562122" y="203247"/>
                      <a:pt x="568678" y="171405"/>
                      <a:pt x="560325" y="139739"/>
                    </a:cubicBezTo>
                    <a:cubicBezTo>
                      <a:pt x="545274" y="82747"/>
                      <a:pt x="489548" y="67038"/>
                      <a:pt x="425010" y="48862"/>
                    </a:cubicBezTo>
                    <a:cubicBezTo>
                      <a:pt x="401183" y="42134"/>
                      <a:pt x="374184" y="34526"/>
                      <a:pt x="345740" y="24170"/>
                    </a:cubicBezTo>
                    <a:cubicBezTo>
                      <a:pt x="252687" y="-9679"/>
                      <a:pt x="199182" y="-8165"/>
                      <a:pt x="141341" y="29912"/>
                    </a:cubicBezTo>
                    <a:cubicBezTo>
                      <a:pt x="96753" y="59253"/>
                      <a:pt x="23968" y="118147"/>
                      <a:pt x="20866" y="120613"/>
                    </a:cubicBezTo>
                    <a:lnTo>
                      <a:pt x="0" y="137485"/>
                    </a:lnTo>
                    <a:lnTo>
                      <a:pt x="36305" y="190532"/>
                    </a:lnTo>
                    <a:lnTo>
                      <a:pt x="61189" y="170384"/>
                    </a:lnTo>
                    <a:lnTo>
                      <a:pt x="61260" y="170384"/>
                    </a:lnTo>
                    <a:close/>
                  </a:path>
                </a:pathLst>
              </a:custGeom>
              <a:solidFill>
                <a:srgbClr val="FFFFFF"/>
              </a:solidFill>
              <a:ln w="3521" cap="flat">
                <a:noFill/>
                <a:prstDash val="solid"/>
                <a:miter/>
              </a:ln>
            </p:spPr>
            <p:txBody>
              <a:bodyPr rtlCol="0" anchor="ctr"/>
              <a:lstStyle/>
              <a:p>
                <a:endParaRPr lang="de-DE"/>
              </a:p>
            </p:txBody>
          </p:sp>
          <p:sp>
            <p:nvSpPr>
              <p:cNvPr id="24" name="Freihandform 23">
                <a:extLst>
                  <a:ext uri="{FF2B5EF4-FFF2-40B4-BE49-F238E27FC236}">
                    <a16:creationId xmlns:a16="http://schemas.microsoft.com/office/drawing/2014/main" id="{73989EF4-220F-5107-A60A-1E93B1097657}"/>
                  </a:ext>
                </a:extLst>
              </p:cNvPr>
              <p:cNvSpPr/>
              <p:nvPr/>
            </p:nvSpPr>
            <p:spPr>
              <a:xfrm>
                <a:off x="9009603" y="4586682"/>
                <a:ext cx="799690" cy="477173"/>
              </a:xfrm>
              <a:custGeom>
                <a:avLst/>
                <a:gdLst>
                  <a:gd name="connsiteX0" fmla="*/ 786647 w 799690"/>
                  <a:gd name="connsiteY0" fmla="*/ 43323 h 477173"/>
                  <a:gd name="connsiteX1" fmla="*/ 581861 w 799690"/>
                  <a:gd name="connsiteY1" fmla="*/ 51002 h 477173"/>
                  <a:gd name="connsiteX2" fmla="*/ 550420 w 799690"/>
                  <a:gd name="connsiteY2" fmla="*/ 67557 h 477173"/>
                  <a:gd name="connsiteX3" fmla="*/ 550702 w 799690"/>
                  <a:gd name="connsiteY3" fmla="*/ 68121 h 477173"/>
                  <a:gd name="connsiteX4" fmla="*/ 444185 w 799690"/>
                  <a:gd name="connsiteY4" fmla="*/ 126663 h 477173"/>
                  <a:gd name="connsiteX5" fmla="*/ 422720 w 799690"/>
                  <a:gd name="connsiteY5" fmla="*/ 138674 h 477173"/>
                  <a:gd name="connsiteX6" fmla="*/ 446265 w 799690"/>
                  <a:gd name="connsiteY6" fmla="*/ 199012 h 477173"/>
                  <a:gd name="connsiteX7" fmla="*/ 475485 w 799690"/>
                  <a:gd name="connsiteY7" fmla="*/ 182527 h 477173"/>
                  <a:gd name="connsiteX8" fmla="*/ 578583 w 799690"/>
                  <a:gd name="connsiteY8" fmla="*/ 125077 h 477173"/>
                  <a:gd name="connsiteX9" fmla="*/ 580028 w 799690"/>
                  <a:gd name="connsiteY9" fmla="*/ 124338 h 477173"/>
                  <a:gd name="connsiteX10" fmla="*/ 611891 w 799690"/>
                  <a:gd name="connsiteY10" fmla="*/ 107536 h 477173"/>
                  <a:gd name="connsiteX11" fmla="*/ 731837 w 799690"/>
                  <a:gd name="connsiteY11" fmla="*/ 76539 h 477173"/>
                  <a:gd name="connsiteX12" fmla="*/ 703287 w 799690"/>
                  <a:gd name="connsiteY12" fmla="*/ 148043 h 477173"/>
                  <a:gd name="connsiteX13" fmla="*/ 397377 w 799690"/>
                  <a:gd name="connsiteY13" fmla="*/ 359773 h 477173"/>
                  <a:gd name="connsiteX14" fmla="*/ 278735 w 799690"/>
                  <a:gd name="connsiteY14" fmla="*/ 412643 h 477173"/>
                  <a:gd name="connsiteX15" fmla="*/ 110676 w 799690"/>
                  <a:gd name="connsiteY15" fmla="*/ 375025 h 477173"/>
                  <a:gd name="connsiteX16" fmla="*/ 99750 w 799690"/>
                  <a:gd name="connsiteY16" fmla="*/ 372171 h 477173"/>
                  <a:gd name="connsiteX17" fmla="*/ 0 w 799690"/>
                  <a:gd name="connsiteY17" fmla="*/ 416518 h 477173"/>
                  <a:gd name="connsiteX18" fmla="*/ 36869 w 799690"/>
                  <a:gd name="connsiteY18" fmla="*/ 470692 h 477173"/>
                  <a:gd name="connsiteX19" fmla="*/ 105495 w 799690"/>
                  <a:gd name="connsiteY19" fmla="*/ 439801 h 477173"/>
                  <a:gd name="connsiteX20" fmla="*/ 271756 w 799690"/>
                  <a:gd name="connsiteY20" fmla="*/ 476257 h 477173"/>
                  <a:gd name="connsiteX21" fmla="*/ 288111 w 799690"/>
                  <a:gd name="connsiteY21" fmla="*/ 477173 h 477173"/>
                  <a:gd name="connsiteX22" fmla="*/ 435268 w 799690"/>
                  <a:gd name="connsiteY22" fmla="*/ 411375 h 477173"/>
                  <a:gd name="connsiteX23" fmla="*/ 737336 w 799690"/>
                  <a:gd name="connsiteY23" fmla="*/ 202253 h 477173"/>
                  <a:gd name="connsiteX24" fmla="*/ 786612 w 799690"/>
                  <a:gd name="connsiteY24" fmla="*/ 43253 h 477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173">
                    <a:moveTo>
                      <a:pt x="786647" y="43323"/>
                    </a:moveTo>
                    <a:cubicBezTo>
                      <a:pt x="740226" y="-33077"/>
                      <a:pt x="666842" y="5881"/>
                      <a:pt x="581861" y="51002"/>
                    </a:cubicBezTo>
                    <a:cubicBezTo>
                      <a:pt x="571921" y="56286"/>
                      <a:pt x="561452" y="61851"/>
                      <a:pt x="550420" y="67557"/>
                    </a:cubicBezTo>
                    <a:lnTo>
                      <a:pt x="550702" y="68121"/>
                    </a:lnTo>
                    <a:cubicBezTo>
                      <a:pt x="537872" y="74250"/>
                      <a:pt x="510838" y="89361"/>
                      <a:pt x="444185" y="126663"/>
                    </a:cubicBezTo>
                    <a:lnTo>
                      <a:pt x="422720" y="138674"/>
                    </a:lnTo>
                    <a:lnTo>
                      <a:pt x="446265" y="199012"/>
                    </a:lnTo>
                    <a:lnTo>
                      <a:pt x="475485" y="182527"/>
                    </a:lnTo>
                    <a:cubicBezTo>
                      <a:pt x="511366" y="162450"/>
                      <a:pt x="569066" y="130220"/>
                      <a:pt x="578583" y="125077"/>
                    </a:cubicBezTo>
                    <a:lnTo>
                      <a:pt x="580028" y="124338"/>
                    </a:lnTo>
                    <a:cubicBezTo>
                      <a:pt x="591201" y="118526"/>
                      <a:pt x="601811" y="112890"/>
                      <a:pt x="611891" y="107536"/>
                    </a:cubicBezTo>
                    <a:cubicBezTo>
                      <a:pt x="707129" y="56955"/>
                      <a:pt x="719677" y="56497"/>
                      <a:pt x="731837" y="76539"/>
                    </a:cubicBezTo>
                    <a:cubicBezTo>
                      <a:pt x="736807" y="84746"/>
                      <a:pt x="742376" y="123528"/>
                      <a:pt x="703287" y="148043"/>
                    </a:cubicBezTo>
                    <a:cubicBezTo>
                      <a:pt x="680271" y="162485"/>
                      <a:pt x="434386" y="332650"/>
                      <a:pt x="397377" y="359773"/>
                    </a:cubicBezTo>
                    <a:cubicBezTo>
                      <a:pt x="338162" y="403168"/>
                      <a:pt x="309329" y="415990"/>
                      <a:pt x="278735" y="412643"/>
                    </a:cubicBezTo>
                    <a:cubicBezTo>
                      <a:pt x="244757" y="408910"/>
                      <a:pt x="145888" y="384218"/>
                      <a:pt x="110676" y="375025"/>
                    </a:cubicBezTo>
                    <a:lnTo>
                      <a:pt x="99750" y="372171"/>
                    </a:lnTo>
                    <a:lnTo>
                      <a:pt x="0" y="416518"/>
                    </a:lnTo>
                    <a:lnTo>
                      <a:pt x="36869" y="470692"/>
                    </a:lnTo>
                    <a:lnTo>
                      <a:pt x="105495" y="439801"/>
                    </a:lnTo>
                    <a:cubicBezTo>
                      <a:pt x="138134" y="448149"/>
                      <a:pt x="233477" y="472066"/>
                      <a:pt x="271756" y="476257"/>
                    </a:cubicBezTo>
                    <a:cubicBezTo>
                      <a:pt x="277290" y="476856"/>
                      <a:pt x="282718" y="477173"/>
                      <a:pt x="288111" y="477173"/>
                    </a:cubicBezTo>
                    <a:cubicBezTo>
                      <a:pt x="335835" y="477173"/>
                      <a:pt x="377956" y="453397"/>
                      <a:pt x="435268" y="411375"/>
                    </a:cubicBezTo>
                    <a:cubicBezTo>
                      <a:pt x="474744" y="382457"/>
                      <a:pt x="718796" y="213876"/>
                      <a:pt x="737336" y="202253"/>
                    </a:cubicBezTo>
                    <a:cubicBezTo>
                      <a:pt x="806280" y="159068"/>
                      <a:pt x="810262" y="82140"/>
                      <a:pt x="786612" y="43253"/>
                    </a:cubicBezTo>
                  </a:path>
                </a:pathLst>
              </a:custGeom>
              <a:solidFill>
                <a:srgbClr val="FFFFFF"/>
              </a:solidFill>
              <a:ln w="3521" cap="flat">
                <a:noFill/>
                <a:prstDash val="solid"/>
                <a:miter/>
              </a:ln>
            </p:spPr>
            <p:txBody>
              <a:bodyPr rtlCol="0" anchor="ctr"/>
              <a:lstStyle/>
              <a:p>
                <a:endParaRPr lang="de-DE"/>
              </a:p>
            </p:txBody>
          </p:sp>
        </p:grpSp>
        <p:grpSp>
          <p:nvGrpSpPr>
            <p:cNvPr id="16" name="Gruppieren 15">
              <a:extLst>
                <a:ext uri="{FF2B5EF4-FFF2-40B4-BE49-F238E27FC236}">
                  <a16:creationId xmlns:a16="http://schemas.microsoft.com/office/drawing/2014/main" id="{EA4E58E2-1C50-D743-51E5-FBCEFA12D5A7}"/>
                </a:ext>
              </a:extLst>
            </p:cNvPr>
            <p:cNvGrpSpPr/>
            <p:nvPr/>
          </p:nvGrpSpPr>
          <p:grpSpPr>
            <a:xfrm>
              <a:off x="6434690" y="4019650"/>
              <a:ext cx="1210919" cy="1210284"/>
              <a:chOff x="6434690" y="4019650"/>
              <a:chExt cx="1210919" cy="1210284"/>
            </a:xfrm>
          </p:grpSpPr>
          <p:sp>
            <p:nvSpPr>
              <p:cNvPr id="17" name="Freihandform 16">
                <a:extLst>
                  <a:ext uri="{FF2B5EF4-FFF2-40B4-BE49-F238E27FC236}">
                    <a16:creationId xmlns:a16="http://schemas.microsoft.com/office/drawing/2014/main" id="{048429ED-C64B-02FD-B32A-B800A108677F}"/>
                  </a:ext>
                </a:extLst>
              </p:cNvPr>
              <p:cNvSpPr/>
              <p:nvPr/>
            </p:nvSpPr>
            <p:spPr>
              <a:xfrm>
                <a:off x="6821387" y="4019650"/>
                <a:ext cx="624662" cy="594610"/>
              </a:xfrm>
              <a:custGeom>
                <a:avLst/>
                <a:gdLst>
                  <a:gd name="connsiteX0" fmla="*/ 505480 w 624662"/>
                  <a:gd name="connsiteY0" fmla="*/ 320183 h 594610"/>
                  <a:gd name="connsiteX1" fmla="*/ 347044 w 624662"/>
                  <a:gd name="connsiteY1" fmla="*/ 478548 h 594610"/>
                  <a:gd name="connsiteX2" fmla="*/ 188608 w 624662"/>
                  <a:gd name="connsiteY2" fmla="*/ 320183 h 594610"/>
                  <a:gd name="connsiteX3" fmla="*/ 347044 w 624662"/>
                  <a:gd name="connsiteY3" fmla="*/ 161817 h 594610"/>
                  <a:gd name="connsiteX4" fmla="*/ 505480 w 624662"/>
                  <a:gd name="connsiteY4" fmla="*/ 320183 h 594610"/>
                  <a:gd name="connsiteX5" fmla="*/ 298685 w 624662"/>
                  <a:gd name="connsiteY5" fmla="*/ 259669 h 594610"/>
                  <a:gd name="connsiteX6" fmla="*/ 395368 w 624662"/>
                  <a:gd name="connsiteY6" fmla="*/ 259669 h 594610"/>
                  <a:gd name="connsiteX7" fmla="*/ 377321 w 624662"/>
                  <a:gd name="connsiteY7" fmla="*/ 199859 h 594610"/>
                  <a:gd name="connsiteX8" fmla="*/ 347009 w 624662"/>
                  <a:gd name="connsiteY8" fmla="*/ 195984 h 594610"/>
                  <a:gd name="connsiteX9" fmla="*/ 316696 w 624662"/>
                  <a:gd name="connsiteY9" fmla="*/ 199859 h 594610"/>
                  <a:gd name="connsiteX10" fmla="*/ 298649 w 624662"/>
                  <a:gd name="connsiteY10" fmla="*/ 259669 h 594610"/>
                  <a:gd name="connsiteX11" fmla="*/ 273342 w 624662"/>
                  <a:gd name="connsiteY11" fmla="*/ 359352 h 594610"/>
                  <a:gd name="connsiteX12" fmla="*/ 271298 w 624662"/>
                  <a:gd name="connsiteY12" fmla="*/ 321803 h 594610"/>
                  <a:gd name="connsiteX13" fmla="*/ 273730 w 624662"/>
                  <a:gd name="connsiteY13" fmla="*/ 281014 h 594610"/>
                  <a:gd name="connsiteX14" fmla="*/ 229212 w 624662"/>
                  <a:gd name="connsiteY14" fmla="*/ 281014 h 594610"/>
                  <a:gd name="connsiteX15" fmla="*/ 222762 w 624662"/>
                  <a:gd name="connsiteY15" fmla="*/ 320183 h 594610"/>
                  <a:gd name="connsiteX16" fmla="*/ 229212 w 624662"/>
                  <a:gd name="connsiteY16" fmla="*/ 359352 h 594610"/>
                  <a:gd name="connsiteX17" fmla="*/ 273342 w 624662"/>
                  <a:gd name="connsiteY17" fmla="*/ 359352 h 594610"/>
                  <a:gd name="connsiteX18" fmla="*/ 288604 w 624662"/>
                  <a:gd name="connsiteY18" fmla="*/ 429729 h 594610"/>
                  <a:gd name="connsiteX19" fmla="*/ 276373 w 624662"/>
                  <a:gd name="connsiteY19" fmla="*/ 380697 h 594610"/>
                  <a:gd name="connsiteX20" fmla="*/ 238623 w 624662"/>
                  <a:gd name="connsiteY20" fmla="*/ 380697 h 594610"/>
                  <a:gd name="connsiteX21" fmla="*/ 288604 w 624662"/>
                  <a:gd name="connsiteY21" fmla="*/ 429729 h 594610"/>
                  <a:gd name="connsiteX22" fmla="*/ 289943 w 624662"/>
                  <a:gd name="connsiteY22" fmla="*/ 210003 h 594610"/>
                  <a:gd name="connsiteX23" fmla="*/ 238623 w 624662"/>
                  <a:gd name="connsiteY23" fmla="*/ 259669 h 594610"/>
                  <a:gd name="connsiteX24" fmla="*/ 276972 w 624662"/>
                  <a:gd name="connsiteY24" fmla="*/ 259669 h 594610"/>
                  <a:gd name="connsiteX25" fmla="*/ 289943 w 624662"/>
                  <a:gd name="connsiteY25" fmla="*/ 210003 h 594610"/>
                  <a:gd name="connsiteX26" fmla="*/ 396037 w 624662"/>
                  <a:gd name="connsiteY26" fmla="*/ 380697 h 594610"/>
                  <a:gd name="connsiteX27" fmla="*/ 298085 w 624662"/>
                  <a:gd name="connsiteY27" fmla="*/ 380697 h 594610"/>
                  <a:gd name="connsiteX28" fmla="*/ 315216 w 624662"/>
                  <a:gd name="connsiteY28" fmla="*/ 440084 h 594610"/>
                  <a:gd name="connsiteX29" fmla="*/ 347044 w 624662"/>
                  <a:gd name="connsiteY29" fmla="*/ 444381 h 594610"/>
                  <a:gd name="connsiteX30" fmla="*/ 378907 w 624662"/>
                  <a:gd name="connsiteY30" fmla="*/ 440084 h 594610"/>
                  <a:gd name="connsiteX31" fmla="*/ 396037 w 624662"/>
                  <a:gd name="connsiteY31" fmla="*/ 380697 h 594610"/>
                  <a:gd name="connsiteX32" fmla="*/ 401430 w 624662"/>
                  <a:gd name="connsiteY32" fmla="*/ 321803 h 594610"/>
                  <a:gd name="connsiteX33" fmla="*/ 398787 w 624662"/>
                  <a:gd name="connsiteY33" fmla="*/ 281014 h 594610"/>
                  <a:gd name="connsiteX34" fmla="*/ 295266 w 624662"/>
                  <a:gd name="connsiteY34" fmla="*/ 281014 h 594610"/>
                  <a:gd name="connsiteX35" fmla="*/ 292622 w 624662"/>
                  <a:gd name="connsiteY35" fmla="*/ 321803 h 594610"/>
                  <a:gd name="connsiteX36" fmla="*/ 294843 w 624662"/>
                  <a:gd name="connsiteY36" fmla="*/ 359352 h 594610"/>
                  <a:gd name="connsiteX37" fmla="*/ 399210 w 624662"/>
                  <a:gd name="connsiteY37" fmla="*/ 359352 h 594610"/>
                  <a:gd name="connsiteX38" fmla="*/ 401430 w 624662"/>
                  <a:gd name="connsiteY38" fmla="*/ 321803 h 594610"/>
                  <a:gd name="connsiteX39" fmla="*/ 404144 w 624662"/>
                  <a:gd name="connsiteY39" fmla="*/ 210003 h 594610"/>
                  <a:gd name="connsiteX40" fmla="*/ 417115 w 624662"/>
                  <a:gd name="connsiteY40" fmla="*/ 259669 h 594610"/>
                  <a:gd name="connsiteX41" fmla="*/ 455464 w 624662"/>
                  <a:gd name="connsiteY41" fmla="*/ 259669 h 594610"/>
                  <a:gd name="connsiteX42" fmla="*/ 404144 w 624662"/>
                  <a:gd name="connsiteY42" fmla="*/ 210003 h 594610"/>
                  <a:gd name="connsiteX43" fmla="*/ 455464 w 624662"/>
                  <a:gd name="connsiteY43" fmla="*/ 380697 h 594610"/>
                  <a:gd name="connsiteX44" fmla="*/ 417714 w 624662"/>
                  <a:gd name="connsiteY44" fmla="*/ 380697 h 594610"/>
                  <a:gd name="connsiteX45" fmla="*/ 405484 w 624662"/>
                  <a:gd name="connsiteY45" fmla="*/ 429729 h 594610"/>
                  <a:gd name="connsiteX46" fmla="*/ 455429 w 624662"/>
                  <a:gd name="connsiteY46" fmla="*/ 380697 h 594610"/>
                  <a:gd name="connsiteX47" fmla="*/ 464875 w 624662"/>
                  <a:gd name="connsiteY47" fmla="*/ 359352 h 594610"/>
                  <a:gd name="connsiteX48" fmla="*/ 471325 w 624662"/>
                  <a:gd name="connsiteY48" fmla="*/ 320183 h 594610"/>
                  <a:gd name="connsiteX49" fmla="*/ 464875 w 624662"/>
                  <a:gd name="connsiteY49" fmla="*/ 281014 h 594610"/>
                  <a:gd name="connsiteX50" fmla="*/ 420358 w 624662"/>
                  <a:gd name="connsiteY50" fmla="*/ 281014 h 594610"/>
                  <a:gd name="connsiteX51" fmla="*/ 422790 w 624662"/>
                  <a:gd name="connsiteY51" fmla="*/ 321803 h 594610"/>
                  <a:gd name="connsiteX52" fmla="*/ 420746 w 624662"/>
                  <a:gd name="connsiteY52" fmla="*/ 359352 h 594610"/>
                  <a:gd name="connsiteX53" fmla="*/ 464875 w 624662"/>
                  <a:gd name="connsiteY53" fmla="*/ 359352 h 594610"/>
                  <a:gd name="connsiteX54" fmla="*/ 73667 w 624662"/>
                  <a:gd name="connsiteY54" fmla="*/ 297429 h 594610"/>
                  <a:gd name="connsiteX55" fmla="*/ 139544 w 624662"/>
                  <a:gd name="connsiteY55" fmla="*/ 508453 h 594610"/>
                  <a:gd name="connsiteX56" fmla="*/ 340911 w 624662"/>
                  <a:gd name="connsiteY56" fmla="*/ 594610 h 594610"/>
                  <a:gd name="connsiteX57" fmla="*/ 363293 w 624662"/>
                  <a:gd name="connsiteY57" fmla="*/ 593800 h 594610"/>
                  <a:gd name="connsiteX58" fmla="*/ 380352 w 624662"/>
                  <a:gd name="connsiteY58" fmla="*/ 592532 h 594610"/>
                  <a:gd name="connsiteX59" fmla="*/ 377850 w 624662"/>
                  <a:gd name="connsiteY59" fmla="*/ 558471 h 594610"/>
                  <a:gd name="connsiteX60" fmla="*/ 360790 w 624662"/>
                  <a:gd name="connsiteY60" fmla="*/ 559704 h 594610"/>
                  <a:gd name="connsiteX61" fmla="*/ 164851 w 624662"/>
                  <a:gd name="connsiteY61" fmla="*/ 485523 h 594610"/>
                  <a:gd name="connsiteX62" fmla="*/ 107257 w 624662"/>
                  <a:gd name="connsiteY62" fmla="*/ 305917 h 594610"/>
                  <a:gd name="connsiteX63" fmla="*/ 142575 w 624662"/>
                  <a:gd name="connsiteY63" fmla="*/ 357907 h 594610"/>
                  <a:gd name="connsiteX64" fmla="*/ 170878 w 624662"/>
                  <a:gd name="connsiteY64" fmla="*/ 338675 h 594610"/>
                  <a:gd name="connsiteX65" fmla="*/ 101723 w 624662"/>
                  <a:gd name="connsiteY65" fmla="*/ 236985 h 594610"/>
                  <a:gd name="connsiteX66" fmla="*/ 0 w 624662"/>
                  <a:gd name="connsiteY66" fmla="*/ 306094 h 594610"/>
                  <a:gd name="connsiteX67" fmla="*/ 19245 w 624662"/>
                  <a:gd name="connsiteY67" fmla="*/ 334413 h 594610"/>
                  <a:gd name="connsiteX68" fmla="*/ 73667 w 624662"/>
                  <a:gd name="connsiteY68" fmla="*/ 297464 h 594610"/>
                  <a:gd name="connsiteX69" fmla="*/ 73667 w 624662"/>
                  <a:gd name="connsiteY69" fmla="*/ 297429 h 594610"/>
                  <a:gd name="connsiteX70" fmla="*/ 167530 w 624662"/>
                  <a:gd name="connsiteY70" fmla="*/ 150757 h 594610"/>
                  <a:gd name="connsiteX71" fmla="*/ 177082 w 624662"/>
                  <a:gd name="connsiteY71" fmla="*/ 141634 h 594610"/>
                  <a:gd name="connsiteX72" fmla="*/ 458636 w 624662"/>
                  <a:gd name="connsiteY72" fmla="*/ 103170 h 594610"/>
                  <a:gd name="connsiteX73" fmla="*/ 397483 w 624662"/>
                  <a:gd name="connsiteY73" fmla="*/ 125009 h 594610"/>
                  <a:gd name="connsiteX74" fmla="*/ 409008 w 624662"/>
                  <a:gd name="connsiteY74" fmla="*/ 157203 h 594610"/>
                  <a:gd name="connsiteX75" fmla="*/ 524831 w 624662"/>
                  <a:gd name="connsiteY75" fmla="*/ 115745 h 594610"/>
                  <a:gd name="connsiteX76" fmla="*/ 483380 w 624662"/>
                  <a:gd name="connsiteY76" fmla="*/ 0 h 594610"/>
                  <a:gd name="connsiteX77" fmla="*/ 451129 w 624662"/>
                  <a:gd name="connsiteY77" fmla="*/ 11518 h 594610"/>
                  <a:gd name="connsiteX78" fmla="*/ 472806 w 624662"/>
                  <a:gd name="connsiteY78" fmla="*/ 72032 h 594610"/>
                  <a:gd name="connsiteX79" fmla="*/ 154136 w 624662"/>
                  <a:gd name="connsiteY79" fmla="*/ 116273 h 594610"/>
                  <a:gd name="connsiteX80" fmla="*/ 143350 w 624662"/>
                  <a:gd name="connsiteY80" fmla="*/ 126559 h 594610"/>
                  <a:gd name="connsiteX81" fmla="*/ 131296 w 624662"/>
                  <a:gd name="connsiteY81" fmla="*/ 138640 h 594610"/>
                  <a:gd name="connsiteX82" fmla="*/ 155475 w 624662"/>
                  <a:gd name="connsiteY82" fmla="*/ 162769 h 594610"/>
                  <a:gd name="connsiteX83" fmla="*/ 167530 w 624662"/>
                  <a:gd name="connsiteY83" fmla="*/ 150687 h 594610"/>
                  <a:gd name="connsiteX84" fmla="*/ 167530 w 624662"/>
                  <a:gd name="connsiteY84" fmla="*/ 150757 h 594610"/>
                  <a:gd name="connsiteX85" fmla="*/ 508652 w 624662"/>
                  <a:gd name="connsiteY85" fmla="*/ 506833 h 594610"/>
                  <a:gd name="connsiteX86" fmla="*/ 508370 w 624662"/>
                  <a:gd name="connsiteY86" fmla="*/ 507080 h 594610"/>
                  <a:gd name="connsiteX87" fmla="*/ 513270 w 624662"/>
                  <a:gd name="connsiteY87" fmla="*/ 442656 h 594610"/>
                  <a:gd name="connsiteX88" fmla="*/ 479115 w 624662"/>
                  <a:gd name="connsiteY88" fmla="*/ 440084 h 594610"/>
                  <a:gd name="connsiteX89" fmla="*/ 469880 w 624662"/>
                  <a:gd name="connsiteY89" fmla="*/ 562698 h 594610"/>
                  <a:gd name="connsiteX90" fmla="*/ 592541 w 624662"/>
                  <a:gd name="connsiteY90" fmla="*/ 571926 h 594610"/>
                  <a:gd name="connsiteX91" fmla="*/ 595114 w 624662"/>
                  <a:gd name="connsiteY91" fmla="*/ 537795 h 594610"/>
                  <a:gd name="connsiteX92" fmla="*/ 530682 w 624662"/>
                  <a:gd name="connsiteY92" fmla="*/ 532969 h 594610"/>
                  <a:gd name="connsiteX93" fmla="*/ 531633 w 624662"/>
                  <a:gd name="connsiteY93" fmla="*/ 532159 h 594610"/>
                  <a:gd name="connsiteX94" fmla="*/ 599731 w 624662"/>
                  <a:gd name="connsiteY94" fmla="*/ 201937 h 594610"/>
                  <a:gd name="connsiteX95" fmla="*/ 592893 w 624662"/>
                  <a:gd name="connsiteY95" fmla="*/ 186298 h 594610"/>
                  <a:gd name="connsiteX96" fmla="*/ 561594 w 624662"/>
                  <a:gd name="connsiteY96" fmla="*/ 200000 h 594610"/>
                  <a:gd name="connsiteX97" fmla="*/ 568431 w 624662"/>
                  <a:gd name="connsiteY97" fmla="*/ 215639 h 594610"/>
                  <a:gd name="connsiteX98" fmla="*/ 508687 w 624662"/>
                  <a:gd name="connsiteY98" fmla="*/ 506868 h 59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624662" h="594610">
                    <a:moveTo>
                      <a:pt x="505480" y="320183"/>
                    </a:moveTo>
                    <a:cubicBezTo>
                      <a:pt x="505480" y="407502"/>
                      <a:pt x="434422" y="478548"/>
                      <a:pt x="347044" y="478548"/>
                    </a:cubicBezTo>
                    <a:cubicBezTo>
                      <a:pt x="259666" y="478548"/>
                      <a:pt x="188608" y="407502"/>
                      <a:pt x="188608" y="320183"/>
                    </a:cubicBezTo>
                    <a:cubicBezTo>
                      <a:pt x="188608" y="232863"/>
                      <a:pt x="259666" y="161817"/>
                      <a:pt x="347044" y="161817"/>
                    </a:cubicBezTo>
                    <a:cubicBezTo>
                      <a:pt x="434422" y="161817"/>
                      <a:pt x="505480" y="232863"/>
                      <a:pt x="505480" y="320183"/>
                    </a:cubicBezTo>
                    <a:moveTo>
                      <a:pt x="298685" y="259669"/>
                    </a:moveTo>
                    <a:lnTo>
                      <a:pt x="395368" y="259669"/>
                    </a:lnTo>
                    <a:cubicBezTo>
                      <a:pt x="391350" y="238887"/>
                      <a:pt x="385287" y="218774"/>
                      <a:pt x="377321" y="199859"/>
                    </a:cubicBezTo>
                    <a:cubicBezTo>
                      <a:pt x="367593" y="197393"/>
                      <a:pt x="357512" y="195984"/>
                      <a:pt x="347009" y="195984"/>
                    </a:cubicBezTo>
                    <a:cubicBezTo>
                      <a:pt x="336505" y="195984"/>
                      <a:pt x="326424" y="197429"/>
                      <a:pt x="316696" y="199859"/>
                    </a:cubicBezTo>
                    <a:cubicBezTo>
                      <a:pt x="308695" y="218774"/>
                      <a:pt x="302668" y="238852"/>
                      <a:pt x="298649" y="259669"/>
                    </a:cubicBezTo>
                    <a:moveTo>
                      <a:pt x="273342" y="359352"/>
                    </a:moveTo>
                    <a:cubicBezTo>
                      <a:pt x="272003" y="346953"/>
                      <a:pt x="271298" y="334413"/>
                      <a:pt x="271298" y="321803"/>
                    </a:cubicBezTo>
                    <a:cubicBezTo>
                      <a:pt x="271298" y="308101"/>
                      <a:pt x="272179" y="294470"/>
                      <a:pt x="273730" y="281014"/>
                    </a:cubicBezTo>
                    <a:lnTo>
                      <a:pt x="229212" y="281014"/>
                    </a:lnTo>
                    <a:cubicBezTo>
                      <a:pt x="225089" y="293342"/>
                      <a:pt x="222762" y="306481"/>
                      <a:pt x="222762" y="320183"/>
                    </a:cubicBezTo>
                    <a:cubicBezTo>
                      <a:pt x="222762" y="333885"/>
                      <a:pt x="225089" y="347023"/>
                      <a:pt x="229212" y="359352"/>
                    </a:cubicBezTo>
                    <a:lnTo>
                      <a:pt x="273342" y="359352"/>
                    </a:lnTo>
                    <a:close/>
                    <a:moveTo>
                      <a:pt x="288604" y="429729"/>
                    </a:moveTo>
                    <a:cubicBezTo>
                      <a:pt x="283317" y="413913"/>
                      <a:pt x="279263" y="397499"/>
                      <a:pt x="276373" y="380697"/>
                    </a:cubicBezTo>
                    <a:lnTo>
                      <a:pt x="238623" y="380697"/>
                    </a:lnTo>
                    <a:cubicBezTo>
                      <a:pt x="250255" y="401409"/>
                      <a:pt x="267597" y="418492"/>
                      <a:pt x="288604" y="429729"/>
                    </a:cubicBezTo>
                    <a:moveTo>
                      <a:pt x="289943" y="210003"/>
                    </a:moveTo>
                    <a:cubicBezTo>
                      <a:pt x="268372" y="221204"/>
                      <a:pt x="250502" y="238534"/>
                      <a:pt x="238623" y="259669"/>
                    </a:cubicBezTo>
                    <a:lnTo>
                      <a:pt x="276972" y="259669"/>
                    </a:lnTo>
                    <a:cubicBezTo>
                      <a:pt x="280074" y="242621"/>
                      <a:pt x="284374" y="225995"/>
                      <a:pt x="289943" y="210003"/>
                    </a:cubicBezTo>
                    <a:moveTo>
                      <a:pt x="396037" y="380697"/>
                    </a:moveTo>
                    <a:lnTo>
                      <a:pt x="298085" y="380697"/>
                    </a:lnTo>
                    <a:cubicBezTo>
                      <a:pt x="301857" y="401303"/>
                      <a:pt x="307567" y="421275"/>
                      <a:pt x="315216" y="440084"/>
                    </a:cubicBezTo>
                    <a:cubicBezTo>
                      <a:pt x="325402" y="442797"/>
                      <a:pt x="336011" y="444381"/>
                      <a:pt x="347044" y="444381"/>
                    </a:cubicBezTo>
                    <a:cubicBezTo>
                      <a:pt x="358076" y="444381"/>
                      <a:pt x="368721" y="442797"/>
                      <a:pt x="378907" y="440084"/>
                    </a:cubicBezTo>
                    <a:cubicBezTo>
                      <a:pt x="386521" y="421275"/>
                      <a:pt x="392266" y="401303"/>
                      <a:pt x="396037" y="380697"/>
                    </a:cubicBezTo>
                    <a:moveTo>
                      <a:pt x="401430" y="321803"/>
                    </a:moveTo>
                    <a:cubicBezTo>
                      <a:pt x="401430" y="308066"/>
                      <a:pt x="400479" y="294434"/>
                      <a:pt x="398787" y="281014"/>
                    </a:cubicBezTo>
                    <a:lnTo>
                      <a:pt x="295266" y="281014"/>
                    </a:lnTo>
                    <a:cubicBezTo>
                      <a:pt x="293574" y="294434"/>
                      <a:pt x="292622" y="308066"/>
                      <a:pt x="292622" y="321803"/>
                    </a:cubicBezTo>
                    <a:cubicBezTo>
                      <a:pt x="292622" y="334413"/>
                      <a:pt x="293433" y="346953"/>
                      <a:pt x="294843" y="359352"/>
                    </a:cubicBezTo>
                    <a:lnTo>
                      <a:pt x="399210" y="359352"/>
                    </a:lnTo>
                    <a:cubicBezTo>
                      <a:pt x="400620" y="346953"/>
                      <a:pt x="401430" y="334413"/>
                      <a:pt x="401430" y="321803"/>
                    </a:cubicBezTo>
                    <a:moveTo>
                      <a:pt x="404144" y="210003"/>
                    </a:moveTo>
                    <a:cubicBezTo>
                      <a:pt x="409713" y="225995"/>
                      <a:pt x="414049" y="242656"/>
                      <a:pt x="417115" y="259669"/>
                    </a:cubicBezTo>
                    <a:lnTo>
                      <a:pt x="455464" y="259669"/>
                    </a:lnTo>
                    <a:cubicBezTo>
                      <a:pt x="443586" y="238499"/>
                      <a:pt x="425716" y="221204"/>
                      <a:pt x="404144" y="210003"/>
                    </a:cubicBezTo>
                    <a:moveTo>
                      <a:pt x="455464" y="380697"/>
                    </a:moveTo>
                    <a:lnTo>
                      <a:pt x="417714" y="380697"/>
                    </a:lnTo>
                    <a:cubicBezTo>
                      <a:pt x="414824" y="397499"/>
                      <a:pt x="410771" y="413913"/>
                      <a:pt x="405484" y="429729"/>
                    </a:cubicBezTo>
                    <a:cubicBezTo>
                      <a:pt x="426456" y="418492"/>
                      <a:pt x="443833" y="401444"/>
                      <a:pt x="455429" y="380697"/>
                    </a:cubicBezTo>
                    <a:moveTo>
                      <a:pt x="464875" y="359352"/>
                    </a:moveTo>
                    <a:cubicBezTo>
                      <a:pt x="468999" y="347023"/>
                      <a:pt x="471325" y="333885"/>
                      <a:pt x="471325" y="320183"/>
                    </a:cubicBezTo>
                    <a:cubicBezTo>
                      <a:pt x="471325" y="306481"/>
                      <a:pt x="468999" y="293342"/>
                      <a:pt x="464875" y="281014"/>
                    </a:cubicBezTo>
                    <a:lnTo>
                      <a:pt x="420358" y="281014"/>
                    </a:lnTo>
                    <a:cubicBezTo>
                      <a:pt x="421944" y="294470"/>
                      <a:pt x="422790" y="308066"/>
                      <a:pt x="422790" y="321803"/>
                    </a:cubicBezTo>
                    <a:cubicBezTo>
                      <a:pt x="422790" y="334413"/>
                      <a:pt x="422085" y="346953"/>
                      <a:pt x="420746" y="359352"/>
                    </a:cubicBezTo>
                    <a:lnTo>
                      <a:pt x="464875" y="359352"/>
                    </a:lnTo>
                    <a:close/>
                    <a:moveTo>
                      <a:pt x="73667" y="297429"/>
                    </a:moveTo>
                    <a:cubicBezTo>
                      <a:pt x="65313" y="376470"/>
                      <a:pt x="88929" y="452659"/>
                      <a:pt x="139544" y="508453"/>
                    </a:cubicBezTo>
                    <a:cubicBezTo>
                      <a:pt x="189806" y="563860"/>
                      <a:pt x="262239" y="594610"/>
                      <a:pt x="340911" y="594610"/>
                    </a:cubicBezTo>
                    <a:cubicBezTo>
                      <a:pt x="348313" y="594610"/>
                      <a:pt x="355785" y="594329"/>
                      <a:pt x="363293" y="593800"/>
                    </a:cubicBezTo>
                    <a:lnTo>
                      <a:pt x="380352" y="592532"/>
                    </a:lnTo>
                    <a:lnTo>
                      <a:pt x="377850" y="558471"/>
                    </a:lnTo>
                    <a:lnTo>
                      <a:pt x="360790" y="559704"/>
                    </a:lnTo>
                    <a:cubicBezTo>
                      <a:pt x="284092" y="565304"/>
                      <a:pt x="212717" y="538288"/>
                      <a:pt x="164851" y="485523"/>
                    </a:cubicBezTo>
                    <a:cubicBezTo>
                      <a:pt x="121850" y="438147"/>
                      <a:pt x="101371" y="373547"/>
                      <a:pt x="107257" y="305917"/>
                    </a:cubicBezTo>
                    <a:lnTo>
                      <a:pt x="142575" y="357907"/>
                    </a:lnTo>
                    <a:lnTo>
                      <a:pt x="170878" y="338675"/>
                    </a:lnTo>
                    <a:lnTo>
                      <a:pt x="101723" y="236985"/>
                    </a:lnTo>
                    <a:lnTo>
                      <a:pt x="0" y="306094"/>
                    </a:lnTo>
                    <a:lnTo>
                      <a:pt x="19245" y="334413"/>
                    </a:lnTo>
                    <a:lnTo>
                      <a:pt x="73667" y="297464"/>
                    </a:lnTo>
                    <a:lnTo>
                      <a:pt x="73667" y="297429"/>
                    </a:lnTo>
                    <a:close/>
                    <a:moveTo>
                      <a:pt x="167530" y="150757"/>
                    </a:moveTo>
                    <a:cubicBezTo>
                      <a:pt x="170632" y="147657"/>
                      <a:pt x="173804" y="144628"/>
                      <a:pt x="177082" y="141634"/>
                    </a:cubicBezTo>
                    <a:cubicBezTo>
                      <a:pt x="253322" y="72525"/>
                      <a:pt x="364632" y="57943"/>
                      <a:pt x="458636" y="103170"/>
                    </a:cubicBezTo>
                    <a:lnTo>
                      <a:pt x="397483" y="125009"/>
                    </a:lnTo>
                    <a:lnTo>
                      <a:pt x="409008" y="157203"/>
                    </a:lnTo>
                    <a:lnTo>
                      <a:pt x="524831" y="115745"/>
                    </a:lnTo>
                    <a:lnTo>
                      <a:pt x="483380" y="0"/>
                    </a:lnTo>
                    <a:lnTo>
                      <a:pt x="451129" y="11518"/>
                    </a:lnTo>
                    <a:lnTo>
                      <a:pt x="472806" y="72032"/>
                    </a:lnTo>
                    <a:cubicBezTo>
                      <a:pt x="366500" y="21169"/>
                      <a:pt x="240562" y="37936"/>
                      <a:pt x="154136" y="116273"/>
                    </a:cubicBezTo>
                    <a:cubicBezTo>
                      <a:pt x="150435" y="119620"/>
                      <a:pt x="146840" y="123071"/>
                      <a:pt x="143350" y="126559"/>
                    </a:cubicBezTo>
                    <a:lnTo>
                      <a:pt x="131296" y="138640"/>
                    </a:lnTo>
                    <a:lnTo>
                      <a:pt x="155475" y="162769"/>
                    </a:lnTo>
                    <a:lnTo>
                      <a:pt x="167530" y="150687"/>
                    </a:lnTo>
                    <a:lnTo>
                      <a:pt x="167530" y="150757"/>
                    </a:lnTo>
                    <a:close/>
                    <a:moveTo>
                      <a:pt x="508652" y="506833"/>
                    </a:moveTo>
                    <a:cubicBezTo>
                      <a:pt x="508652" y="506833"/>
                      <a:pt x="508441" y="507009"/>
                      <a:pt x="508370" y="507080"/>
                    </a:cubicBezTo>
                    <a:lnTo>
                      <a:pt x="513270" y="442656"/>
                    </a:lnTo>
                    <a:lnTo>
                      <a:pt x="479115" y="440084"/>
                    </a:lnTo>
                    <a:lnTo>
                      <a:pt x="469880" y="562698"/>
                    </a:lnTo>
                    <a:lnTo>
                      <a:pt x="592541" y="571926"/>
                    </a:lnTo>
                    <a:lnTo>
                      <a:pt x="595114" y="537795"/>
                    </a:lnTo>
                    <a:lnTo>
                      <a:pt x="530682" y="532969"/>
                    </a:lnTo>
                    <a:cubicBezTo>
                      <a:pt x="530999" y="532687"/>
                      <a:pt x="531316" y="532441"/>
                      <a:pt x="531633" y="532159"/>
                    </a:cubicBezTo>
                    <a:cubicBezTo>
                      <a:pt x="622677" y="449665"/>
                      <a:pt x="650029" y="316942"/>
                      <a:pt x="599731" y="201937"/>
                    </a:cubicBezTo>
                    <a:lnTo>
                      <a:pt x="592893" y="186298"/>
                    </a:lnTo>
                    <a:lnTo>
                      <a:pt x="561594" y="200000"/>
                    </a:lnTo>
                    <a:lnTo>
                      <a:pt x="568431" y="215639"/>
                    </a:lnTo>
                    <a:cubicBezTo>
                      <a:pt x="612878" y="317189"/>
                      <a:pt x="588840" y="434237"/>
                      <a:pt x="508687" y="506868"/>
                    </a:cubicBezTo>
                  </a:path>
                </a:pathLst>
              </a:custGeom>
              <a:solidFill>
                <a:srgbClr val="FFFFFF"/>
              </a:solidFill>
              <a:ln w="3521" cap="flat">
                <a:noFill/>
                <a:prstDash val="solid"/>
                <a:miter/>
              </a:ln>
            </p:spPr>
            <p:txBody>
              <a:bodyPr rtlCol="0" anchor="ctr"/>
              <a:lstStyle/>
              <a:p>
                <a:endParaRPr lang="de-DE"/>
              </a:p>
            </p:txBody>
          </p:sp>
          <p:sp>
            <p:nvSpPr>
              <p:cNvPr id="18" name="Freihandform 17">
                <a:extLst>
                  <a:ext uri="{FF2B5EF4-FFF2-40B4-BE49-F238E27FC236}">
                    <a16:creationId xmlns:a16="http://schemas.microsoft.com/office/drawing/2014/main" id="{F1E477D7-180E-2F57-9024-045DA5093FC4}"/>
                  </a:ext>
                </a:extLst>
              </p:cNvPr>
              <p:cNvSpPr/>
              <p:nvPr/>
            </p:nvSpPr>
            <p:spPr>
              <a:xfrm>
                <a:off x="6434690" y="4737437"/>
                <a:ext cx="438651" cy="492497"/>
              </a:xfrm>
              <a:custGeom>
                <a:avLst/>
                <a:gdLst>
                  <a:gd name="connsiteX0" fmla="*/ 0 w 438651"/>
                  <a:gd name="connsiteY0" fmla="*/ 116344 h 492497"/>
                  <a:gd name="connsiteX1" fmla="*/ 34719 w 438651"/>
                  <a:gd name="connsiteY1" fmla="*/ 170165 h 492497"/>
                  <a:gd name="connsiteX2" fmla="*/ 162913 w 438651"/>
                  <a:gd name="connsiteY2" fmla="*/ 87496 h 492497"/>
                  <a:gd name="connsiteX3" fmla="*/ 352049 w 438651"/>
                  <a:gd name="connsiteY3" fmla="*/ 361817 h 492497"/>
                  <a:gd name="connsiteX4" fmla="*/ 251277 w 438651"/>
                  <a:gd name="connsiteY4" fmla="*/ 442515 h 492497"/>
                  <a:gd name="connsiteX5" fmla="*/ 291353 w 438651"/>
                  <a:gd name="connsiteY5" fmla="*/ 492497 h 492497"/>
                  <a:gd name="connsiteX6" fmla="*/ 438651 w 438651"/>
                  <a:gd name="connsiteY6" fmla="*/ 374533 h 492497"/>
                  <a:gd name="connsiteX7" fmla="*/ 180395 w 438651"/>
                  <a:gd name="connsiteY7" fmla="*/ 0 h 492497"/>
                  <a:gd name="connsiteX8" fmla="*/ 0 w 438651"/>
                  <a:gd name="connsiteY8" fmla="*/ 116344 h 49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651" h="492497">
                    <a:moveTo>
                      <a:pt x="0" y="116344"/>
                    </a:moveTo>
                    <a:lnTo>
                      <a:pt x="34719" y="170165"/>
                    </a:lnTo>
                    <a:lnTo>
                      <a:pt x="162913" y="87496"/>
                    </a:lnTo>
                    <a:lnTo>
                      <a:pt x="352049" y="361817"/>
                    </a:lnTo>
                    <a:lnTo>
                      <a:pt x="251277" y="442515"/>
                    </a:lnTo>
                    <a:lnTo>
                      <a:pt x="291353" y="492497"/>
                    </a:lnTo>
                    <a:lnTo>
                      <a:pt x="438651" y="374533"/>
                    </a:lnTo>
                    <a:lnTo>
                      <a:pt x="180395" y="0"/>
                    </a:lnTo>
                    <a:lnTo>
                      <a:pt x="0" y="116344"/>
                    </a:lnTo>
                    <a:close/>
                  </a:path>
                </a:pathLst>
              </a:custGeom>
              <a:solidFill>
                <a:srgbClr val="FFFFFF"/>
              </a:solidFill>
              <a:ln w="3521" cap="flat">
                <a:noFill/>
                <a:prstDash val="solid"/>
                <a:miter/>
              </a:ln>
            </p:spPr>
            <p:txBody>
              <a:bodyPr rtlCol="0" anchor="ctr"/>
              <a:lstStyle/>
              <a:p>
                <a:endParaRPr lang="de-DE"/>
              </a:p>
            </p:txBody>
          </p:sp>
          <p:sp>
            <p:nvSpPr>
              <p:cNvPr id="19" name="Freihandform 18">
                <a:extLst>
                  <a:ext uri="{FF2B5EF4-FFF2-40B4-BE49-F238E27FC236}">
                    <a16:creationId xmlns:a16="http://schemas.microsoft.com/office/drawing/2014/main" id="{3966EDCB-0139-D250-B54D-6437886FCD3A}"/>
                  </a:ext>
                </a:extLst>
              </p:cNvPr>
              <p:cNvSpPr/>
              <p:nvPr/>
            </p:nvSpPr>
            <p:spPr>
              <a:xfrm>
                <a:off x="6681984" y="4628378"/>
                <a:ext cx="563872" cy="266931"/>
              </a:xfrm>
              <a:custGeom>
                <a:avLst/>
                <a:gdLst>
                  <a:gd name="connsiteX0" fmla="*/ 61260 w 563872"/>
                  <a:gd name="connsiteY0" fmla="*/ 170384 h 266931"/>
                  <a:gd name="connsiteX1" fmla="*/ 176624 w 563872"/>
                  <a:gd name="connsiteY1" fmla="*/ 83381 h 266931"/>
                  <a:gd name="connsiteX2" fmla="*/ 323851 w 563872"/>
                  <a:gd name="connsiteY2" fmla="*/ 84332 h 266931"/>
                  <a:gd name="connsiteX3" fmla="*/ 407634 w 563872"/>
                  <a:gd name="connsiteY3" fmla="*/ 110468 h 266931"/>
                  <a:gd name="connsiteX4" fmla="*/ 498360 w 563872"/>
                  <a:gd name="connsiteY4" fmla="*/ 156083 h 266931"/>
                  <a:gd name="connsiteX5" fmla="*/ 493002 w 563872"/>
                  <a:gd name="connsiteY5" fmla="*/ 186305 h 266931"/>
                  <a:gd name="connsiteX6" fmla="*/ 429452 w 563872"/>
                  <a:gd name="connsiteY6" fmla="*/ 202402 h 266931"/>
                  <a:gd name="connsiteX7" fmla="*/ 269782 w 563872"/>
                  <a:gd name="connsiteY7" fmla="*/ 167319 h 266931"/>
                  <a:gd name="connsiteX8" fmla="*/ 238729 w 563872"/>
                  <a:gd name="connsiteY8" fmla="*/ 159394 h 266931"/>
                  <a:gd name="connsiteX9" fmla="*/ 222833 w 563872"/>
                  <a:gd name="connsiteY9" fmla="*/ 221458 h 266931"/>
                  <a:gd name="connsiteX10" fmla="*/ 253886 w 563872"/>
                  <a:gd name="connsiteY10" fmla="*/ 229383 h 266931"/>
                  <a:gd name="connsiteX11" fmla="*/ 424940 w 563872"/>
                  <a:gd name="connsiteY11" fmla="*/ 266333 h 266931"/>
                  <a:gd name="connsiteX12" fmla="*/ 441683 w 563872"/>
                  <a:gd name="connsiteY12" fmla="*/ 266932 h 266931"/>
                  <a:gd name="connsiteX13" fmla="*/ 542349 w 563872"/>
                  <a:gd name="connsiteY13" fmla="*/ 227164 h 266931"/>
                  <a:gd name="connsiteX14" fmla="*/ 560325 w 563872"/>
                  <a:gd name="connsiteY14" fmla="*/ 139739 h 266931"/>
                  <a:gd name="connsiteX15" fmla="*/ 425011 w 563872"/>
                  <a:gd name="connsiteY15" fmla="*/ 48862 h 266931"/>
                  <a:gd name="connsiteX16" fmla="*/ 345740 w 563872"/>
                  <a:gd name="connsiteY16" fmla="*/ 24170 h 266931"/>
                  <a:gd name="connsiteX17" fmla="*/ 141341 w 563872"/>
                  <a:gd name="connsiteY17" fmla="*/ 29912 h 266931"/>
                  <a:gd name="connsiteX18" fmla="*/ 20866 w 563872"/>
                  <a:gd name="connsiteY18" fmla="*/ 120648 h 266931"/>
                  <a:gd name="connsiteX19" fmla="*/ 0 w 563872"/>
                  <a:gd name="connsiteY19" fmla="*/ 137520 h 266931"/>
                  <a:gd name="connsiteX20" fmla="*/ 36305 w 563872"/>
                  <a:gd name="connsiteY20" fmla="*/ 190567 h 266931"/>
                  <a:gd name="connsiteX21" fmla="*/ 61189 w 563872"/>
                  <a:gd name="connsiteY21" fmla="*/ 170419 h 266931"/>
                  <a:gd name="connsiteX22" fmla="*/ 61260 w 563872"/>
                  <a:gd name="connsiteY22" fmla="*/ 170384 h 26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63872" h="266931">
                    <a:moveTo>
                      <a:pt x="61260" y="170384"/>
                    </a:moveTo>
                    <a:cubicBezTo>
                      <a:pt x="62000" y="169785"/>
                      <a:pt x="134644" y="111032"/>
                      <a:pt x="176624" y="83381"/>
                    </a:cubicBezTo>
                    <a:cubicBezTo>
                      <a:pt x="207712" y="62916"/>
                      <a:pt x="234746" y="51962"/>
                      <a:pt x="323851" y="84332"/>
                    </a:cubicBezTo>
                    <a:cubicBezTo>
                      <a:pt x="354551" y="95498"/>
                      <a:pt x="382749" y="103459"/>
                      <a:pt x="407634" y="110468"/>
                    </a:cubicBezTo>
                    <a:cubicBezTo>
                      <a:pt x="463501" y="126213"/>
                      <a:pt x="492932" y="135407"/>
                      <a:pt x="498360" y="156083"/>
                    </a:cubicBezTo>
                    <a:cubicBezTo>
                      <a:pt x="499805" y="161507"/>
                      <a:pt x="502131" y="175280"/>
                      <a:pt x="493002" y="186305"/>
                    </a:cubicBezTo>
                    <a:cubicBezTo>
                      <a:pt x="482605" y="198845"/>
                      <a:pt x="460117" y="204516"/>
                      <a:pt x="429452" y="202402"/>
                    </a:cubicBezTo>
                    <a:cubicBezTo>
                      <a:pt x="406753" y="200782"/>
                      <a:pt x="319445" y="180035"/>
                      <a:pt x="269782" y="167319"/>
                    </a:cubicBezTo>
                    <a:lnTo>
                      <a:pt x="238729" y="159394"/>
                    </a:lnTo>
                    <a:lnTo>
                      <a:pt x="222833" y="221458"/>
                    </a:lnTo>
                    <a:lnTo>
                      <a:pt x="253886" y="229383"/>
                    </a:lnTo>
                    <a:cubicBezTo>
                      <a:pt x="267632" y="232906"/>
                      <a:pt x="389059" y="263797"/>
                      <a:pt x="424940" y="266333"/>
                    </a:cubicBezTo>
                    <a:cubicBezTo>
                      <a:pt x="430756" y="266756"/>
                      <a:pt x="436325" y="266932"/>
                      <a:pt x="441683" y="266932"/>
                    </a:cubicBezTo>
                    <a:cubicBezTo>
                      <a:pt x="497162" y="266932"/>
                      <a:pt x="526910" y="245833"/>
                      <a:pt x="542349" y="227164"/>
                    </a:cubicBezTo>
                    <a:cubicBezTo>
                      <a:pt x="562122" y="203283"/>
                      <a:pt x="568678" y="171405"/>
                      <a:pt x="560325" y="139739"/>
                    </a:cubicBezTo>
                    <a:cubicBezTo>
                      <a:pt x="545274" y="82747"/>
                      <a:pt x="489548" y="67038"/>
                      <a:pt x="425011" y="48862"/>
                    </a:cubicBezTo>
                    <a:cubicBezTo>
                      <a:pt x="401184" y="42134"/>
                      <a:pt x="374184" y="34526"/>
                      <a:pt x="345740" y="24170"/>
                    </a:cubicBezTo>
                    <a:cubicBezTo>
                      <a:pt x="252687" y="-9679"/>
                      <a:pt x="199182" y="-8165"/>
                      <a:pt x="141341" y="29912"/>
                    </a:cubicBezTo>
                    <a:cubicBezTo>
                      <a:pt x="96754" y="59253"/>
                      <a:pt x="23968" y="118147"/>
                      <a:pt x="20866" y="120648"/>
                    </a:cubicBezTo>
                    <a:lnTo>
                      <a:pt x="0" y="137520"/>
                    </a:lnTo>
                    <a:lnTo>
                      <a:pt x="36305" y="190567"/>
                    </a:lnTo>
                    <a:lnTo>
                      <a:pt x="61189" y="170419"/>
                    </a:lnTo>
                    <a:lnTo>
                      <a:pt x="61260" y="170384"/>
                    </a:lnTo>
                    <a:close/>
                  </a:path>
                </a:pathLst>
              </a:custGeom>
              <a:solidFill>
                <a:srgbClr val="FFFFFF"/>
              </a:solidFill>
              <a:ln w="3521" cap="flat">
                <a:noFill/>
                <a:prstDash val="solid"/>
                <a:miter/>
              </a:ln>
            </p:spPr>
            <p:txBody>
              <a:bodyPr rtlCol="0" anchor="ctr"/>
              <a:lstStyle/>
              <a:p>
                <a:endParaRPr lang="de-DE"/>
              </a:p>
            </p:txBody>
          </p:sp>
          <p:sp>
            <p:nvSpPr>
              <p:cNvPr id="20" name="Freihandform 19">
                <a:extLst>
                  <a:ext uri="{FF2B5EF4-FFF2-40B4-BE49-F238E27FC236}">
                    <a16:creationId xmlns:a16="http://schemas.microsoft.com/office/drawing/2014/main" id="{02D246A3-ADCF-52A0-FB04-08548F1678F6}"/>
                  </a:ext>
                </a:extLst>
              </p:cNvPr>
              <p:cNvSpPr/>
              <p:nvPr/>
            </p:nvSpPr>
            <p:spPr>
              <a:xfrm>
                <a:off x="6845919" y="4586596"/>
                <a:ext cx="799690" cy="477328"/>
              </a:xfrm>
              <a:custGeom>
                <a:avLst/>
                <a:gdLst>
                  <a:gd name="connsiteX0" fmla="*/ 786717 w 799690"/>
                  <a:gd name="connsiteY0" fmla="*/ 43338 h 477328"/>
                  <a:gd name="connsiteX1" fmla="*/ 581931 w 799690"/>
                  <a:gd name="connsiteY1" fmla="*/ 51017 h 477328"/>
                  <a:gd name="connsiteX2" fmla="*/ 550491 w 799690"/>
                  <a:gd name="connsiteY2" fmla="*/ 67572 h 477328"/>
                  <a:gd name="connsiteX3" fmla="*/ 550773 w 799690"/>
                  <a:gd name="connsiteY3" fmla="*/ 68136 h 477328"/>
                  <a:gd name="connsiteX4" fmla="*/ 444256 w 799690"/>
                  <a:gd name="connsiteY4" fmla="*/ 126677 h 477328"/>
                  <a:gd name="connsiteX5" fmla="*/ 422825 w 799690"/>
                  <a:gd name="connsiteY5" fmla="*/ 138689 h 477328"/>
                  <a:gd name="connsiteX6" fmla="*/ 446370 w 799690"/>
                  <a:gd name="connsiteY6" fmla="*/ 199062 h 477328"/>
                  <a:gd name="connsiteX7" fmla="*/ 475590 w 799690"/>
                  <a:gd name="connsiteY7" fmla="*/ 182577 h 477328"/>
                  <a:gd name="connsiteX8" fmla="*/ 578688 w 799690"/>
                  <a:gd name="connsiteY8" fmla="*/ 125128 h 477328"/>
                  <a:gd name="connsiteX9" fmla="*/ 580098 w 799690"/>
                  <a:gd name="connsiteY9" fmla="*/ 124388 h 477328"/>
                  <a:gd name="connsiteX10" fmla="*/ 611962 w 799690"/>
                  <a:gd name="connsiteY10" fmla="*/ 107586 h 477328"/>
                  <a:gd name="connsiteX11" fmla="*/ 731908 w 799690"/>
                  <a:gd name="connsiteY11" fmla="*/ 76590 h 477328"/>
                  <a:gd name="connsiteX12" fmla="*/ 703358 w 799690"/>
                  <a:gd name="connsiteY12" fmla="*/ 148094 h 477328"/>
                  <a:gd name="connsiteX13" fmla="*/ 397412 w 799690"/>
                  <a:gd name="connsiteY13" fmla="*/ 359858 h 477328"/>
                  <a:gd name="connsiteX14" fmla="*/ 278770 w 799690"/>
                  <a:gd name="connsiteY14" fmla="*/ 412729 h 477328"/>
                  <a:gd name="connsiteX15" fmla="*/ 110711 w 799690"/>
                  <a:gd name="connsiteY15" fmla="*/ 375110 h 477328"/>
                  <a:gd name="connsiteX16" fmla="*/ 99750 w 799690"/>
                  <a:gd name="connsiteY16" fmla="*/ 372257 h 477328"/>
                  <a:gd name="connsiteX17" fmla="*/ 0 w 799690"/>
                  <a:gd name="connsiteY17" fmla="*/ 416639 h 477328"/>
                  <a:gd name="connsiteX18" fmla="*/ 36869 w 799690"/>
                  <a:gd name="connsiteY18" fmla="*/ 470813 h 477328"/>
                  <a:gd name="connsiteX19" fmla="*/ 105495 w 799690"/>
                  <a:gd name="connsiteY19" fmla="*/ 439921 h 477328"/>
                  <a:gd name="connsiteX20" fmla="*/ 271756 w 799690"/>
                  <a:gd name="connsiteY20" fmla="*/ 476413 h 477328"/>
                  <a:gd name="connsiteX21" fmla="*/ 288111 w 799690"/>
                  <a:gd name="connsiteY21" fmla="*/ 477329 h 477328"/>
                  <a:gd name="connsiteX22" fmla="*/ 435268 w 799690"/>
                  <a:gd name="connsiteY22" fmla="*/ 411531 h 477328"/>
                  <a:gd name="connsiteX23" fmla="*/ 737336 w 799690"/>
                  <a:gd name="connsiteY23" fmla="*/ 202373 h 477328"/>
                  <a:gd name="connsiteX24" fmla="*/ 786612 w 799690"/>
                  <a:gd name="connsiteY24" fmla="*/ 43374 h 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99690" h="477328">
                    <a:moveTo>
                      <a:pt x="786717" y="43338"/>
                    </a:moveTo>
                    <a:cubicBezTo>
                      <a:pt x="740297" y="-33097"/>
                      <a:pt x="666912" y="5896"/>
                      <a:pt x="581931" y="51017"/>
                    </a:cubicBezTo>
                    <a:cubicBezTo>
                      <a:pt x="571991" y="56301"/>
                      <a:pt x="561523" y="61866"/>
                      <a:pt x="550491" y="67572"/>
                    </a:cubicBezTo>
                    <a:lnTo>
                      <a:pt x="550773" y="68136"/>
                    </a:lnTo>
                    <a:cubicBezTo>
                      <a:pt x="537943" y="74265"/>
                      <a:pt x="510908" y="89411"/>
                      <a:pt x="444256" y="126677"/>
                    </a:cubicBezTo>
                    <a:lnTo>
                      <a:pt x="422825" y="138689"/>
                    </a:lnTo>
                    <a:lnTo>
                      <a:pt x="446370" y="199062"/>
                    </a:lnTo>
                    <a:lnTo>
                      <a:pt x="475590" y="182577"/>
                    </a:lnTo>
                    <a:cubicBezTo>
                      <a:pt x="511472" y="162500"/>
                      <a:pt x="569172" y="130270"/>
                      <a:pt x="578688" y="125128"/>
                    </a:cubicBezTo>
                    <a:lnTo>
                      <a:pt x="580098" y="124388"/>
                    </a:lnTo>
                    <a:cubicBezTo>
                      <a:pt x="591272" y="118576"/>
                      <a:pt x="601881" y="112940"/>
                      <a:pt x="611962" y="107586"/>
                    </a:cubicBezTo>
                    <a:cubicBezTo>
                      <a:pt x="707200" y="57005"/>
                      <a:pt x="719748" y="56547"/>
                      <a:pt x="731908" y="76590"/>
                    </a:cubicBezTo>
                    <a:cubicBezTo>
                      <a:pt x="736878" y="84797"/>
                      <a:pt x="742447" y="123578"/>
                      <a:pt x="703358" y="148094"/>
                    </a:cubicBezTo>
                    <a:cubicBezTo>
                      <a:pt x="680341" y="162535"/>
                      <a:pt x="434457" y="332736"/>
                      <a:pt x="397412" y="359858"/>
                    </a:cubicBezTo>
                    <a:cubicBezTo>
                      <a:pt x="338197" y="403254"/>
                      <a:pt x="309329" y="416075"/>
                      <a:pt x="278770" y="412729"/>
                    </a:cubicBezTo>
                    <a:cubicBezTo>
                      <a:pt x="244827" y="408995"/>
                      <a:pt x="145923" y="384303"/>
                      <a:pt x="110711" y="375110"/>
                    </a:cubicBezTo>
                    <a:lnTo>
                      <a:pt x="99750" y="372257"/>
                    </a:lnTo>
                    <a:lnTo>
                      <a:pt x="0" y="416639"/>
                    </a:lnTo>
                    <a:lnTo>
                      <a:pt x="36869" y="470813"/>
                    </a:lnTo>
                    <a:lnTo>
                      <a:pt x="105495" y="439921"/>
                    </a:lnTo>
                    <a:cubicBezTo>
                      <a:pt x="138134" y="448269"/>
                      <a:pt x="233477" y="472186"/>
                      <a:pt x="271756" y="476413"/>
                    </a:cubicBezTo>
                    <a:cubicBezTo>
                      <a:pt x="277290" y="477012"/>
                      <a:pt x="282718" y="477329"/>
                      <a:pt x="288111" y="477329"/>
                    </a:cubicBezTo>
                    <a:cubicBezTo>
                      <a:pt x="335835" y="477329"/>
                      <a:pt x="377956" y="453553"/>
                      <a:pt x="435268" y="411531"/>
                    </a:cubicBezTo>
                    <a:cubicBezTo>
                      <a:pt x="474780" y="382577"/>
                      <a:pt x="718796" y="213997"/>
                      <a:pt x="737336" y="202373"/>
                    </a:cubicBezTo>
                    <a:cubicBezTo>
                      <a:pt x="806280" y="159189"/>
                      <a:pt x="810263" y="82261"/>
                      <a:pt x="786612" y="43374"/>
                    </a:cubicBezTo>
                  </a:path>
                </a:pathLst>
              </a:custGeom>
              <a:solidFill>
                <a:srgbClr val="FFFFFF"/>
              </a:solidFill>
              <a:ln w="3521" cap="flat">
                <a:noFill/>
                <a:prstDash val="solid"/>
                <a:miter/>
              </a:ln>
            </p:spPr>
            <p:txBody>
              <a:bodyPr rtlCol="0" anchor="ctr"/>
              <a:lstStyle/>
              <a:p>
                <a:endParaRPr lang="de-DE"/>
              </a:p>
            </p:txBody>
          </p:sp>
        </p:grpSp>
      </p:grpSp>
      <p:sp>
        <p:nvSpPr>
          <p:cNvPr id="35" name="Textplatzhalter 4">
            <a:extLst>
              <a:ext uri="{FF2B5EF4-FFF2-40B4-BE49-F238E27FC236}">
                <a16:creationId xmlns:a16="http://schemas.microsoft.com/office/drawing/2014/main" id="{8355F214-50A3-6F06-6A48-3801E304D2B9}"/>
              </a:ext>
            </a:extLst>
          </p:cNvPr>
          <p:cNvSpPr txBox="1">
            <a:spLocks/>
          </p:cNvSpPr>
          <p:nvPr/>
        </p:nvSpPr>
        <p:spPr bwMode="black">
          <a:xfrm>
            <a:off x="515937" y="1773238"/>
            <a:ext cx="4310063" cy="4349909"/>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 eros quis urna. Nunc viverra imperdiet enim. </a:t>
            </a:r>
          </a:p>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Fusce est. Vivamus a tellus. Pellentesque habitant morbi tristique senectus et netus et malesuada fames ac turpis egestas. Proin pharetra nonummy pede. Mauris et orci. </a:t>
            </a:r>
          </a:p>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a:t>
            </a:r>
          </a:p>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Maecenas porttitor congue massa. Fusce posuere, magna sed pulvinar ultricies, purus lectus malesuada libero, sit amet commodo magna eros quis urna. Nunc viverra imperdiet enim. </a:t>
            </a:r>
          </a:p>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Fusce est. Vivamus a tellus. Pellentesque habitant morbi tristique senectus et netus et malesuada fames ac turpis egestas. Proin pharetra nonummy pede. Mauris et orci. </a:t>
            </a:r>
          </a:p>
        </p:txBody>
      </p:sp>
    </p:spTree>
    <p:extLst>
      <p:ext uri="{BB962C8B-B14F-4D97-AF65-F5344CB8AC3E}">
        <p14:creationId xmlns:p14="http://schemas.microsoft.com/office/powerpoint/2010/main" val="354850295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001D4DF-2DAE-F5E5-1C1E-E7EB90D11F1C}"/>
              </a:ext>
            </a:extLst>
          </p:cNvPr>
          <p:cNvSpPr/>
          <p:nvPr/>
        </p:nvSpPr>
        <p:spPr>
          <a:xfrm>
            <a:off x="5556250" y="0"/>
            <a:ext cx="6635750" cy="6858000"/>
          </a:xfrm>
          <a:prstGeom prst="rect">
            <a:avLst/>
          </a:prstGeom>
          <a:solidFill>
            <a:srgbClr val="5093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7">
            <a:extLst>
              <a:ext uri="{FF2B5EF4-FFF2-40B4-BE49-F238E27FC236}">
                <a16:creationId xmlns:a16="http://schemas.microsoft.com/office/drawing/2014/main" id="{AFB263BB-EE76-A363-2D43-A4C4A0E319CA}"/>
              </a:ext>
            </a:extLst>
          </p:cNvPr>
          <p:cNvCxnSpPr>
            <a:cxnSpLocks/>
          </p:cNvCxnSpPr>
          <p:nvPr/>
        </p:nvCxnSpPr>
        <p:spPr>
          <a:xfrm>
            <a:off x="5556250"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7B9103B7-2D8E-48F9-4291-F41D382DBB73}"/>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3D3B61E5-830F-509B-D6C4-19BFE266CB51}"/>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1C686F7E-4FF8-73C4-0FDF-AA09218C1ACC}"/>
              </a:ext>
            </a:extLst>
          </p:cNvPr>
          <p:cNvSpPr>
            <a:spLocks noGrp="1"/>
          </p:cNvSpPr>
          <p:nvPr>
            <p:ph type="sldNum" sz="quarter" idx="12"/>
          </p:nvPr>
        </p:nvSpPr>
        <p:spPr/>
        <p:txBody>
          <a:bodyPr/>
          <a:lstStyle/>
          <a:p>
            <a:fld id="{E84006A6-0E15-460A-BCD4-002C20F8AC9F}" type="slidenum">
              <a:rPr lang="de-DE" smtClean="0">
                <a:solidFill>
                  <a:schemeClr val="bg1"/>
                </a:solidFill>
              </a:rPr>
              <a:pPr/>
              <a:t>111</a:t>
            </a:fld>
            <a:endParaRPr lang="de-DE">
              <a:solidFill>
                <a:schemeClr val="bg1"/>
              </a:solidFill>
            </a:endParaRPr>
          </a:p>
        </p:txBody>
      </p:sp>
      <p:pic>
        <p:nvPicPr>
          <p:cNvPr id="9" name="Inhaltsplatzhalter 25">
            <a:extLst>
              <a:ext uri="{FF2B5EF4-FFF2-40B4-BE49-F238E27FC236}">
                <a16:creationId xmlns:a16="http://schemas.microsoft.com/office/drawing/2014/main" id="{52D9E260-10E0-498A-F07F-18EAE9D35C71}"/>
              </a:ext>
            </a:extLst>
          </p:cNvPr>
          <p:cNvPicPr>
            <a:picLocks noChangeAspect="1"/>
          </p:cNvPicPr>
          <p:nvPr/>
        </p:nvPicPr>
        <p:blipFill>
          <a:blip r:embed="rId2" cstate="print">
            <a:extLst>
              <a:ext uri="{28A0092B-C50C-407E-A947-70E740481C1C}">
                <a14:useLocalDpi xmlns:a14="http://schemas.microsoft.com/office/drawing/2010/main"/>
              </a:ext>
            </a:extLst>
          </a:blip>
          <a:srcRect l="12016" r="12016"/>
          <a:stretch/>
        </p:blipFill>
        <p:spPr>
          <a:xfrm>
            <a:off x="515938" y="765179"/>
            <a:ext cx="6119813" cy="5364159"/>
          </a:xfrm>
          <a:prstGeom prst="rect">
            <a:avLst/>
          </a:prstGeom>
        </p:spPr>
      </p:pic>
      <p:grpSp>
        <p:nvGrpSpPr>
          <p:cNvPr id="10" name="Gruppieren 9">
            <a:extLst>
              <a:ext uri="{FF2B5EF4-FFF2-40B4-BE49-F238E27FC236}">
                <a16:creationId xmlns:a16="http://schemas.microsoft.com/office/drawing/2014/main" id="{5AE1E179-5371-41E9-DC9B-E05FF8B250CE}"/>
              </a:ext>
            </a:extLst>
          </p:cNvPr>
          <p:cNvGrpSpPr/>
          <p:nvPr/>
        </p:nvGrpSpPr>
        <p:grpSpPr>
          <a:xfrm>
            <a:off x="7175500" y="765179"/>
            <a:ext cx="4500563" cy="5364158"/>
            <a:chOff x="777196" y="2605714"/>
            <a:chExt cx="2819829" cy="5364158"/>
          </a:xfrm>
        </p:grpSpPr>
        <p:sp>
          <p:nvSpPr>
            <p:cNvPr id="11" name="Textfeld 10">
              <a:extLst>
                <a:ext uri="{FF2B5EF4-FFF2-40B4-BE49-F238E27FC236}">
                  <a16:creationId xmlns:a16="http://schemas.microsoft.com/office/drawing/2014/main" id="{E7753E31-3537-D9F6-DFE6-8890A0ADDF94}"/>
                </a:ext>
              </a:extLst>
            </p:cNvPr>
            <p:cNvSpPr txBox="1"/>
            <p:nvPr/>
          </p:nvSpPr>
          <p:spPr>
            <a:xfrm>
              <a:off x="777196" y="2605714"/>
              <a:ext cx="2819829" cy="1107996"/>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arbige Text- und </a:t>
              </a:r>
              <a:b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b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Bildvorlage.</a:t>
              </a:r>
            </a:p>
          </p:txBody>
        </p:sp>
        <p:sp>
          <p:nvSpPr>
            <p:cNvPr id="12" name="Textfeld 11">
              <a:extLst>
                <a:ext uri="{FF2B5EF4-FFF2-40B4-BE49-F238E27FC236}">
                  <a16:creationId xmlns:a16="http://schemas.microsoft.com/office/drawing/2014/main" id="{42DC946C-8678-F06F-D1BC-5EBC290C673B}"/>
                </a:ext>
              </a:extLst>
            </p:cNvPr>
            <p:cNvSpPr txBox="1"/>
            <p:nvPr/>
          </p:nvSpPr>
          <p:spPr>
            <a:xfrm>
              <a:off x="777196" y="3832167"/>
              <a:ext cx="2819829" cy="4137705"/>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chemeClr val="bg1"/>
                </a:solidFill>
                <a:latin typeface="NeueHaasGroteskText Pro" panose="020B0504020202020204" pitchFamily="34" charset="77"/>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usce posuere, magna sed pulvinar ultricies, purus lectus malesuada libero, sit amet commodo magna eros quis urna. Nunc viverra imperdiet enim. Fusce est. Vivamus a tell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Pellentesque habitant morbi tristique senectus et netus et malesuada fames ac turpis egestas. Proin pharetra nonummy pede. Mauris et orci.</a:t>
              </a:r>
            </a:p>
          </p:txBody>
        </p:sp>
      </p:grpSp>
    </p:spTree>
    <p:extLst>
      <p:ext uri="{BB962C8B-B14F-4D97-AF65-F5344CB8AC3E}">
        <p14:creationId xmlns:p14="http://schemas.microsoft.com/office/powerpoint/2010/main" val="7872529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7966407-1D83-3C4A-5D0A-7EDFD4A95955}"/>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08B7607C-BF49-1B51-DA17-0D14AED60B17}"/>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F42B0DA2-BC18-649F-89AE-5D1BEDEACDC2}"/>
              </a:ext>
            </a:extLst>
          </p:cNvPr>
          <p:cNvSpPr>
            <a:spLocks noGrp="1"/>
          </p:cNvSpPr>
          <p:nvPr>
            <p:ph type="sldNum" sz="quarter" idx="12"/>
          </p:nvPr>
        </p:nvSpPr>
        <p:spPr/>
        <p:txBody>
          <a:bodyPr/>
          <a:lstStyle/>
          <a:p>
            <a:fld id="{E84006A6-0E15-460A-BCD4-002C20F8AC9F}" type="slidenum">
              <a:rPr lang="de-DE" smtClean="0"/>
              <a:pPr/>
              <a:t>112</a:t>
            </a:fld>
            <a:endParaRPr lang="de-DE"/>
          </a:p>
        </p:txBody>
      </p:sp>
      <p:sp>
        <p:nvSpPr>
          <p:cNvPr id="5" name="Titel 4">
            <a:extLst>
              <a:ext uri="{FF2B5EF4-FFF2-40B4-BE49-F238E27FC236}">
                <a16:creationId xmlns:a16="http://schemas.microsoft.com/office/drawing/2014/main" id="{2DE25E4D-453B-0FFE-62A5-2C01DCB6358C}"/>
              </a:ext>
            </a:extLst>
          </p:cNvPr>
          <p:cNvSpPr>
            <a:spLocks noGrp="1"/>
          </p:cNvSpPr>
          <p:nvPr>
            <p:ph type="title"/>
          </p:nvPr>
        </p:nvSpPr>
        <p:spPr/>
        <p:txBody>
          <a:bodyPr/>
          <a:lstStyle/>
          <a:p>
            <a:r>
              <a:rPr lang="de-DE" dirty="0"/>
              <a:t>Diagramm</a:t>
            </a:r>
          </a:p>
        </p:txBody>
      </p:sp>
      <p:graphicFrame>
        <p:nvGraphicFramePr>
          <p:cNvPr id="6" name="Diagramm 5">
            <a:extLst>
              <a:ext uri="{FF2B5EF4-FFF2-40B4-BE49-F238E27FC236}">
                <a16:creationId xmlns:a16="http://schemas.microsoft.com/office/drawing/2014/main" id="{F5417D24-44D2-6754-A61E-9EE8B1C97E9A}"/>
              </a:ext>
            </a:extLst>
          </p:cNvPr>
          <p:cNvGraphicFramePr/>
          <p:nvPr>
            <p:extLst>
              <p:ext uri="{D42A27DB-BD31-4B8C-83A1-F6EECF244321}">
                <p14:modId xmlns:p14="http://schemas.microsoft.com/office/powerpoint/2010/main" val="2258895464"/>
              </p:ext>
            </p:extLst>
          </p:nvPr>
        </p:nvGraphicFramePr>
        <p:xfrm>
          <a:off x="524351" y="1368922"/>
          <a:ext cx="11151712" cy="47604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9440287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B2EAC21-447A-F2B4-D6BF-1352250C874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DE6CA174-5A4D-C79B-244B-263E6084DCB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4B88D316-A717-EAF0-B908-B71305542D04}"/>
              </a:ext>
            </a:extLst>
          </p:cNvPr>
          <p:cNvSpPr>
            <a:spLocks noGrp="1"/>
          </p:cNvSpPr>
          <p:nvPr>
            <p:ph type="sldNum" sz="quarter" idx="12"/>
          </p:nvPr>
        </p:nvSpPr>
        <p:spPr/>
        <p:txBody>
          <a:bodyPr/>
          <a:lstStyle/>
          <a:p>
            <a:fld id="{E84006A6-0E15-460A-BCD4-002C20F8AC9F}" type="slidenum">
              <a:rPr lang="de-DE" smtClean="0"/>
              <a:pPr/>
              <a:t>113</a:t>
            </a:fld>
            <a:endParaRPr lang="de-DE"/>
          </a:p>
        </p:txBody>
      </p:sp>
      <p:sp>
        <p:nvSpPr>
          <p:cNvPr id="5" name="Titel 4">
            <a:extLst>
              <a:ext uri="{FF2B5EF4-FFF2-40B4-BE49-F238E27FC236}">
                <a16:creationId xmlns:a16="http://schemas.microsoft.com/office/drawing/2014/main" id="{F67396F1-5DC8-2973-93A5-ED718018D2B1}"/>
              </a:ext>
            </a:extLst>
          </p:cNvPr>
          <p:cNvSpPr>
            <a:spLocks noGrp="1"/>
          </p:cNvSpPr>
          <p:nvPr>
            <p:ph type="title"/>
          </p:nvPr>
        </p:nvSpPr>
        <p:spPr/>
        <p:txBody>
          <a:bodyPr/>
          <a:lstStyle/>
          <a:p>
            <a:r>
              <a:rPr lang="de-DE" dirty="0"/>
              <a:t>Diagramm</a:t>
            </a:r>
          </a:p>
        </p:txBody>
      </p:sp>
      <p:graphicFrame>
        <p:nvGraphicFramePr>
          <p:cNvPr id="6" name="Diagramm 5">
            <a:extLst>
              <a:ext uri="{FF2B5EF4-FFF2-40B4-BE49-F238E27FC236}">
                <a16:creationId xmlns:a16="http://schemas.microsoft.com/office/drawing/2014/main" id="{C3538540-BC58-1720-90CF-90EAEDADED0F}"/>
              </a:ext>
            </a:extLst>
          </p:cNvPr>
          <p:cNvGraphicFramePr/>
          <p:nvPr>
            <p:extLst>
              <p:ext uri="{D42A27DB-BD31-4B8C-83A1-F6EECF244321}">
                <p14:modId xmlns:p14="http://schemas.microsoft.com/office/powerpoint/2010/main" val="2564827725"/>
              </p:ext>
            </p:extLst>
          </p:nvPr>
        </p:nvGraphicFramePr>
        <p:xfrm>
          <a:off x="515938" y="1722063"/>
          <a:ext cx="11160125" cy="42834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877445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rgbClr val="50936E"/>
        </a:solidFill>
        <a:effectLst/>
      </p:bgPr>
    </p:bg>
    <p:spTree>
      <p:nvGrpSpPr>
        <p:cNvPr id="1" name=""/>
        <p:cNvGrpSpPr/>
        <p:nvPr/>
      </p:nvGrpSpPr>
      <p:grpSpPr>
        <a:xfrm>
          <a:off x="0" y="0"/>
          <a:ext cx="0" cy="0"/>
          <a:chOff x="0" y="0"/>
          <a:chExt cx="0" cy="0"/>
        </a:xfrm>
      </p:grpSpPr>
      <p:pic>
        <p:nvPicPr>
          <p:cNvPr id="12" name="Bildplatzhalter 19">
            <a:extLst>
              <a:ext uri="{FF2B5EF4-FFF2-40B4-BE49-F238E27FC236}">
                <a16:creationId xmlns:a16="http://schemas.microsoft.com/office/drawing/2014/main" id="{AAB94D68-A5AB-5FA0-A99B-9D38DE36C33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t="25107" b="25107"/>
          <a:stretch/>
        </p:blipFill>
        <p:spPr>
          <a:xfrm>
            <a:off x="0" y="0"/>
            <a:ext cx="12191980" cy="4042133"/>
          </a:xfrm>
        </p:spPr>
      </p:pic>
      <p:sp>
        <p:nvSpPr>
          <p:cNvPr id="14" name="Titel 13">
            <a:extLst>
              <a:ext uri="{FF2B5EF4-FFF2-40B4-BE49-F238E27FC236}">
                <a16:creationId xmlns:a16="http://schemas.microsoft.com/office/drawing/2014/main" id="{C3D0CA6D-CCD6-D693-BB39-8286D7EA9A35}"/>
              </a:ext>
            </a:extLst>
          </p:cNvPr>
          <p:cNvSpPr>
            <a:spLocks noGrp="1"/>
          </p:cNvSpPr>
          <p:nvPr>
            <p:ph type="title"/>
          </p:nvPr>
        </p:nvSpPr>
        <p:spPr/>
        <p:txBody>
          <a:bodyPr/>
          <a:lstStyle/>
          <a:p>
            <a:r>
              <a:rPr lang="de-DE" dirty="0"/>
              <a:t>Vielen Dank!</a:t>
            </a:r>
          </a:p>
        </p:txBody>
      </p:sp>
      <p:sp>
        <p:nvSpPr>
          <p:cNvPr id="15" name="Textplatzhalter 14">
            <a:extLst>
              <a:ext uri="{FF2B5EF4-FFF2-40B4-BE49-F238E27FC236}">
                <a16:creationId xmlns:a16="http://schemas.microsoft.com/office/drawing/2014/main" id="{B2A46403-83A2-B6E2-3CC9-8F460A114620}"/>
              </a:ext>
            </a:extLst>
          </p:cNvPr>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3449277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16DAD6EE-D76F-8A1F-CD60-3E55B481205D}"/>
              </a:ext>
            </a:extLst>
          </p:cNvPr>
          <p:cNvSpPr>
            <a:spLocks noGrp="1"/>
          </p:cNvSpPr>
          <p:nvPr>
            <p:ph type="body" sz="quarter" idx="15"/>
          </p:nvPr>
        </p:nvSpPr>
        <p:spPr/>
        <p:txBody>
          <a:bodyPr/>
          <a:lstStyle/>
          <a:p>
            <a:r>
              <a:rPr lang="de-DE" dirty="0"/>
              <a:t>1</a:t>
            </a:r>
          </a:p>
        </p:txBody>
      </p:sp>
      <p:sp>
        <p:nvSpPr>
          <p:cNvPr id="9" name="Titel 8">
            <a:extLst>
              <a:ext uri="{FF2B5EF4-FFF2-40B4-BE49-F238E27FC236}">
                <a16:creationId xmlns:a16="http://schemas.microsoft.com/office/drawing/2014/main" id="{ACD24E47-3E5C-2120-80BF-ECEFF476B464}"/>
              </a:ext>
            </a:extLst>
          </p:cNvPr>
          <p:cNvSpPr>
            <a:spLocks noGrp="1"/>
          </p:cNvSpPr>
          <p:nvPr>
            <p:ph type="title"/>
          </p:nvPr>
        </p:nvSpPr>
        <p:spPr/>
        <p:txBody>
          <a:bodyPr/>
          <a:lstStyle/>
          <a:p>
            <a:r>
              <a:rPr lang="de-DE" dirty="0"/>
              <a:t>Hier steht der Kapitelname.</a:t>
            </a:r>
          </a:p>
        </p:txBody>
      </p:sp>
      <p:sp>
        <p:nvSpPr>
          <p:cNvPr id="6" name="Datumsplatzhalter 5">
            <a:extLst>
              <a:ext uri="{FF2B5EF4-FFF2-40B4-BE49-F238E27FC236}">
                <a16:creationId xmlns:a16="http://schemas.microsoft.com/office/drawing/2014/main" id="{1A1ADA4D-0C23-DBBC-327D-CC9BE8C039FE}"/>
              </a:ext>
            </a:extLst>
          </p:cNvPr>
          <p:cNvSpPr>
            <a:spLocks noGrp="1"/>
          </p:cNvSpPr>
          <p:nvPr>
            <p:ph type="dt" sz="half" idx="10"/>
          </p:nvPr>
        </p:nvSpPr>
        <p:spPr/>
        <p:txBody>
          <a:bodyPr/>
          <a:lstStyle/>
          <a:p>
            <a:r>
              <a:rPr lang="de-DE"/>
              <a:t>02.08.2024</a:t>
            </a:r>
            <a:endParaRPr lang="de-DE" dirty="0"/>
          </a:p>
        </p:txBody>
      </p:sp>
      <p:sp>
        <p:nvSpPr>
          <p:cNvPr id="7" name="Fußzeilenplatzhalter 6">
            <a:extLst>
              <a:ext uri="{FF2B5EF4-FFF2-40B4-BE49-F238E27FC236}">
                <a16:creationId xmlns:a16="http://schemas.microsoft.com/office/drawing/2014/main" id="{98108752-72F8-63D1-6BD9-0F7AB8849061}"/>
              </a:ext>
            </a:extLst>
          </p:cNvPr>
          <p:cNvSpPr>
            <a:spLocks noGrp="1"/>
          </p:cNvSpPr>
          <p:nvPr>
            <p:ph type="ftr" sz="quarter" idx="11"/>
          </p:nvPr>
        </p:nvSpPr>
        <p:spPr/>
        <p:txBody>
          <a:bodyPr/>
          <a:lstStyle/>
          <a:p>
            <a:r>
              <a:rPr lang="de-DE"/>
              <a:t>PowerPoint Folienmaster</a:t>
            </a:r>
            <a:endParaRPr lang="de-DE" dirty="0"/>
          </a:p>
        </p:txBody>
      </p:sp>
      <p:sp>
        <p:nvSpPr>
          <p:cNvPr id="8" name="Foliennummernplatzhalter 7">
            <a:extLst>
              <a:ext uri="{FF2B5EF4-FFF2-40B4-BE49-F238E27FC236}">
                <a16:creationId xmlns:a16="http://schemas.microsoft.com/office/drawing/2014/main" id="{B7174786-2D93-D428-683E-E20D1B1F7BD8}"/>
              </a:ext>
            </a:extLst>
          </p:cNvPr>
          <p:cNvSpPr>
            <a:spLocks noGrp="1"/>
          </p:cNvSpPr>
          <p:nvPr>
            <p:ph type="sldNum" sz="quarter" idx="12"/>
          </p:nvPr>
        </p:nvSpPr>
        <p:spPr/>
        <p:txBody>
          <a:bodyPr/>
          <a:lstStyle/>
          <a:p>
            <a:fld id="{E84006A6-0E15-460A-BCD4-002C20F8AC9F}" type="slidenum">
              <a:rPr lang="de-DE" smtClean="0"/>
              <a:pPr/>
              <a:t>12</a:t>
            </a:fld>
            <a:endParaRPr lang="de-DE"/>
          </a:p>
        </p:txBody>
      </p:sp>
      <p:pic>
        <p:nvPicPr>
          <p:cNvPr id="33" name="Inhaltsplatzhalter 83">
            <a:extLst>
              <a:ext uri="{FF2B5EF4-FFF2-40B4-BE49-F238E27FC236}">
                <a16:creationId xmlns:a16="http://schemas.microsoft.com/office/drawing/2014/main" id="{173A1E5F-0072-4767-C17C-22C45ED8E750}"/>
              </a:ext>
            </a:extLst>
          </p:cNvPr>
          <p:cNvPicPr>
            <a:picLocks noGrp="1" noChangeAspect="1"/>
          </p:cNvPicPr>
          <p:nvPr>
            <p:ph sz="quarter" idx="17"/>
          </p:nvPr>
        </p:nvPicPr>
        <p:blipFill rotWithShape="1">
          <a:blip r:embed="rId2" cstate="print">
            <a:extLst>
              <a:ext uri="{28A0092B-C50C-407E-A947-70E740481C1C}">
                <a14:useLocalDpi xmlns:a14="http://schemas.microsoft.com/office/drawing/2010/main"/>
              </a:ext>
            </a:extLst>
          </a:blip>
          <a:srcRect t="26061" b="26061"/>
          <a:stretch/>
        </p:blipFill>
        <p:spPr>
          <a:xfrm>
            <a:off x="7338951" y="0"/>
            <a:ext cx="4853049" cy="3486150"/>
          </a:xfrm>
        </p:spPr>
      </p:pic>
      <p:pic>
        <p:nvPicPr>
          <p:cNvPr id="41" name="Inhaltsplatzhalter 83">
            <a:extLst>
              <a:ext uri="{FF2B5EF4-FFF2-40B4-BE49-F238E27FC236}">
                <a16:creationId xmlns:a16="http://schemas.microsoft.com/office/drawing/2014/main" id="{7CB7CEAD-5A20-39CC-F6B6-EED20F464A23}"/>
              </a:ext>
            </a:extLst>
          </p:cNvPr>
          <p:cNvPicPr>
            <a:picLocks noGrp="1" noChangeAspect="1"/>
          </p:cNvPicPr>
          <p:nvPr>
            <p:ph sz="quarter" idx="18"/>
          </p:nvPr>
        </p:nvPicPr>
        <p:blipFill rotWithShape="1">
          <a:blip r:embed="rId3" cstate="print">
            <a:extLst>
              <a:ext uri="{28A0092B-C50C-407E-A947-70E740481C1C}">
                <a14:useLocalDpi xmlns:a14="http://schemas.microsoft.com/office/drawing/2010/main"/>
              </a:ext>
            </a:extLst>
          </a:blip>
          <a:srcRect t="28401" b="28401"/>
          <a:stretch/>
        </p:blipFill>
        <p:spPr>
          <a:xfrm>
            <a:off x="5659376" y="3754439"/>
            <a:ext cx="3662753" cy="2373967"/>
          </a:xfrm>
        </p:spPr>
      </p:pic>
    </p:spTree>
    <p:extLst>
      <p:ext uri="{BB962C8B-B14F-4D97-AF65-F5344CB8AC3E}">
        <p14:creationId xmlns:p14="http://schemas.microsoft.com/office/powerpoint/2010/main" val="3845356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Inhaltsplatzhalter 83">
            <a:extLst>
              <a:ext uri="{FF2B5EF4-FFF2-40B4-BE49-F238E27FC236}">
                <a16:creationId xmlns:a16="http://schemas.microsoft.com/office/drawing/2014/main" id="{173A1E5F-0072-4767-C17C-22C45ED8E750}"/>
              </a:ext>
            </a:extLst>
          </p:cNvPr>
          <p:cNvPicPr>
            <a:picLocks noGrp="1" noChangeAspect="1"/>
          </p:cNvPicPr>
          <p:nvPr>
            <p:ph sz="quarter" idx="17"/>
          </p:nvPr>
        </p:nvPicPr>
        <p:blipFill rotWithShape="1">
          <a:blip r:embed="rId2" cstate="print">
            <a:extLst>
              <a:ext uri="{28A0092B-C50C-407E-A947-70E740481C1C}">
                <a14:useLocalDpi xmlns:a14="http://schemas.microsoft.com/office/drawing/2010/main"/>
              </a:ext>
            </a:extLst>
          </a:blip>
          <a:srcRect t="26061" b="26061"/>
          <a:stretch/>
        </p:blipFill>
        <p:spPr>
          <a:xfrm>
            <a:off x="7338951" y="0"/>
            <a:ext cx="4853049" cy="3486150"/>
          </a:xfrm>
        </p:spPr>
      </p:pic>
      <p:pic>
        <p:nvPicPr>
          <p:cNvPr id="41" name="Inhaltsplatzhalter 83">
            <a:extLst>
              <a:ext uri="{FF2B5EF4-FFF2-40B4-BE49-F238E27FC236}">
                <a16:creationId xmlns:a16="http://schemas.microsoft.com/office/drawing/2014/main" id="{7CB7CEAD-5A20-39CC-F6B6-EED20F464A23}"/>
              </a:ext>
            </a:extLst>
          </p:cNvPr>
          <p:cNvPicPr>
            <a:picLocks noGrp="1" noChangeAspect="1"/>
          </p:cNvPicPr>
          <p:nvPr>
            <p:ph sz="quarter" idx="18"/>
          </p:nvPr>
        </p:nvPicPr>
        <p:blipFill rotWithShape="1">
          <a:blip r:embed="rId3" cstate="print">
            <a:extLst>
              <a:ext uri="{28A0092B-C50C-407E-A947-70E740481C1C}">
                <a14:useLocalDpi xmlns:a14="http://schemas.microsoft.com/office/drawing/2010/main"/>
              </a:ext>
            </a:extLst>
          </a:blip>
          <a:srcRect t="28392" b="28392"/>
          <a:stretch/>
        </p:blipFill>
        <p:spPr>
          <a:xfrm>
            <a:off x="5659376" y="3754438"/>
            <a:ext cx="3662753" cy="2374900"/>
          </a:xfrm>
        </p:spPr>
      </p:pic>
      <p:sp>
        <p:nvSpPr>
          <p:cNvPr id="10" name="Textplatzhalter 9">
            <a:extLst>
              <a:ext uri="{FF2B5EF4-FFF2-40B4-BE49-F238E27FC236}">
                <a16:creationId xmlns:a16="http://schemas.microsoft.com/office/drawing/2014/main" id="{16DAD6EE-D76F-8A1F-CD60-3E55B481205D}"/>
              </a:ext>
            </a:extLst>
          </p:cNvPr>
          <p:cNvSpPr>
            <a:spLocks noGrp="1"/>
          </p:cNvSpPr>
          <p:nvPr>
            <p:ph type="body" sz="quarter" idx="15"/>
          </p:nvPr>
        </p:nvSpPr>
        <p:spPr/>
        <p:txBody>
          <a:bodyPr/>
          <a:lstStyle/>
          <a:p>
            <a:r>
              <a:rPr lang="de-DE" dirty="0"/>
              <a:t>1</a:t>
            </a:r>
          </a:p>
        </p:txBody>
      </p:sp>
      <p:sp>
        <p:nvSpPr>
          <p:cNvPr id="9" name="Titel 8">
            <a:extLst>
              <a:ext uri="{FF2B5EF4-FFF2-40B4-BE49-F238E27FC236}">
                <a16:creationId xmlns:a16="http://schemas.microsoft.com/office/drawing/2014/main" id="{ACD24E47-3E5C-2120-80BF-ECEFF476B464}"/>
              </a:ext>
            </a:extLst>
          </p:cNvPr>
          <p:cNvSpPr>
            <a:spLocks noGrp="1"/>
          </p:cNvSpPr>
          <p:nvPr>
            <p:ph type="title"/>
          </p:nvPr>
        </p:nvSpPr>
        <p:spPr/>
        <p:txBody>
          <a:bodyPr/>
          <a:lstStyle/>
          <a:p>
            <a:r>
              <a:rPr lang="de-DE" dirty="0"/>
              <a:t>Hier steht der Kapitelname.</a:t>
            </a:r>
          </a:p>
        </p:txBody>
      </p:sp>
      <p:sp>
        <p:nvSpPr>
          <p:cNvPr id="6" name="Datumsplatzhalter 5">
            <a:extLst>
              <a:ext uri="{FF2B5EF4-FFF2-40B4-BE49-F238E27FC236}">
                <a16:creationId xmlns:a16="http://schemas.microsoft.com/office/drawing/2014/main" id="{1A1ADA4D-0C23-DBBC-327D-CC9BE8C039FE}"/>
              </a:ext>
            </a:extLst>
          </p:cNvPr>
          <p:cNvSpPr>
            <a:spLocks noGrp="1"/>
          </p:cNvSpPr>
          <p:nvPr>
            <p:ph type="dt" sz="half" idx="2"/>
          </p:nvPr>
        </p:nvSpPr>
        <p:spPr/>
        <p:txBody>
          <a:bodyPr/>
          <a:lstStyle/>
          <a:p>
            <a:r>
              <a:rPr lang="de-DE"/>
              <a:t>02.08.2024</a:t>
            </a:r>
            <a:endParaRPr lang="de-DE" dirty="0"/>
          </a:p>
        </p:txBody>
      </p:sp>
      <p:sp>
        <p:nvSpPr>
          <p:cNvPr id="7" name="Fußzeilenplatzhalter 6">
            <a:extLst>
              <a:ext uri="{FF2B5EF4-FFF2-40B4-BE49-F238E27FC236}">
                <a16:creationId xmlns:a16="http://schemas.microsoft.com/office/drawing/2014/main" id="{98108752-72F8-63D1-6BD9-0F7AB8849061}"/>
              </a:ext>
            </a:extLst>
          </p:cNvPr>
          <p:cNvSpPr>
            <a:spLocks noGrp="1"/>
          </p:cNvSpPr>
          <p:nvPr>
            <p:ph type="ftr" sz="quarter" idx="3"/>
          </p:nvPr>
        </p:nvSpPr>
        <p:spPr/>
        <p:txBody>
          <a:bodyPr/>
          <a:lstStyle/>
          <a:p>
            <a:r>
              <a:rPr lang="de-DE"/>
              <a:t>PowerPoint Folienmaster</a:t>
            </a:r>
            <a:endParaRPr lang="de-DE" dirty="0"/>
          </a:p>
        </p:txBody>
      </p:sp>
      <p:sp>
        <p:nvSpPr>
          <p:cNvPr id="8" name="Foliennummernplatzhalter 7">
            <a:extLst>
              <a:ext uri="{FF2B5EF4-FFF2-40B4-BE49-F238E27FC236}">
                <a16:creationId xmlns:a16="http://schemas.microsoft.com/office/drawing/2014/main" id="{B7174786-2D93-D428-683E-E20D1B1F7BD8}"/>
              </a:ext>
            </a:extLst>
          </p:cNvPr>
          <p:cNvSpPr>
            <a:spLocks noGrp="1"/>
          </p:cNvSpPr>
          <p:nvPr>
            <p:ph type="sldNum" sz="quarter" idx="4"/>
          </p:nvPr>
        </p:nvSpPr>
        <p:spPr/>
        <p:txBody>
          <a:bodyPr/>
          <a:lstStyle/>
          <a:p>
            <a:fld id="{E84006A6-0E15-460A-BCD4-002C20F8AC9F}" type="slidenum">
              <a:rPr lang="de-DE" smtClean="0"/>
              <a:pPr/>
              <a:t>13</a:t>
            </a:fld>
            <a:endParaRPr lang="de-DE"/>
          </a:p>
        </p:txBody>
      </p:sp>
    </p:spTree>
    <p:extLst>
      <p:ext uri="{BB962C8B-B14F-4D97-AF65-F5344CB8AC3E}">
        <p14:creationId xmlns:p14="http://schemas.microsoft.com/office/powerpoint/2010/main" val="1739076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4C76ABF-E82F-071C-A6E3-C27C73CFE97D}"/>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4355A2A2-23D8-57D0-420A-AC89527D4B89}"/>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960DD980-E4CA-9289-7D8E-D850DBFD71B3}"/>
              </a:ext>
            </a:extLst>
          </p:cNvPr>
          <p:cNvSpPr>
            <a:spLocks noGrp="1"/>
          </p:cNvSpPr>
          <p:nvPr>
            <p:ph type="sldNum" sz="quarter" idx="12"/>
          </p:nvPr>
        </p:nvSpPr>
        <p:spPr/>
        <p:txBody>
          <a:bodyPr/>
          <a:lstStyle/>
          <a:p>
            <a:fld id="{E84006A6-0E15-460A-BCD4-002C20F8AC9F}" type="slidenum">
              <a:rPr lang="de-DE" smtClean="0"/>
              <a:pPr/>
              <a:t>14</a:t>
            </a:fld>
            <a:endParaRPr lang="de-DE"/>
          </a:p>
        </p:txBody>
      </p:sp>
      <p:sp>
        <p:nvSpPr>
          <p:cNvPr id="10" name="Textplatzhalter 9">
            <a:extLst>
              <a:ext uri="{FF2B5EF4-FFF2-40B4-BE49-F238E27FC236}">
                <a16:creationId xmlns:a16="http://schemas.microsoft.com/office/drawing/2014/main" id="{0D8BC5EE-F018-53D7-D88E-C7DAAAA01144}"/>
              </a:ext>
            </a:extLst>
          </p:cNvPr>
          <p:cNvSpPr>
            <a:spLocks noGrp="1"/>
          </p:cNvSpPr>
          <p:nvPr>
            <p:ph type="body" sz="quarter" idx="16"/>
          </p:nvPr>
        </p:nvSpPr>
        <p:spPr/>
        <p:txBody>
          <a:bodyPr/>
          <a:lstStyle/>
          <a:p>
            <a:r>
              <a:rPr lang="de-DE" dirty="0"/>
              <a:t>Hier steht eine Headline.</a:t>
            </a:r>
          </a:p>
        </p:txBody>
      </p:sp>
      <p:pic>
        <p:nvPicPr>
          <p:cNvPr id="26" name="Inhaltsplatzhalter 25">
            <a:extLst>
              <a:ext uri="{FF2B5EF4-FFF2-40B4-BE49-F238E27FC236}">
                <a16:creationId xmlns:a16="http://schemas.microsoft.com/office/drawing/2014/main" id="{D1E6AC4C-8F42-00C3-4BAF-96E0F0F0CAFB}"/>
              </a:ext>
            </a:extLst>
          </p:cNvPr>
          <p:cNvPicPr>
            <a:picLocks noGrp="1" noChangeAspect="1"/>
          </p:cNvPicPr>
          <p:nvPr>
            <p:ph sz="quarter" idx="15"/>
          </p:nvPr>
        </p:nvPicPr>
        <p:blipFill rotWithShape="1">
          <a:blip r:embed="rId2">
            <a:extLst>
              <a:ext uri="{28A0092B-C50C-407E-A947-70E740481C1C}">
                <a14:useLocalDpi xmlns:a14="http://schemas.microsoft.com/office/drawing/2010/main"/>
              </a:ext>
            </a:extLst>
          </a:blip>
          <a:srcRect t="5009" b="5009"/>
          <a:stretch/>
        </p:blipFill>
        <p:spPr>
          <a:xfrm>
            <a:off x="516026" y="765175"/>
            <a:ext cx="11159948" cy="5364164"/>
          </a:xfrm>
        </p:spPr>
      </p:pic>
    </p:spTree>
    <p:extLst>
      <p:ext uri="{BB962C8B-B14F-4D97-AF65-F5344CB8AC3E}">
        <p14:creationId xmlns:p14="http://schemas.microsoft.com/office/powerpoint/2010/main" val="7585159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4C76ABF-E82F-071C-A6E3-C27C73CFE97D}"/>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4355A2A2-23D8-57D0-420A-AC89527D4B89}"/>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960DD980-E4CA-9289-7D8E-D850DBFD71B3}"/>
              </a:ext>
            </a:extLst>
          </p:cNvPr>
          <p:cNvSpPr>
            <a:spLocks noGrp="1"/>
          </p:cNvSpPr>
          <p:nvPr>
            <p:ph type="sldNum" sz="quarter" idx="12"/>
          </p:nvPr>
        </p:nvSpPr>
        <p:spPr/>
        <p:txBody>
          <a:bodyPr/>
          <a:lstStyle/>
          <a:p>
            <a:fld id="{E84006A6-0E15-460A-BCD4-002C20F8AC9F}" type="slidenum">
              <a:rPr lang="de-DE" smtClean="0"/>
              <a:pPr/>
              <a:t>15</a:t>
            </a:fld>
            <a:endParaRPr lang="de-DE"/>
          </a:p>
        </p:txBody>
      </p:sp>
      <p:pic>
        <p:nvPicPr>
          <p:cNvPr id="26" name="Inhaltsplatzhalter 25">
            <a:extLst>
              <a:ext uri="{FF2B5EF4-FFF2-40B4-BE49-F238E27FC236}">
                <a16:creationId xmlns:a16="http://schemas.microsoft.com/office/drawing/2014/main" id="{D1E6AC4C-8F42-00C3-4BAF-96E0F0F0CAFB}"/>
              </a:ext>
            </a:extLst>
          </p:cNvPr>
          <p:cNvPicPr>
            <a:picLocks noGrp="1" noChangeAspect="1"/>
          </p:cNvPicPr>
          <p:nvPr>
            <p:ph sz="quarter" idx="15"/>
          </p:nvPr>
        </p:nvPicPr>
        <p:blipFill rotWithShape="1">
          <a:blip r:embed="rId2">
            <a:extLst>
              <a:ext uri="{28A0092B-C50C-407E-A947-70E740481C1C}">
                <a14:useLocalDpi xmlns:a14="http://schemas.microsoft.com/office/drawing/2010/main"/>
              </a:ext>
            </a:extLst>
          </a:blip>
          <a:srcRect t="5010" b="5010"/>
          <a:stretch/>
        </p:blipFill>
        <p:spPr>
          <a:xfrm>
            <a:off x="515937" y="765175"/>
            <a:ext cx="11160126" cy="5364163"/>
          </a:xfrm>
        </p:spPr>
      </p:pic>
      <p:sp>
        <p:nvSpPr>
          <p:cNvPr id="10" name="Textplatzhalter 9">
            <a:extLst>
              <a:ext uri="{FF2B5EF4-FFF2-40B4-BE49-F238E27FC236}">
                <a16:creationId xmlns:a16="http://schemas.microsoft.com/office/drawing/2014/main" id="{0D8BC5EE-F018-53D7-D88E-C7DAAAA01144}"/>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13937961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4AFD25FE-E2B5-09CE-A4B6-BB24CA2F21A9}"/>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4" name="Datumsplatzhalter 3">
            <a:extLst>
              <a:ext uri="{FF2B5EF4-FFF2-40B4-BE49-F238E27FC236}">
                <a16:creationId xmlns:a16="http://schemas.microsoft.com/office/drawing/2014/main" id="{A4C76ABF-E82F-071C-A6E3-C27C73CFE97D}"/>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4355A2A2-23D8-57D0-420A-AC89527D4B89}"/>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960DD980-E4CA-9289-7D8E-D850DBFD71B3}"/>
              </a:ext>
            </a:extLst>
          </p:cNvPr>
          <p:cNvSpPr>
            <a:spLocks noGrp="1"/>
          </p:cNvSpPr>
          <p:nvPr>
            <p:ph type="sldNum" sz="quarter" idx="12"/>
          </p:nvPr>
        </p:nvSpPr>
        <p:spPr/>
        <p:txBody>
          <a:bodyPr/>
          <a:lstStyle/>
          <a:p>
            <a:fld id="{E84006A6-0E15-460A-BCD4-002C20F8AC9F}" type="slidenum">
              <a:rPr lang="de-DE" smtClean="0"/>
              <a:pPr/>
              <a:t>16</a:t>
            </a:fld>
            <a:endParaRPr lang="de-DE"/>
          </a:p>
        </p:txBody>
      </p:sp>
      <p:sp>
        <p:nvSpPr>
          <p:cNvPr id="20" name="Inhaltsplatzhalter 19">
            <a:extLst>
              <a:ext uri="{FF2B5EF4-FFF2-40B4-BE49-F238E27FC236}">
                <a16:creationId xmlns:a16="http://schemas.microsoft.com/office/drawing/2014/main" id="{CEC9E129-8697-328E-2483-EC5A1FB83F4A}"/>
              </a:ext>
            </a:extLst>
          </p:cNvPr>
          <p:cNvSpPr>
            <a:spLocks noGrp="1"/>
          </p:cNvSpPr>
          <p:nvPr>
            <p:ph sz="quarter" idx="16"/>
          </p:nvPr>
        </p:nvSpPr>
        <p:spPr/>
        <p:txBody>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pic>
        <p:nvPicPr>
          <p:cNvPr id="21" name="Inhaltsplatzhalter 25">
            <a:extLst>
              <a:ext uri="{FF2B5EF4-FFF2-40B4-BE49-F238E27FC236}">
                <a16:creationId xmlns:a16="http://schemas.microsoft.com/office/drawing/2014/main" id="{1A0D87C4-22D1-7623-1973-0FCC83A87283}"/>
              </a:ext>
            </a:extLst>
          </p:cNvPr>
          <p:cNvPicPr>
            <a:picLocks noGrp="1" noChangeAspect="1"/>
          </p:cNvPicPr>
          <p:nvPr>
            <p:ph sz="quarter" idx="17"/>
          </p:nvPr>
        </p:nvPicPr>
        <p:blipFill rotWithShape="1">
          <a:blip r:embed="rId2">
            <a:extLst>
              <a:ext uri="{28A0092B-C50C-407E-A947-70E740481C1C}">
                <a14:useLocalDpi xmlns:a14="http://schemas.microsoft.com/office/drawing/2010/main"/>
              </a:ext>
            </a:extLst>
          </a:blip>
          <a:srcRect l="22216" r="22216"/>
          <a:stretch/>
        </p:blipFill>
        <p:spPr>
          <a:xfrm>
            <a:off x="6096000" y="765175"/>
            <a:ext cx="5580063" cy="5364159"/>
          </a:xfrm>
        </p:spPr>
      </p:pic>
    </p:spTree>
    <p:extLst>
      <p:ext uri="{BB962C8B-B14F-4D97-AF65-F5344CB8AC3E}">
        <p14:creationId xmlns:p14="http://schemas.microsoft.com/office/powerpoint/2010/main" val="3990099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4AFD25FE-E2B5-09CE-A4B6-BB24CA2F21A9}"/>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4" name="Datumsplatzhalter 3">
            <a:extLst>
              <a:ext uri="{FF2B5EF4-FFF2-40B4-BE49-F238E27FC236}">
                <a16:creationId xmlns:a16="http://schemas.microsoft.com/office/drawing/2014/main" id="{A4C76ABF-E82F-071C-A6E3-C27C73CFE97D}"/>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4355A2A2-23D8-57D0-420A-AC89527D4B89}"/>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960DD980-E4CA-9289-7D8E-D850DBFD71B3}"/>
              </a:ext>
            </a:extLst>
          </p:cNvPr>
          <p:cNvSpPr>
            <a:spLocks noGrp="1"/>
          </p:cNvSpPr>
          <p:nvPr>
            <p:ph type="sldNum" sz="quarter" idx="12"/>
          </p:nvPr>
        </p:nvSpPr>
        <p:spPr/>
        <p:txBody>
          <a:bodyPr/>
          <a:lstStyle/>
          <a:p>
            <a:fld id="{E84006A6-0E15-460A-BCD4-002C20F8AC9F}" type="slidenum">
              <a:rPr lang="de-DE" smtClean="0"/>
              <a:pPr/>
              <a:t>17</a:t>
            </a:fld>
            <a:endParaRPr lang="de-DE"/>
          </a:p>
        </p:txBody>
      </p:sp>
      <p:sp>
        <p:nvSpPr>
          <p:cNvPr id="20" name="Inhaltsplatzhalter 19">
            <a:extLst>
              <a:ext uri="{FF2B5EF4-FFF2-40B4-BE49-F238E27FC236}">
                <a16:creationId xmlns:a16="http://schemas.microsoft.com/office/drawing/2014/main" id="{CEC9E129-8697-328E-2483-EC5A1FB83F4A}"/>
              </a:ext>
            </a:extLst>
          </p:cNvPr>
          <p:cNvSpPr>
            <a:spLocks noGrp="1"/>
          </p:cNvSpPr>
          <p:nvPr>
            <p:ph sz="quarter" idx="16"/>
          </p:nvPr>
        </p:nvSpPr>
        <p:spPr/>
        <p:txBody>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pic>
        <p:nvPicPr>
          <p:cNvPr id="21" name="Inhaltsplatzhalter 25">
            <a:extLst>
              <a:ext uri="{FF2B5EF4-FFF2-40B4-BE49-F238E27FC236}">
                <a16:creationId xmlns:a16="http://schemas.microsoft.com/office/drawing/2014/main" id="{1A0D87C4-22D1-7623-1973-0FCC83A87283}"/>
              </a:ext>
            </a:extLst>
          </p:cNvPr>
          <p:cNvPicPr>
            <a:picLocks noGrp="1" noChangeAspect="1"/>
          </p:cNvPicPr>
          <p:nvPr>
            <p:ph sz="quarter" idx="17"/>
          </p:nvPr>
        </p:nvPicPr>
        <p:blipFill rotWithShape="1">
          <a:blip r:embed="rId2">
            <a:extLst>
              <a:ext uri="{28A0092B-C50C-407E-A947-70E740481C1C}">
                <a14:useLocalDpi xmlns:a14="http://schemas.microsoft.com/office/drawing/2010/main"/>
              </a:ext>
            </a:extLst>
          </a:blip>
          <a:srcRect l="22216" r="22216"/>
          <a:stretch/>
        </p:blipFill>
        <p:spPr>
          <a:xfrm>
            <a:off x="6096000" y="765175"/>
            <a:ext cx="5580063" cy="5364159"/>
          </a:xfrm>
        </p:spPr>
      </p:pic>
    </p:spTree>
    <p:extLst>
      <p:ext uri="{BB962C8B-B14F-4D97-AF65-F5344CB8AC3E}">
        <p14:creationId xmlns:p14="http://schemas.microsoft.com/office/powerpoint/2010/main" val="41728346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nhaltsplatzhalter 12">
            <a:extLst>
              <a:ext uri="{FF2B5EF4-FFF2-40B4-BE49-F238E27FC236}">
                <a16:creationId xmlns:a16="http://schemas.microsoft.com/office/drawing/2014/main" id="{8121ED4C-C901-0457-A195-66EF7C174C41}"/>
              </a:ext>
            </a:extLst>
          </p:cNvPr>
          <p:cNvPicPr>
            <a:picLocks noGrp="1" noChangeAspect="1"/>
          </p:cNvPicPr>
          <p:nvPr>
            <p:ph sz="quarter" idx="17"/>
          </p:nvPr>
        </p:nvPicPr>
        <p:blipFill rotWithShape="1">
          <a:blip r:embed="rId2">
            <a:extLst>
              <a:ext uri="{28A0092B-C50C-407E-A947-70E740481C1C}">
                <a14:useLocalDpi xmlns:a14="http://schemas.microsoft.com/office/drawing/2010/main"/>
              </a:ext>
            </a:extLst>
          </a:blip>
          <a:srcRect l="26259" r="26259"/>
          <a:stretch/>
        </p:blipFill>
        <p:spPr>
          <a:xfrm>
            <a:off x="6096000" y="0"/>
            <a:ext cx="6096000" cy="6857999"/>
          </a:xfrm>
        </p:spPr>
      </p:pic>
      <p:sp>
        <p:nvSpPr>
          <p:cNvPr id="8" name="Titel 7">
            <a:extLst>
              <a:ext uri="{FF2B5EF4-FFF2-40B4-BE49-F238E27FC236}">
                <a16:creationId xmlns:a16="http://schemas.microsoft.com/office/drawing/2014/main" id="{A26535A7-276E-9B76-AB31-DE38276405A9}"/>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9" name="Textplatzhalter 8">
            <a:extLst>
              <a:ext uri="{FF2B5EF4-FFF2-40B4-BE49-F238E27FC236}">
                <a16:creationId xmlns:a16="http://schemas.microsoft.com/office/drawing/2014/main" id="{BCD2A7E6-CD24-00CA-52FB-F16214EC507E}"/>
              </a:ext>
            </a:extLst>
          </p:cNvPr>
          <p:cNvSpPr>
            <a:spLocks noGrp="1"/>
          </p:cNvSpPr>
          <p:nvPr>
            <p:ph type="body" sz="quarter" idx="16"/>
          </p:nvPr>
        </p:nvSpPr>
        <p:spPr/>
        <p:txBody>
          <a:bodyPr/>
          <a:lstStyle/>
          <a:p>
            <a:endParaRPr lang="de-DE"/>
          </a:p>
        </p:txBody>
      </p:sp>
      <p:sp>
        <p:nvSpPr>
          <p:cNvPr id="3" name="Datumsplatzhalter 2">
            <a:extLst>
              <a:ext uri="{FF2B5EF4-FFF2-40B4-BE49-F238E27FC236}">
                <a16:creationId xmlns:a16="http://schemas.microsoft.com/office/drawing/2014/main" id="{316148D0-2A1D-6ACF-C163-1CE5EA6B48C1}"/>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06B8EEAD-3552-5BCC-99FE-0E9ED31B0D39}"/>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4A445C6-78DD-C90D-A9D7-477F3897AB6A}"/>
              </a:ext>
            </a:extLst>
          </p:cNvPr>
          <p:cNvSpPr>
            <a:spLocks noGrp="1"/>
          </p:cNvSpPr>
          <p:nvPr>
            <p:ph type="sldNum" sz="quarter" idx="4"/>
          </p:nvPr>
        </p:nvSpPr>
        <p:spPr/>
        <p:txBody>
          <a:bodyPr/>
          <a:lstStyle/>
          <a:p>
            <a:fld id="{E84006A6-0E15-460A-BCD4-002C20F8AC9F}" type="slidenum">
              <a:rPr lang="de-DE" smtClean="0"/>
              <a:pPr/>
              <a:t>18</a:t>
            </a:fld>
            <a:endParaRPr lang="de-DE"/>
          </a:p>
        </p:txBody>
      </p:sp>
      <p:sp>
        <p:nvSpPr>
          <p:cNvPr id="11" name="Inhaltsplatzhalter 10">
            <a:extLst>
              <a:ext uri="{FF2B5EF4-FFF2-40B4-BE49-F238E27FC236}">
                <a16:creationId xmlns:a16="http://schemas.microsoft.com/office/drawing/2014/main" id="{9B7ACC3E-99BB-BFAB-A4B3-0211597117AC}"/>
              </a:ext>
            </a:extLst>
          </p:cNvPr>
          <p:cNvSpPr>
            <a:spLocks noGrp="1"/>
          </p:cNvSpPr>
          <p:nvPr>
            <p:ph sz="quarter" idx="18"/>
          </p:nvPr>
        </p:nvSpPr>
        <p:spPr/>
        <p:txBody>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3792722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nhaltsplatzhalter 12">
            <a:extLst>
              <a:ext uri="{FF2B5EF4-FFF2-40B4-BE49-F238E27FC236}">
                <a16:creationId xmlns:a16="http://schemas.microsoft.com/office/drawing/2014/main" id="{8121ED4C-C901-0457-A195-66EF7C174C41}"/>
              </a:ext>
            </a:extLst>
          </p:cNvPr>
          <p:cNvPicPr>
            <a:picLocks noGrp="1" noChangeAspect="1"/>
          </p:cNvPicPr>
          <p:nvPr>
            <p:ph sz="quarter" idx="17"/>
          </p:nvPr>
        </p:nvPicPr>
        <p:blipFill rotWithShape="1">
          <a:blip r:embed="rId2">
            <a:extLst>
              <a:ext uri="{28A0092B-C50C-407E-A947-70E740481C1C}">
                <a14:useLocalDpi xmlns:a14="http://schemas.microsoft.com/office/drawing/2010/main"/>
              </a:ext>
            </a:extLst>
          </a:blip>
          <a:srcRect l="26259" r="26259"/>
          <a:stretch/>
        </p:blipFill>
        <p:spPr>
          <a:xfrm>
            <a:off x="6096000" y="0"/>
            <a:ext cx="6096000" cy="6858000"/>
          </a:xfrm>
        </p:spPr>
      </p:pic>
      <p:sp>
        <p:nvSpPr>
          <p:cNvPr id="8" name="Titel 7">
            <a:extLst>
              <a:ext uri="{FF2B5EF4-FFF2-40B4-BE49-F238E27FC236}">
                <a16:creationId xmlns:a16="http://schemas.microsoft.com/office/drawing/2014/main" id="{A26535A7-276E-9B76-AB31-DE38276405A9}"/>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2" name="Textplatzhalter 1">
            <a:extLst>
              <a:ext uri="{FF2B5EF4-FFF2-40B4-BE49-F238E27FC236}">
                <a16:creationId xmlns:a16="http://schemas.microsoft.com/office/drawing/2014/main" id="{8A7E08FF-8770-1FA2-E6C8-C989FAABD95C}"/>
              </a:ext>
            </a:extLst>
          </p:cNvPr>
          <p:cNvSpPr>
            <a:spLocks noGrp="1"/>
          </p:cNvSpPr>
          <p:nvPr>
            <p:ph type="body" sz="quarter" idx="16"/>
          </p:nvPr>
        </p:nvSpPr>
        <p:spPr/>
        <p:txBody>
          <a:bodyPr/>
          <a:lstStyle/>
          <a:p>
            <a:endParaRPr lang="de-DE"/>
          </a:p>
        </p:txBody>
      </p:sp>
      <p:sp>
        <p:nvSpPr>
          <p:cNvPr id="3" name="Datumsplatzhalter 2">
            <a:extLst>
              <a:ext uri="{FF2B5EF4-FFF2-40B4-BE49-F238E27FC236}">
                <a16:creationId xmlns:a16="http://schemas.microsoft.com/office/drawing/2014/main" id="{316148D0-2A1D-6ACF-C163-1CE5EA6B48C1}"/>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06B8EEAD-3552-5BCC-99FE-0E9ED31B0D39}"/>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4A445C6-78DD-C90D-A9D7-477F3897AB6A}"/>
              </a:ext>
            </a:extLst>
          </p:cNvPr>
          <p:cNvSpPr>
            <a:spLocks noGrp="1"/>
          </p:cNvSpPr>
          <p:nvPr>
            <p:ph type="sldNum" sz="quarter" idx="4"/>
          </p:nvPr>
        </p:nvSpPr>
        <p:spPr/>
        <p:txBody>
          <a:bodyPr/>
          <a:lstStyle/>
          <a:p>
            <a:fld id="{E84006A6-0E15-460A-BCD4-002C20F8AC9F}" type="slidenum">
              <a:rPr lang="de-DE" smtClean="0"/>
              <a:pPr/>
              <a:t>19</a:t>
            </a:fld>
            <a:endParaRPr lang="de-DE"/>
          </a:p>
        </p:txBody>
      </p:sp>
      <p:sp>
        <p:nvSpPr>
          <p:cNvPr id="11" name="Inhaltsplatzhalter 10">
            <a:extLst>
              <a:ext uri="{FF2B5EF4-FFF2-40B4-BE49-F238E27FC236}">
                <a16:creationId xmlns:a16="http://schemas.microsoft.com/office/drawing/2014/main" id="{9B7ACC3E-99BB-BFAB-A4B3-0211597117AC}"/>
              </a:ext>
            </a:extLst>
          </p:cNvPr>
          <p:cNvSpPr>
            <a:spLocks noGrp="1"/>
          </p:cNvSpPr>
          <p:nvPr>
            <p:ph sz="quarter" idx="18"/>
          </p:nvPr>
        </p:nvSpPr>
        <p:spPr/>
        <p:txBody>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2057439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11FBEB-D175-4DA8-910B-EA2139E1B287}"/>
              </a:ext>
            </a:extLst>
          </p:cNvPr>
          <p:cNvSpPr>
            <a:spLocks noGrp="1"/>
          </p:cNvSpPr>
          <p:nvPr>
            <p:ph type="title"/>
          </p:nvPr>
        </p:nvSpPr>
        <p:spPr/>
        <p:txBody>
          <a:bodyPr/>
          <a:lstStyle/>
          <a:p>
            <a:r>
              <a:rPr lang="de-DE" dirty="0"/>
              <a:t>Standard </a:t>
            </a:r>
            <a:br>
              <a:rPr lang="de-DE" dirty="0"/>
            </a:br>
            <a:r>
              <a:rPr lang="de-DE" dirty="0"/>
              <a:t>Folienlayout</a:t>
            </a:r>
          </a:p>
        </p:txBody>
      </p:sp>
      <p:sp>
        <p:nvSpPr>
          <p:cNvPr id="3" name="Datumsplatzhalter 2">
            <a:extLst>
              <a:ext uri="{FF2B5EF4-FFF2-40B4-BE49-F238E27FC236}">
                <a16:creationId xmlns:a16="http://schemas.microsoft.com/office/drawing/2014/main" id="{38ACCEE1-BA42-A19A-AD0E-AA36976C46C8}"/>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9BE7D674-AB51-7C76-A94C-B566E9EB4D24}"/>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7BC53DD7-6BE2-C5D3-7CDA-8B65CAC4DBC0}"/>
              </a:ext>
            </a:extLst>
          </p:cNvPr>
          <p:cNvSpPr>
            <a:spLocks noGrp="1"/>
          </p:cNvSpPr>
          <p:nvPr>
            <p:ph type="sldNum" sz="quarter" idx="12"/>
          </p:nvPr>
        </p:nvSpPr>
        <p:spPr/>
        <p:txBody>
          <a:bodyPr/>
          <a:lstStyle/>
          <a:p>
            <a:fld id="{E84006A6-0E15-460A-BCD4-002C20F8AC9F}" type="slidenum">
              <a:rPr lang="de-DE" smtClean="0"/>
              <a:pPr/>
              <a:t>2</a:t>
            </a:fld>
            <a:endParaRPr lang="de-DE"/>
          </a:p>
        </p:txBody>
      </p:sp>
      <p:sp>
        <p:nvSpPr>
          <p:cNvPr id="11" name="Inhaltsplatzhalter 10">
            <a:extLst>
              <a:ext uri="{FF2B5EF4-FFF2-40B4-BE49-F238E27FC236}">
                <a16:creationId xmlns:a16="http://schemas.microsoft.com/office/drawing/2014/main" id="{5C5686A1-7D5D-FFA6-F99C-F13BE2E3875D}"/>
              </a:ext>
            </a:extLst>
          </p:cNvPr>
          <p:cNvSpPr>
            <a:spLocks noGrp="1"/>
          </p:cNvSpPr>
          <p:nvPr>
            <p:ph sz="quarter" idx="14"/>
          </p:nvPr>
        </p:nvSpPr>
        <p:spPr/>
        <p:txBody>
          <a:bodyPr/>
          <a:lstStyle/>
          <a:p>
            <a:pPr marL="0" indent="0">
              <a:buNone/>
            </a:pPr>
            <a:r>
              <a:rPr lang="de-DE" b="1" dirty="0"/>
              <a:t>Lorem ipsum dolor sit amet, consectetuer adipiscing elit. Maecenas porttitor congue massa. </a:t>
            </a:r>
          </a:p>
          <a:p>
            <a:pPr marL="0" indent="0">
              <a:buNone/>
            </a:pPr>
            <a:endParaRPr lang="de-DE" b="1" dirty="0"/>
          </a:p>
          <a:p>
            <a:r>
              <a:rPr lang="de-DE" dirty="0"/>
              <a:t>Fusce posuere, magna sed pulvinar ultricies, purus lectus malesuada libero, </a:t>
            </a:r>
            <a:br>
              <a:rPr lang="de-DE" dirty="0"/>
            </a:br>
            <a:r>
              <a:rPr lang="de-DE" dirty="0"/>
              <a:t>sit amet commodo magna eros quis urna.</a:t>
            </a:r>
          </a:p>
          <a:p>
            <a:r>
              <a:rPr lang="de-DE" dirty="0"/>
              <a:t>Nunc viverra imperdiet enim. Fusce est. Vivamus a tellus.</a:t>
            </a:r>
          </a:p>
          <a:p>
            <a:r>
              <a:rPr lang="de-DE" dirty="0"/>
              <a:t>Pellentesque habitant morbi tristique senectus et netus et malesuada fames ac turpis </a:t>
            </a:r>
            <a:br>
              <a:rPr lang="de-DE" dirty="0"/>
            </a:br>
            <a:r>
              <a:rPr lang="de-DE" dirty="0"/>
              <a:t>egestas. Proin pharetra nonummy pede. Mauris et orci.</a:t>
            </a:r>
          </a:p>
        </p:txBody>
      </p:sp>
    </p:spTree>
    <p:extLst>
      <p:ext uri="{BB962C8B-B14F-4D97-AF65-F5344CB8AC3E}">
        <p14:creationId xmlns:p14="http://schemas.microsoft.com/office/powerpoint/2010/main" val="4161698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nhaltsplatzhalter 18">
            <a:extLst>
              <a:ext uri="{FF2B5EF4-FFF2-40B4-BE49-F238E27FC236}">
                <a16:creationId xmlns:a16="http://schemas.microsoft.com/office/drawing/2014/main" id="{AAB8BDB9-9693-B47D-F11B-D24FAE0D6768}"/>
              </a:ext>
            </a:extLst>
          </p:cNvPr>
          <p:cNvPicPr>
            <a:picLocks noGrp="1" noChangeAspect="1"/>
          </p:cNvPicPr>
          <p:nvPr>
            <p:ph sz="quarter" idx="21"/>
          </p:nvPr>
        </p:nvPicPr>
        <p:blipFill rotWithShape="1">
          <a:blip r:embed="rId2" cstate="print">
            <a:extLst>
              <a:ext uri="{28A0092B-C50C-407E-A947-70E740481C1C}">
                <a14:useLocalDpi xmlns:a14="http://schemas.microsoft.com/office/drawing/2010/main"/>
              </a:ext>
            </a:extLst>
          </a:blip>
          <a:srcRect l="12704" r="12704"/>
          <a:stretch/>
        </p:blipFill>
        <p:spPr>
          <a:xfrm>
            <a:off x="6096000" y="0"/>
            <a:ext cx="6096000" cy="6129338"/>
          </a:xfrm>
        </p:spPr>
      </p:pic>
      <p:sp>
        <p:nvSpPr>
          <p:cNvPr id="5" name="Datumsplatzhalter 4">
            <a:extLst>
              <a:ext uri="{FF2B5EF4-FFF2-40B4-BE49-F238E27FC236}">
                <a16:creationId xmlns:a16="http://schemas.microsoft.com/office/drawing/2014/main" id="{425F1678-F7A9-8752-0C4C-FC8ECA0D2242}"/>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FCAB5B22-5862-0172-647C-0436B816FE92}"/>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00667B62-CCF1-D949-F8C7-635A64D20397}"/>
              </a:ext>
            </a:extLst>
          </p:cNvPr>
          <p:cNvSpPr>
            <a:spLocks noGrp="1"/>
          </p:cNvSpPr>
          <p:nvPr>
            <p:ph type="sldNum" sz="quarter" idx="12"/>
          </p:nvPr>
        </p:nvSpPr>
        <p:spPr/>
        <p:txBody>
          <a:bodyPr/>
          <a:lstStyle/>
          <a:p>
            <a:fld id="{E84006A6-0E15-460A-BCD4-002C20F8AC9F}" type="slidenum">
              <a:rPr lang="de-DE" smtClean="0"/>
              <a:pPr/>
              <a:t>20</a:t>
            </a:fld>
            <a:endParaRPr lang="de-DE"/>
          </a:p>
        </p:txBody>
      </p:sp>
      <p:sp>
        <p:nvSpPr>
          <p:cNvPr id="9" name="Titel 8">
            <a:extLst>
              <a:ext uri="{FF2B5EF4-FFF2-40B4-BE49-F238E27FC236}">
                <a16:creationId xmlns:a16="http://schemas.microsoft.com/office/drawing/2014/main" id="{612CDBFB-46BB-C5B3-4403-BB4E26851298}"/>
              </a:ext>
            </a:extLst>
          </p:cNvPr>
          <p:cNvSpPr>
            <a:spLocks noGrp="1"/>
          </p:cNvSpPr>
          <p:nvPr>
            <p:ph type="title"/>
          </p:nvPr>
        </p:nvSpPr>
        <p:spPr/>
        <p:txBody>
          <a:bodyPr/>
          <a:lstStyle/>
          <a:p>
            <a:r>
              <a:rPr lang="de-DE" dirty="0"/>
              <a:t>Hier steht eine Headline.</a:t>
            </a:r>
          </a:p>
        </p:txBody>
      </p:sp>
      <p:sp>
        <p:nvSpPr>
          <p:cNvPr id="13" name="Textplatzhalter 12">
            <a:extLst>
              <a:ext uri="{FF2B5EF4-FFF2-40B4-BE49-F238E27FC236}">
                <a16:creationId xmlns:a16="http://schemas.microsoft.com/office/drawing/2014/main" id="{0CB69C0A-E10F-05DE-A0C2-77C406F347F9}"/>
              </a:ext>
            </a:extLst>
          </p:cNvPr>
          <p:cNvSpPr>
            <a:spLocks noGrp="1"/>
          </p:cNvSpPr>
          <p:nvPr>
            <p:ph type="body" sz="quarter" idx="19"/>
          </p:nvPr>
        </p:nvSpPr>
        <p:spPr/>
        <p:txBody>
          <a:bodyPr/>
          <a:lstStyle/>
          <a:p>
            <a:r>
              <a:rPr lang="de-DE" dirty="0"/>
              <a:t>Hier steht eine Beschreibung.</a:t>
            </a:r>
          </a:p>
        </p:txBody>
      </p:sp>
      <p:sp>
        <p:nvSpPr>
          <p:cNvPr id="16" name="Inhaltsplatzhalter 15">
            <a:extLst>
              <a:ext uri="{FF2B5EF4-FFF2-40B4-BE49-F238E27FC236}">
                <a16:creationId xmlns:a16="http://schemas.microsoft.com/office/drawing/2014/main" id="{FEA2625D-FD79-FE0E-F8BA-05DF6D0B3AE4}"/>
              </a:ext>
            </a:extLst>
          </p:cNvPr>
          <p:cNvSpPr>
            <a:spLocks noGrp="1"/>
          </p:cNvSpPr>
          <p:nvPr>
            <p:ph sz="quarter" idx="22"/>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 Nunc viverra imperdiet enim. Fusce est. Vivamus a tellus.</a:t>
            </a:r>
          </a:p>
          <a:p>
            <a:pPr marL="0" indent="0">
              <a:buNone/>
            </a:pPr>
            <a:r>
              <a:rPr lang="de-DE" dirty="0"/>
              <a:t>Pellentesque habitant morbi tristique senectus et netus et malesuada fames ac turpis egestas. Proin pharetra nonummy pede. Mauris et orci.</a:t>
            </a:r>
          </a:p>
        </p:txBody>
      </p:sp>
      <p:pic>
        <p:nvPicPr>
          <p:cNvPr id="17" name="Bildplatzhalter 64">
            <a:extLst>
              <a:ext uri="{FF2B5EF4-FFF2-40B4-BE49-F238E27FC236}">
                <a16:creationId xmlns:a16="http://schemas.microsoft.com/office/drawing/2014/main" id="{5612FC1C-7EAA-7DC3-B0B7-9532F73482BE}"/>
              </a:ext>
            </a:extLst>
          </p:cNvPr>
          <p:cNvPicPr>
            <a:picLocks noGrp="1" noChangeAspect="1"/>
          </p:cNvPicPr>
          <p:nvPr>
            <p:ph type="pic" sz="quarter" idx="20"/>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952" r="952"/>
          <a:stretch>
            <a:fillRect/>
          </a:stretch>
        </p:blipFill>
        <p:spPr/>
      </p:pic>
      <p:pic>
        <p:nvPicPr>
          <p:cNvPr id="20" name="Bildplatzhalter 72">
            <a:extLst>
              <a:ext uri="{FF2B5EF4-FFF2-40B4-BE49-F238E27FC236}">
                <a16:creationId xmlns:a16="http://schemas.microsoft.com/office/drawing/2014/main" id="{32B7138A-8D17-139D-B5AC-22A91DADFA3F}"/>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t="132" b="132"/>
          <a:stretch>
            <a:fillRect/>
          </a:stretch>
        </p:blipFill>
        <p:spPr/>
      </p:pic>
      <p:pic>
        <p:nvPicPr>
          <p:cNvPr id="21" name="Bildplatzhalter 72">
            <a:extLst>
              <a:ext uri="{FF2B5EF4-FFF2-40B4-BE49-F238E27FC236}">
                <a16:creationId xmlns:a16="http://schemas.microsoft.com/office/drawing/2014/main" id="{7F019BCE-DA3B-F404-7590-094128BE8A40}"/>
              </a:ext>
            </a:extLst>
          </p:cNvPr>
          <p:cNvPicPr>
            <a:picLocks noGrp="1" noChangeAspect="1"/>
          </p:cNvPicPr>
          <p:nvPr>
            <p:ph type="pic" sz="quarter" idx="16"/>
          </p:nvPr>
        </p:nvPicPr>
        <p:blipFill>
          <a:blip r:embed="rId5" cstate="print">
            <a:extLst>
              <a:ext uri="{28A0092B-C50C-407E-A947-70E740481C1C}">
                <a14:useLocalDpi xmlns:a14="http://schemas.microsoft.com/office/drawing/2010/main"/>
              </a:ext>
            </a:extLst>
          </a:blip>
          <a:srcRect t="132" b="132"/>
          <a:stretch>
            <a:fillRect/>
          </a:stretch>
        </p:blipFill>
        <p:spPr/>
      </p:pic>
      <p:pic>
        <p:nvPicPr>
          <p:cNvPr id="22" name="Bildplatzhalter 72">
            <a:extLst>
              <a:ext uri="{FF2B5EF4-FFF2-40B4-BE49-F238E27FC236}">
                <a16:creationId xmlns:a16="http://schemas.microsoft.com/office/drawing/2014/main" id="{F4B2E14A-A11D-E7AD-7D8E-61F22E7A8552}"/>
              </a:ext>
            </a:extLst>
          </p:cNvPr>
          <p:cNvPicPr>
            <a:picLocks noGrp="1" noChangeAspect="1"/>
          </p:cNvPicPr>
          <p:nvPr>
            <p:ph type="pic" sz="quarter" idx="17"/>
          </p:nvPr>
        </p:nvPicPr>
        <p:blipFill>
          <a:blip r:embed="rId5" cstate="print">
            <a:extLst>
              <a:ext uri="{28A0092B-C50C-407E-A947-70E740481C1C}">
                <a14:useLocalDpi xmlns:a14="http://schemas.microsoft.com/office/drawing/2010/main"/>
              </a:ext>
            </a:extLst>
          </a:blip>
          <a:srcRect t="132" b="132"/>
          <a:stretch>
            <a:fillRect/>
          </a:stretch>
        </p:blipFill>
        <p:spPr/>
      </p:pic>
    </p:spTree>
    <p:extLst>
      <p:ext uri="{BB962C8B-B14F-4D97-AF65-F5344CB8AC3E}">
        <p14:creationId xmlns:p14="http://schemas.microsoft.com/office/powerpoint/2010/main" val="763104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nhaltsplatzhalter 18">
            <a:extLst>
              <a:ext uri="{FF2B5EF4-FFF2-40B4-BE49-F238E27FC236}">
                <a16:creationId xmlns:a16="http://schemas.microsoft.com/office/drawing/2014/main" id="{AAB8BDB9-9693-B47D-F11B-D24FAE0D6768}"/>
              </a:ext>
            </a:extLst>
          </p:cNvPr>
          <p:cNvPicPr>
            <a:picLocks noGrp="1" noChangeAspect="1"/>
          </p:cNvPicPr>
          <p:nvPr>
            <p:ph sz="quarter" idx="21"/>
          </p:nvPr>
        </p:nvPicPr>
        <p:blipFill rotWithShape="1">
          <a:blip r:embed="rId2" cstate="print">
            <a:extLst>
              <a:ext uri="{28A0092B-C50C-407E-A947-70E740481C1C}">
                <a14:useLocalDpi xmlns:a14="http://schemas.microsoft.com/office/drawing/2010/main"/>
              </a:ext>
            </a:extLst>
          </a:blip>
          <a:srcRect l="12704" r="12704"/>
          <a:stretch/>
        </p:blipFill>
        <p:spPr>
          <a:xfrm>
            <a:off x="6096000" y="0"/>
            <a:ext cx="6096000" cy="6129334"/>
          </a:xfrm>
        </p:spPr>
      </p:pic>
      <p:sp>
        <p:nvSpPr>
          <p:cNvPr id="5" name="Datumsplatzhalter 4">
            <a:extLst>
              <a:ext uri="{FF2B5EF4-FFF2-40B4-BE49-F238E27FC236}">
                <a16:creationId xmlns:a16="http://schemas.microsoft.com/office/drawing/2014/main" id="{425F1678-F7A9-8752-0C4C-FC8ECA0D2242}"/>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FCAB5B22-5862-0172-647C-0436B816FE92}"/>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00667B62-CCF1-D949-F8C7-635A64D20397}"/>
              </a:ext>
            </a:extLst>
          </p:cNvPr>
          <p:cNvSpPr>
            <a:spLocks noGrp="1"/>
          </p:cNvSpPr>
          <p:nvPr>
            <p:ph type="sldNum" sz="quarter" idx="12"/>
          </p:nvPr>
        </p:nvSpPr>
        <p:spPr/>
        <p:txBody>
          <a:bodyPr/>
          <a:lstStyle/>
          <a:p>
            <a:fld id="{E84006A6-0E15-460A-BCD4-002C20F8AC9F}" type="slidenum">
              <a:rPr lang="de-DE" smtClean="0"/>
              <a:pPr/>
              <a:t>21</a:t>
            </a:fld>
            <a:endParaRPr lang="de-DE"/>
          </a:p>
        </p:txBody>
      </p:sp>
      <p:sp>
        <p:nvSpPr>
          <p:cNvPr id="9" name="Titel 8">
            <a:extLst>
              <a:ext uri="{FF2B5EF4-FFF2-40B4-BE49-F238E27FC236}">
                <a16:creationId xmlns:a16="http://schemas.microsoft.com/office/drawing/2014/main" id="{612CDBFB-46BB-C5B3-4403-BB4E26851298}"/>
              </a:ext>
            </a:extLst>
          </p:cNvPr>
          <p:cNvSpPr>
            <a:spLocks noGrp="1"/>
          </p:cNvSpPr>
          <p:nvPr>
            <p:ph type="title"/>
          </p:nvPr>
        </p:nvSpPr>
        <p:spPr/>
        <p:txBody>
          <a:bodyPr/>
          <a:lstStyle/>
          <a:p>
            <a:r>
              <a:rPr lang="de-DE" dirty="0"/>
              <a:t>Hier steht eine Headline.</a:t>
            </a:r>
          </a:p>
        </p:txBody>
      </p:sp>
      <p:pic>
        <p:nvPicPr>
          <p:cNvPr id="20" name="Bildplatzhalter 72">
            <a:extLst>
              <a:ext uri="{FF2B5EF4-FFF2-40B4-BE49-F238E27FC236}">
                <a16:creationId xmlns:a16="http://schemas.microsoft.com/office/drawing/2014/main" id="{32B7138A-8D17-139D-B5AC-22A91DADFA3F}"/>
              </a:ext>
            </a:extLst>
          </p:cNvPr>
          <p:cNvPicPr>
            <a:picLocks noGrp="1" noChangeAspect="1"/>
          </p:cNvPicPr>
          <p:nvPr>
            <p:ph type="pic" sz="quarter" idx="15"/>
          </p:nvPr>
        </p:nvPicPr>
        <p:blipFill rotWithShape="1">
          <a:blip r:embed="rId3" cstate="print">
            <a:extLst>
              <a:ext uri="{28A0092B-C50C-407E-A947-70E740481C1C}">
                <a14:useLocalDpi xmlns:a14="http://schemas.microsoft.com/office/drawing/2010/main"/>
              </a:ext>
            </a:extLst>
          </a:blip>
          <a:srcRect t="132" b="132"/>
          <a:stretch/>
        </p:blipFill>
        <p:spPr/>
      </p:pic>
      <p:pic>
        <p:nvPicPr>
          <p:cNvPr id="21" name="Bildplatzhalter 72">
            <a:extLst>
              <a:ext uri="{FF2B5EF4-FFF2-40B4-BE49-F238E27FC236}">
                <a16:creationId xmlns:a16="http://schemas.microsoft.com/office/drawing/2014/main" id="{7F019BCE-DA3B-F404-7590-094128BE8A40}"/>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a:ext>
            </a:extLst>
          </a:blip>
          <a:srcRect t="132" b="132"/>
          <a:stretch/>
        </p:blipFill>
        <p:spPr/>
      </p:pic>
      <p:pic>
        <p:nvPicPr>
          <p:cNvPr id="22" name="Bildplatzhalter 72">
            <a:extLst>
              <a:ext uri="{FF2B5EF4-FFF2-40B4-BE49-F238E27FC236}">
                <a16:creationId xmlns:a16="http://schemas.microsoft.com/office/drawing/2014/main" id="{F4B2E14A-A11D-E7AD-7D8E-61F22E7A8552}"/>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t="132" b="132"/>
          <a:stretch/>
        </p:blipFill>
        <p:spPr/>
      </p:pic>
      <p:sp>
        <p:nvSpPr>
          <p:cNvPr id="13" name="Textplatzhalter 12">
            <a:extLst>
              <a:ext uri="{FF2B5EF4-FFF2-40B4-BE49-F238E27FC236}">
                <a16:creationId xmlns:a16="http://schemas.microsoft.com/office/drawing/2014/main" id="{0CB69C0A-E10F-05DE-A0C2-77C406F347F9}"/>
              </a:ext>
            </a:extLst>
          </p:cNvPr>
          <p:cNvSpPr>
            <a:spLocks noGrp="1"/>
          </p:cNvSpPr>
          <p:nvPr>
            <p:ph type="body" sz="quarter" idx="19"/>
          </p:nvPr>
        </p:nvSpPr>
        <p:spPr/>
        <p:txBody>
          <a:bodyPr/>
          <a:lstStyle/>
          <a:p>
            <a:r>
              <a:rPr lang="de-DE" dirty="0"/>
              <a:t>Hier steht eine Beschreibung.</a:t>
            </a:r>
          </a:p>
        </p:txBody>
      </p:sp>
      <p:pic>
        <p:nvPicPr>
          <p:cNvPr id="17" name="Bildplatzhalter 64">
            <a:extLst>
              <a:ext uri="{FF2B5EF4-FFF2-40B4-BE49-F238E27FC236}">
                <a16:creationId xmlns:a16="http://schemas.microsoft.com/office/drawing/2014/main" id="{5612FC1C-7EAA-7DC3-B0B7-9532F73482BE}"/>
              </a:ext>
            </a:extLst>
          </p:cNvPr>
          <p:cNvPicPr>
            <a:picLocks noGrp="1" noChangeAspect="1"/>
          </p:cNvPicPr>
          <p:nvPr>
            <p:ph type="pic" sz="quarter" idx="20"/>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952" r="952"/>
          <a:stretch/>
        </p:blipFill>
        <p:spPr/>
      </p:pic>
      <p:sp>
        <p:nvSpPr>
          <p:cNvPr id="16" name="Inhaltsplatzhalter 15">
            <a:extLst>
              <a:ext uri="{FF2B5EF4-FFF2-40B4-BE49-F238E27FC236}">
                <a16:creationId xmlns:a16="http://schemas.microsoft.com/office/drawing/2014/main" id="{FEA2625D-FD79-FE0E-F8BA-05DF6D0B3AE4}"/>
              </a:ext>
            </a:extLst>
          </p:cNvPr>
          <p:cNvSpPr>
            <a:spLocks noGrp="1"/>
          </p:cNvSpPr>
          <p:nvPr>
            <p:ph sz="quarter" idx="22"/>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 Nunc viverra imperdiet enim. Fusce est. Vivamus a tellus.</a:t>
            </a:r>
          </a:p>
          <a:p>
            <a:pPr marL="0" indent="0">
              <a:buNone/>
            </a:pPr>
            <a:r>
              <a:rPr lang="de-DE" dirty="0"/>
              <a:t>Pellentesque habitant morbi tristique senectus et netus et malesuada fames ac turpis egestas. Proin pharetra nonummy pede. Mauris et orci.</a:t>
            </a:r>
          </a:p>
        </p:txBody>
      </p:sp>
    </p:spTree>
    <p:extLst>
      <p:ext uri="{BB962C8B-B14F-4D97-AF65-F5344CB8AC3E}">
        <p14:creationId xmlns:p14="http://schemas.microsoft.com/office/powerpoint/2010/main" val="2491617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C2782B9A-A67B-EC7C-B811-D393C32BF033}"/>
              </a:ext>
            </a:extLst>
          </p:cNvPr>
          <p:cNvPicPr>
            <a:picLocks noGrp="1" noChangeAspect="1"/>
          </p:cNvPicPr>
          <p:nvPr>
            <p:ph type="pic" sz="quarter" idx="14"/>
          </p:nvPr>
        </p:nvPicPr>
        <p:blipFill>
          <a:blip r:embed="rId2">
            <a:extLst>
              <a:ext uri="{28A0092B-C50C-407E-A947-70E740481C1C}">
                <a14:useLocalDpi xmlns:a14="http://schemas.microsoft.com/office/drawing/2010/main"/>
              </a:ext>
            </a:extLst>
          </a:blip>
          <a:srcRect t="12481" b="12481"/>
          <a:stretch>
            <a:fillRect/>
          </a:stretch>
        </p:blipFill>
        <p:spPr/>
      </p:pic>
      <p:sp>
        <p:nvSpPr>
          <p:cNvPr id="3" name="Datumsplatzhalter 2">
            <a:extLst>
              <a:ext uri="{FF2B5EF4-FFF2-40B4-BE49-F238E27FC236}">
                <a16:creationId xmlns:a16="http://schemas.microsoft.com/office/drawing/2014/main" id="{D2D05381-F744-9B94-2F7D-B9288CBE7E5C}"/>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1CDC5F85-0ADD-335D-24C4-1EBA79312589}"/>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C14DFEA9-833F-1969-1163-A32337D9C844}"/>
              </a:ext>
            </a:extLst>
          </p:cNvPr>
          <p:cNvSpPr>
            <a:spLocks noGrp="1"/>
          </p:cNvSpPr>
          <p:nvPr>
            <p:ph type="sldNum" sz="quarter" idx="12"/>
          </p:nvPr>
        </p:nvSpPr>
        <p:spPr/>
        <p:txBody>
          <a:bodyPr/>
          <a:lstStyle/>
          <a:p>
            <a:fld id="{E84006A6-0E15-460A-BCD4-002C20F8AC9F}" type="slidenum">
              <a:rPr lang="de-DE" smtClean="0"/>
              <a:pPr/>
              <a:t>22</a:t>
            </a:fld>
            <a:endParaRPr lang="de-DE"/>
          </a:p>
        </p:txBody>
      </p:sp>
      <p:pic>
        <p:nvPicPr>
          <p:cNvPr id="27" name="Bildplatzhalter 64">
            <a:extLst>
              <a:ext uri="{FF2B5EF4-FFF2-40B4-BE49-F238E27FC236}">
                <a16:creationId xmlns:a16="http://schemas.microsoft.com/office/drawing/2014/main" id="{7D9996A3-59B5-12D3-26E9-4EAAA9019942}"/>
              </a:ext>
            </a:extLst>
          </p:cNvPr>
          <p:cNvPicPr>
            <a:picLocks noGrp="1" noChangeAspect="1"/>
          </p:cNvPicPr>
          <p:nvPr>
            <p:ph type="pic" sz="quarter" idx="20"/>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952" r="952"/>
          <a:stretch/>
        </p:blipFill>
        <p:spPr/>
      </p:pic>
      <p:sp>
        <p:nvSpPr>
          <p:cNvPr id="43" name="Textplatzhalter 42">
            <a:extLst>
              <a:ext uri="{FF2B5EF4-FFF2-40B4-BE49-F238E27FC236}">
                <a16:creationId xmlns:a16="http://schemas.microsoft.com/office/drawing/2014/main" id="{A1E37643-4F87-053F-BFAD-0B3C11B2C351}"/>
              </a:ext>
            </a:extLst>
          </p:cNvPr>
          <p:cNvSpPr>
            <a:spLocks noGrp="1"/>
          </p:cNvSpPr>
          <p:nvPr>
            <p:ph type="body" sz="quarter" idx="24"/>
          </p:nvPr>
        </p:nvSpPr>
        <p:spPr/>
        <p:txBody>
          <a:bodyPr/>
          <a:lstStyle/>
          <a:p>
            <a:endParaRPr lang="de-DE"/>
          </a:p>
        </p:txBody>
      </p:sp>
      <p:sp>
        <p:nvSpPr>
          <p:cNvPr id="38" name="Titel 37">
            <a:extLst>
              <a:ext uri="{FF2B5EF4-FFF2-40B4-BE49-F238E27FC236}">
                <a16:creationId xmlns:a16="http://schemas.microsoft.com/office/drawing/2014/main" id="{24729D99-676E-5B36-1B96-F6509496031C}"/>
              </a:ext>
            </a:extLst>
          </p:cNvPr>
          <p:cNvSpPr>
            <a:spLocks noGrp="1"/>
          </p:cNvSpPr>
          <p:nvPr>
            <p:ph type="title"/>
          </p:nvPr>
        </p:nvSpPr>
        <p:spPr/>
        <p:txBody>
          <a:bodyPr/>
          <a:lstStyle/>
          <a:p>
            <a:r>
              <a:rPr lang="de-DE" dirty="0"/>
              <a:t>Hier steht eine Headline.</a:t>
            </a:r>
          </a:p>
        </p:txBody>
      </p:sp>
      <p:pic>
        <p:nvPicPr>
          <p:cNvPr id="24" name="Bildplatzhalter 72">
            <a:extLst>
              <a:ext uri="{FF2B5EF4-FFF2-40B4-BE49-F238E27FC236}">
                <a16:creationId xmlns:a16="http://schemas.microsoft.com/office/drawing/2014/main" id="{5AAE3A23-6CCA-9B7B-5078-1F165164A746}"/>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a:stretch>
            <a:fillRect/>
          </a:stretch>
        </p:blipFill>
        <p:spPr/>
      </p:pic>
      <p:pic>
        <p:nvPicPr>
          <p:cNvPr id="25" name="Bildplatzhalter 72">
            <a:extLst>
              <a:ext uri="{FF2B5EF4-FFF2-40B4-BE49-F238E27FC236}">
                <a16:creationId xmlns:a16="http://schemas.microsoft.com/office/drawing/2014/main" id="{A22F7AFE-4B0C-0082-F9B8-71D355625946}"/>
              </a:ext>
            </a:extLst>
          </p:cNvPr>
          <p:cNvPicPr>
            <a:picLocks noGrp="1" noChangeAspect="1"/>
          </p:cNvPicPr>
          <p:nvPr>
            <p:ph type="pic" sz="quarter" idx="16"/>
          </p:nvPr>
        </p:nvPicPr>
        <p:blipFill>
          <a:blip r:embed="rId5" cstate="print">
            <a:extLst>
              <a:ext uri="{28A0092B-C50C-407E-A947-70E740481C1C}">
                <a14:useLocalDpi xmlns:a14="http://schemas.microsoft.com/office/drawing/2010/main"/>
              </a:ext>
            </a:extLst>
          </a:blip>
          <a:srcRect/>
          <a:stretch>
            <a:fillRect/>
          </a:stretch>
        </p:blipFill>
        <p:spPr/>
      </p:pic>
      <p:pic>
        <p:nvPicPr>
          <p:cNvPr id="26" name="Bildplatzhalter 72">
            <a:extLst>
              <a:ext uri="{FF2B5EF4-FFF2-40B4-BE49-F238E27FC236}">
                <a16:creationId xmlns:a16="http://schemas.microsoft.com/office/drawing/2014/main" id="{3087A7DD-D4C0-DA7E-A298-42E564BECCD3}"/>
              </a:ext>
            </a:extLst>
          </p:cNvPr>
          <p:cNvPicPr>
            <a:picLocks noGrp="1" noChangeAspect="1"/>
          </p:cNvPicPr>
          <p:nvPr>
            <p:ph type="pic" sz="quarter" idx="17"/>
          </p:nvPr>
        </p:nvPicPr>
        <p:blipFill>
          <a:blip r:embed="rId5" cstate="print">
            <a:extLst>
              <a:ext uri="{28A0092B-C50C-407E-A947-70E740481C1C}">
                <a14:useLocalDpi xmlns:a14="http://schemas.microsoft.com/office/drawing/2010/main"/>
              </a:ext>
            </a:extLst>
          </a:blip>
          <a:srcRect/>
          <a:stretch>
            <a:fillRect/>
          </a:stretch>
        </p:blipFill>
        <p:spPr/>
      </p:pic>
      <p:sp>
        <p:nvSpPr>
          <p:cNvPr id="39" name="Textplatzhalter 38">
            <a:extLst>
              <a:ext uri="{FF2B5EF4-FFF2-40B4-BE49-F238E27FC236}">
                <a16:creationId xmlns:a16="http://schemas.microsoft.com/office/drawing/2014/main" id="{65DB2710-939D-B003-B3DF-8F175E643418}"/>
              </a:ext>
            </a:extLst>
          </p:cNvPr>
          <p:cNvSpPr>
            <a:spLocks noGrp="1"/>
          </p:cNvSpPr>
          <p:nvPr>
            <p:ph type="body" sz="quarter" idx="18"/>
          </p:nvPr>
        </p:nvSpPr>
        <p:spPr/>
        <p:txBody>
          <a:bodyPr/>
          <a:lstStyle/>
          <a:p>
            <a:r>
              <a:rPr lang="de-DE" dirty="0"/>
              <a:t>Lorem ipsum dolor sit amet, consectetuer adipiscing elit. Maecenas porttitor congue massa. Fusce posuere, magna sed pulvinar ultricies, purus lectus malesuada libero, sit amet commodo magna eros quis urna.</a:t>
            </a:r>
          </a:p>
          <a:p>
            <a:r>
              <a:rPr lang="de-DE" dirty="0"/>
              <a:t>Nunc viverra imperdiet enim. Fusce est. Vivamus a tellus.</a:t>
            </a:r>
          </a:p>
          <a:p>
            <a:r>
              <a:rPr lang="de-DE" dirty="0"/>
              <a:t>Pellentesque habitant morbi tristique senectus et netus et malesuada fames ac turpis egestas. Proin pharetra nonummy pede. Mauris et orci.</a:t>
            </a:r>
          </a:p>
          <a:p>
            <a:endParaRPr lang="de-DE" dirty="0"/>
          </a:p>
        </p:txBody>
      </p:sp>
      <p:sp>
        <p:nvSpPr>
          <p:cNvPr id="40" name="Textplatzhalter 39">
            <a:extLst>
              <a:ext uri="{FF2B5EF4-FFF2-40B4-BE49-F238E27FC236}">
                <a16:creationId xmlns:a16="http://schemas.microsoft.com/office/drawing/2014/main" id="{5F6F8BD8-E764-403A-96B9-CB5665CB7189}"/>
              </a:ext>
            </a:extLst>
          </p:cNvPr>
          <p:cNvSpPr>
            <a:spLocks noGrp="1"/>
          </p:cNvSpPr>
          <p:nvPr>
            <p:ph type="body" sz="quarter" idx="21"/>
          </p:nvPr>
        </p:nvSpPr>
        <p:spPr/>
        <p:txBody>
          <a:bodyPr/>
          <a:lstStyle/>
          <a:p>
            <a:endParaRPr lang="de-DE"/>
          </a:p>
        </p:txBody>
      </p:sp>
      <p:sp>
        <p:nvSpPr>
          <p:cNvPr id="41" name="Textplatzhalter 40">
            <a:extLst>
              <a:ext uri="{FF2B5EF4-FFF2-40B4-BE49-F238E27FC236}">
                <a16:creationId xmlns:a16="http://schemas.microsoft.com/office/drawing/2014/main" id="{DB531058-2105-FA00-9C97-79A9A2E348B8}"/>
              </a:ext>
            </a:extLst>
          </p:cNvPr>
          <p:cNvSpPr>
            <a:spLocks noGrp="1"/>
          </p:cNvSpPr>
          <p:nvPr>
            <p:ph type="body" sz="quarter" idx="22"/>
          </p:nvPr>
        </p:nvSpPr>
        <p:spPr/>
        <p:txBody>
          <a:bodyPr/>
          <a:lstStyle/>
          <a:p>
            <a:endParaRPr lang="de-DE"/>
          </a:p>
        </p:txBody>
      </p:sp>
      <p:sp>
        <p:nvSpPr>
          <p:cNvPr id="42" name="Textplatzhalter 41">
            <a:extLst>
              <a:ext uri="{FF2B5EF4-FFF2-40B4-BE49-F238E27FC236}">
                <a16:creationId xmlns:a16="http://schemas.microsoft.com/office/drawing/2014/main" id="{1006C6F5-5467-C971-66A0-FC0C16C43B07}"/>
              </a:ext>
            </a:extLst>
          </p:cNvPr>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6154038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nhaltsplatzhalter 23">
            <a:extLst>
              <a:ext uri="{FF2B5EF4-FFF2-40B4-BE49-F238E27FC236}">
                <a16:creationId xmlns:a16="http://schemas.microsoft.com/office/drawing/2014/main" id="{C3CF3227-4DDD-DBDA-1239-1FEAF20C15A8}"/>
              </a:ext>
            </a:extLst>
          </p:cNvPr>
          <p:cNvPicPr>
            <a:picLocks noGrp="1" noChangeAspect="1"/>
          </p:cNvPicPr>
          <p:nvPr>
            <p:ph type="pic" sz="quarter" idx="25"/>
          </p:nvPr>
        </p:nvPicPr>
        <p:blipFill rotWithShape="1">
          <a:blip r:embed="rId2">
            <a:extLst>
              <a:ext uri="{28A0092B-C50C-407E-A947-70E740481C1C}">
                <a14:useLocalDpi xmlns:a14="http://schemas.microsoft.com/office/drawing/2010/main"/>
              </a:ext>
            </a:extLst>
          </a:blip>
          <a:srcRect l="32002" r="32002"/>
          <a:stretch/>
        </p:blipFill>
        <p:spPr/>
      </p:pic>
      <p:pic>
        <p:nvPicPr>
          <p:cNvPr id="28" name="Inhaltsplatzhalter 27">
            <a:extLst>
              <a:ext uri="{FF2B5EF4-FFF2-40B4-BE49-F238E27FC236}">
                <a16:creationId xmlns:a16="http://schemas.microsoft.com/office/drawing/2014/main" id="{A0B4DAB1-275C-7D02-E639-47B0E830233E}"/>
              </a:ext>
            </a:extLst>
          </p:cNvPr>
          <p:cNvPicPr>
            <a:picLocks noGrp="1" noChangeAspect="1"/>
          </p:cNvPicPr>
          <p:nvPr>
            <p:ph sz="quarter" idx="15"/>
          </p:nvPr>
        </p:nvPicPr>
        <p:blipFill rotWithShape="1">
          <a:blip r:embed="rId3" cstate="print">
            <a:extLst>
              <a:ext uri="{28A0092B-C50C-407E-A947-70E740481C1C}">
                <a14:useLocalDpi xmlns:a14="http://schemas.microsoft.com/office/drawing/2010/main"/>
              </a:ext>
            </a:extLst>
          </a:blip>
          <a:srcRect l="24708" r="24708"/>
          <a:stretch/>
        </p:blipFill>
        <p:spPr>
          <a:xfrm>
            <a:off x="515938" y="770068"/>
            <a:ext cx="3613150" cy="5354376"/>
          </a:xfrm>
        </p:spPr>
      </p:pic>
      <p:pic>
        <p:nvPicPr>
          <p:cNvPr id="26" name="Inhaltsplatzhalter 25">
            <a:extLst>
              <a:ext uri="{FF2B5EF4-FFF2-40B4-BE49-F238E27FC236}">
                <a16:creationId xmlns:a16="http://schemas.microsoft.com/office/drawing/2014/main" id="{1F96067A-143A-1BAA-D400-0151997C9608}"/>
              </a:ext>
            </a:extLst>
          </p:cNvPr>
          <p:cNvPicPr>
            <a:picLocks noGrp="1" noChangeAspect="1"/>
          </p:cNvPicPr>
          <p:nvPr>
            <p:ph sz="quarter" idx="24"/>
          </p:nvPr>
        </p:nvPicPr>
        <p:blipFill rotWithShape="1">
          <a:blip r:embed="rId4" cstate="print">
            <a:extLst>
              <a:ext uri="{28A0092B-C50C-407E-A947-70E740481C1C}">
                <a14:useLocalDpi xmlns:a14="http://schemas.microsoft.com/office/drawing/2010/main"/>
              </a:ext>
            </a:extLst>
          </a:blip>
          <a:srcRect t="589" b="589"/>
          <a:stretch/>
        </p:blipFill>
        <p:spPr>
          <a:xfrm>
            <a:off x="4283075" y="772448"/>
            <a:ext cx="3613150" cy="5349616"/>
          </a:xfrm>
        </p:spPr>
      </p:pic>
      <p:sp>
        <p:nvSpPr>
          <p:cNvPr id="3" name="Datumsplatzhalter 2">
            <a:extLst>
              <a:ext uri="{FF2B5EF4-FFF2-40B4-BE49-F238E27FC236}">
                <a16:creationId xmlns:a16="http://schemas.microsoft.com/office/drawing/2014/main" id="{C4AFB3F2-C618-6027-F14C-3BD1237E548C}"/>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D232E889-59DA-9CF7-92CF-061C2633853A}"/>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086851EC-D2ED-99EA-C3B1-DD0E3FE24889}"/>
              </a:ext>
            </a:extLst>
          </p:cNvPr>
          <p:cNvSpPr>
            <a:spLocks noGrp="1"/>
          </p:cNvSpPr>
          <p:nvPr>
            <p:ph type="sldNum" sz="quarter" idx="12"/>
          </p:nvPr>
        </p:nvSpPr>
        <p:spPr/>
        <p:txBody>
          <a:bodyPr/>
          <a:lstStyle/>
          <a:p>
            <a:fld id="{E84006A6-0E15-460A-BCD4-002C20F8AC9F}" type="slidenum">
              <a:rPr lang="de-DE" smtClean="0"/>
              <a:pPr/>
              <a:t>23</a:t>
            </a:fld>
            <a:endParaRPr lang="de-DE"/>
          </a:p>
        </p:txBody>
      </p:sp>
      <p:sp>
        <p:nvSpPr>
          <p:cNvPr id="17" name="Textplatzhalter 16">
            <a:extLst>
              <a:ext uri="{FF2B5EF4-FFF2-40B4-BE49-F238E27FC236}">
                <a16:creationId xmlns:a16="http://schemas.microsoft.com/office/drawing/2014/main" id="{90495BEA-CDEF-2412-F9B2-199FD7C2713A}"/>
              </a:ext>
            </a:extLst>
          </p:cNvPr>
          <p:cNvSpPr>
            <a:spLocks noGrp="1"/>
          </p:cNvSpPr>
          <p:nvPr>
            <p:ph type="body" sz="quarter" idx="17"/>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8" name="Textplatzhalter 17">
            <a:extLst>
              <a:ext uri="{FF2B5EF4-FFF2-40B4-BE49-F238E27FC236}">
                <a16:creationId xmlns:a16="http://schemas.microsoft.com/office/drawing/2014/main" id="{D3996D48-C743-F465-B0B8-3D56E09ECAC1}"/>
              </a:ext>
            </a:extLst>
          </p:cNvPr>
          <p:cNvSpPr>
            <a:spLocks noGrp="1"/>
          </p:cNvSpPr>
          <p:nvPr>
            <p:ph type="body" sz="quarter" idx="18"/>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9" name="Textplatzhalter 18">
            <a:extLst>
              <a:ext uri="{FF2B5EF4-FFF2-40B4-BE49-F238E27FC236}">
                <a16:creationId xmlns:a16="http://schemas.microsoft.com/office/drawing/2014/main" id="{B9914EB2-D015-1535-7D73-1FF742DC11D7}"/>
              </a:ext>
            </a:extLst>
          </p:cNvPr>
          <p:cNvSpPr>
            <a:spLocks noGrp="1"/>
          </p:cNvSpPr>
          <p:nvPr>
            <p:ph type="body" sz="quarter" idx="19"/>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6" name="Textplatzhalter 15">
            <a:extLst>
              <a:ext uri="{FF2B5EF4-FFF2-40B4-BE49-F238E27FC236}">
                <a16:creationId xmlns:a16="http://schemas.microsoft.com/office/drawing/2014/main" id="{431D5194-6C7A-0699-0895-CAB25AC224A2}"/>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9512323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nhaltsplatzhalter 27">
            <a:extLst>
              <a:ext uri="{FF2B5EF4-FFF2-40B4-BE49-F238E27FC236}">
                <a16:creationId xmlns:a16="http://schemas.microsoft.com/office/drawing/2014/main" id="{A0B4DAB1-275C-7D02-E639-47B0E830233E}"/>
              </a:ext>
            </a:extLst>
          </p:cNvPr>
          <p:cNvPicPr>
            <a:picLocks noGrp="1" noChangeAspect="1"/>
          </p:cNvPicPr>
          <p:nvPr>
            <p:ph type="pic" sz="quarter" idx="15"/>
          </p:nvPr>
        </p:nvPicPr>
        <p:blipFill rotWithShape="1">
          <a:blip r:embed="rId2" cstate="print">
            <a:extLst>
              <a:ext uri="{28A0092B-C50C-407E-A947-70E740481C1C}">
                <a14:useLocalDpi xmlns:a14="http://schemas.microsoft.com/office/drawing/2010/main"/>
              </a:ext>
            </a:extLst>
          </a:blip>
          <a:srcRect l="24754" r="24754"/>
          <a:stretch/>
        </p:blipFill>
        <p:spPr/>
      </p:pic>
      <p:pic>
        <p:nvPicPr>
          <p:cNvPr id="26" name="Inhaltsplatzhalter 25">
            <a:extLst>
              <a:ext uri="{FF2B5EF4-FFF2-40B4-BE49-F238E27FC236}">
                <a16:creationId xmlns:a16="http://schemas.microsoft.com/office/drawing/2014/main" id="{1F96067A-143A-1BAA-D400-0151997C9608}"/>
              </a:ext>
            </a:extLst>
          </p:cNvPr>
          <p:cNvPicPr>
            <a:picLocks noGrp="1" noChangeAspect="1"/>
          </p:cNvPicPr>
          <p:nvPr>
            <p:ph type="pic" sz="quarter" idx="24"/>
          </p:nvPr>
        </p:nvPicPr>
        <p:blipFill rotWithShape="1">
          <a:blip r:embed="rId3" cstate="print">
            <a:extLst>
              <a:ext uri="{28A0092B-C50C-407E-A947-70E740481C1C}">
                <a14:useLocalDpi xmlns:a14="http://schemas.microsoft.com/office/drawing/2010/main"/>
              </a:ext>
            </a:extLst>
          </a:blip>
          <a:srcRect t="455" b="455"/>
          <a:stretch/>
        </p:blipFill>
        <p:spPr/>
      </p:pic>
      <p:pic>
        <p:nvPicPr>
          <p:cNvPr id="24" name="Inhaltsplatzhalter 23">
            <a:extLst>
              <a:ext uri="{FF2B5EF4-FFF2-40B4-BE49-F238E27FC236}">
                <a16:creationId xmlns:a16="http://schemas.microsoft.com/office/drawing/2014/main" id="{9A86D232-520B-8A04-6832-4C3554700D7C}"/>
              </a:ext>
            </a:extLst>
          </p:cNvPr>
          <p:cNvPicPr>
            <a:picLocks noGrp="1" noChangeAspect="1"/>
          </p:cNvPicPr>
          <p:nvPr>
            <p:ph type="pic" sz="quarter" idx="25"/>
          </p:nvPr>
        </p:nvPicPr>
        <p:blipFill rotWithShape="1">
          <a:blip r:embed="rId4">
            <a:extLst>
              <a:ext uri="{28A0092B-C50C-407E-A947-70E740481C1C}">
                <a14:useLocalDpi xmlns:a14="http://schemas.microsoft.com/office/drawing/2010/main"/>
              </a:ext>
            </a:extLst>
          </a:blip>
          <a:srcRect l="32002" r="32002"/>
          <a:stretch/>
        </p:blipFill>
        <p:spPr/>
      </p:pic>
      <p:sp>
        <p:nvSpPr>
          <p:cNvPr id="3" name="Datumsplatzhalter 2">
            <a:extLst>
              <a:ext uri="{FF2B5EF4-FFF2-40B4-BE49-F238E27FC236}">
                <a16:creationId xmlns:a16="http://schemas.microsoft.com/office/drawing/2014/main" id="{C4AFB3F2-C618-6027-F14C-3BD1237E548C}"/>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D232E889-59DA-9CF7-92CF-061C2633853A}"/>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086851EC-D2ED-99EA-C3B1-DD0E3FE24889}"/>
              </a:ext>
            </a:extLst>
          </p:cNvPr>
          <p:cNvSpPr>
            <a:spLocks noGrp="1"/>
          </p:cNvSpPr>
          <p:nvPr>
            <p:ph type="sldNum" sz="quarter" idx="12"/>
          </p:nvPr>
        </p:nvSpPr>
        <p:spPr/>
        <p:txBody>
          <a:bodyPr/>
          <a:lstStyle/>
          <a:p>
            <a:fld id="{E84006A6-0E15-460A-BCD4-002C20F8AC9F}" type="slidenum">
              <a:rPr lang="de-DE" smtClean="0"/>
              <a:pPr/>
              <a:t>24</a:t>
            </a:fld>
            <a:endParaRPr lang="de-DE"/>
          </a:p>
        </p:txBody>
      </p:sp>
      <p:sp>
        <p:nvSpPr>
          <p:cNvPr id="17" name="Textplatzhalter 16">
            <a:extLst>
              <a:ext uri="{FF2B5EF4-FFF2-40B4-BE49-F238E27FC236}">
                <a16:creationId xmlns:a16="http://schemas.microsoft.com/office/drawing/2014/main" id="{90495BEA-CDEF-2412-F9B2-199FD7C2713A}"/>
              </a:ext>
            </a:extLst>
          </p:cNvPr>
          <p:cNvSpPr>
            <a:spLocks noGrp="1"/>
          </p:cNvSpPr>
          <p:nvPr>
            <p:ph type="body" sz="quarter" idx="17"/>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8" name="Textplatzhalter 17">
            <a:extLst>
              <a:ext uri="{FF2B5EF4-FFF2-40B4-BE49-F238E27FC236}">
                <a16:creationId xmlns:a16="http://schemas.microsoft.com/office/drawing/2014/main" id="{D3996D48-C743-F465-B0B8-3D56E09ECAC1}"/>
              </a:ext>
            </a:extLst>
          </p:cNvPr>
          <p:cNvSpPr>
            <a:spLocks noGrp="1"/>
          </p:cNvSpPr>
          <p:nvPr>
            <p:ph type="body" sz="quarter" idx="18"/>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9" name="Textplatzhalter 18">
            <a:extLst>
              <a:ext uri="{FF2B5EF4-FFF2-40B4-BE49-F238E27FC236}">
                <a16:creationId xmlns:a16="http://schemas.microsoft.com/office/drawing/2014/main" id="{B9914EB2-D015-1535-7D73-1FF742DC11D7}"/>
              </a:ext>
            </a:extLst>
          </p:cNvPr>
          <p:cNvSpPr>
            <a:spLocks noGrp="1"/>
          </p:cNvSpPr>
          <p:nvPr>
            <p:ph type="body" sz="quarter" idx="19"/>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6" name="Textplatzhalter 15">
            <a:extLst>
              <a:ext uri="{FF2B5EF4-FFF2-40B4-BE49-F238E27FC236}">
                <a16:creationId xmlns:a16="http://schemas.microsoft.com/office/drawing/2014/main" id="{431D5194-6C7A-0699-0895-CAB25AC224A2}"/>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21916657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Bildplatzhalter 34">
            <a:extLst>
              <a:ext uri="{FF2B5EF4-FFF2-40B4-BE49-F238E27FC236}">
                <a16:creationId xmlns:a16="http://schemas.microsoft.com/office/drawing/2014/main" id="{C5FDF924-E6F7-3875-D6FD-D1094B2396C4}"/>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l="27789" r="27789"/>
          <a:stretch>
            <a:fillRect/>
          </a:stretch>
        </p:blipFill>
        <p:spPr/>
      </p:pic>
      <p:pic>
        <p:nvPicPr>
          <p:cNvPr id="33" name="Bildplatzhalter 32">
            <a:extLst>
              <a:ext uri="{FF2B5EF4-FFF2-40B4-BE49-F238E27FC236}">
                <a16:creationId xmlns:a16="http://schemas.microsoft.com/office/drawing/2014/main" id="{68A367FF-08C0-7B3B-1C2E-25BB13C72855}"/>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l="39097" r="29247"/>
          <a:stretch/>
        </p:blipFill>
        <p:spPr>
          <a:xfrm>
            <a:off x="0" y="0"/>
            <a:ext cx="4064399" cy="6858000"/>
          </a:xfrm>
        </p:spPr>
      </p:pic>
      <p:pic>
        <p:nvPicPr>
          <p:cNvPr id="25" name="Bildplatzhalter 24">
            <a:extLst>
              <a:ext uri="{FF2B5EF4-FFF2-40B4-BE49-F238E27FC236}">
                <a16:creationId xmlns:a16="http://schemas.microsoft.com/office/drawing/2014/main" id="{B932663A-E186-F2DA-4E86-5DEC8E1331CE}"/>
              </a:ext>
            </a:extLst>
          </p:cNvPr>
          <p:cNvPicPr>
            <a:picLocks noGrp="1" noChangeAspect="1"/>
          </p:cNvPicPr>
          <p:nvPr>
            <p:ph type="pic" sz="quarter" idx="16"/>
          </p:nvPr>
        </p:nvPicPr>
        <p:blipFill>
          <a:blip r:embed="rId4" cstate="print">
            <a:extLst>
              <a:ext uri="{28A0092B-C50C-407E-A947-70E740481C1C}">
                <a14:useLocalDpi xmlns:a14="http://schemas.microsoft.com/office/drawing/2010/main"/>
              </a:ext>
            </a:extLst>
          </a:blip>
          <a:srcRect l="5545" r="5545"/>
          <a:stretch>
            <a:fillRect/>
          </a:stretch>
        </p:blipFill>
        <p:spPr/>
      </p:pic>
      <p:sp>
        <p:nvSpPr>
          <p:cNvPr id="16" name="Textplatzhalter 15">
            <a:extLst>
              <a:ext uri="{FF2B5EF4-FFF2-40B4-BE49-F238E27FC236}">
                <a16:creationId xmlns:a16="http://schemas.microsoft.com/office/drawing/2014/main" id="{0344A4EA-8E59-0811-39D0-86CE699564D0}"/>
              </a:ext>
            </a:extLst>
          </p:cNvPr>
          <p:cNvSpPr>
            <a:spLocks noGrp="1"/>
          </p:cNvSpPr>
          <p:nvPr>
            <p:ph type="body" sz="quarter" idx="17"/>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7" name="Textplatzhalter 16">
            <a:extLst>
              <a:ext uri="{FF2B5EF4-FFF2-40B4-BE49-F238E27FC236}">
                <a16:creationId xmlns:a16="http://schemas.microsoft.com/office/drawing/2014/main" id="{E20506FF-5439-5868-7356-F2A1D658A2F4}"/>
              </a:ext>
            </a:extLst>
          </p:cNvPr>
          <p:cNvSpPr>
            <a:spLocks noGrp="1"/>
          </p:cNvSpPr>
          <p:nvPr>
            <p:ph type="body" sz="quarter" idx="18"/>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8" name="Textplatzhalter 17">
            <a:extLst>
              <a:ext uri="{FF2B5EF4-FFF2-40B4-BE49-F238E27FC236}">
                <a16:creationId xmlns:a16="http://schemas.microsoft.com/office/drawing/2014/main" id="{E9B13000-0C53-3979-1123-B23C97B7DF08}"/>
              </a:ext>
            </a:extLst>
          </p:cNvPr>
          <p:cNvSpPr>
            <a:spLocks noGrp="1"/>
          </p:cNvSpPr>
          <p:nvPr>
            <p:ph type="body" sz="quarter" idx="19"/>
          </p:nvPr>
        </p:nvSpPr>
        <p:spPr/>
        <p:txBody>
          <a:bodyPr/>
          <a:lstStyle/>
          <a:p>
            <a:r>
              <a:rPr lang="de-DE" dirty="0"/>
              <a:t>Lorem ipsum dolor sit amet, </a:t>
            </a:r>
            <a:br>
              <a:rPr lang="de-DE" dirty="0"/>
            </a:br>
            <a:r>
              <a:rPr lang="de-DE" dirty="0"/>
              <a:t>consectetuer adipiscing elit</a:t>
            </a:r>
          </a:p>
          <a:p>
            <a:r>
              <a:rPr lang="de-DE" sz="2400" b="1" dirty="0"/>
              <a:t>Lorem ipsum</a:t>
            </a:r>
          </a:p>
        </p:txBody>
      </p:sp>
      <p:sp>
        <p:nvSpPr>
          <p:cNvPr id="12" name="Titel 11">
            <a:extLst>
              <a:ext uri="{FF2B5EF4-FFF2-40B4-BE49-F238E27FC236}">
                <a16:creationId xmlns:a16="http://schemas.microsoft.com/office/drawing/2014/main" id="{4BB10BED-BB61-6A0D-3A67-2A0DEB5A0A69}"/>
              </a:ext>
            </a:extLst>
          </p:cNvPr>
          <p:cNvSpPr>
            <a:spLocks noGrp="1"/>
          </p:cNvSpPr>
          <p:nvPr>
            <p:ph type="title"/>
          </p:nvPr>
        </p:nvSpPr>
        <p:spPr/>
        <p:txBody>
          <a:bodyPr/>
          <a:lstStyle/>
          <a:p>
            <a:r>
              <a:rPr lang="de-DE" dirty="0"/>
              <a:t>Hier steht eine Headline.</a:t>
            </a:r>
          </a:p>
        </p:txBody>
      </p:sp>
      <p:sp>
        <p:nvSpPr>
          <p:cNvPr id="19" name="Textplatzhalter 18">
            <a:extLst>
              <a:ext uri="{FF2B5EF4-FFF2-40B4-BE49-F238E27FC236}">
                <a16:creationId xmlns:a16="http://schemas.microsoft.com/office/drawing/2014/main" id="{B6461214-0826-0F19-49B4-17058DD9A1DC}"/>
              </a:ext>
            </a:extLst>
          </p:cNvPr>
          <p:cNvSpPr>
            <a:spLocks noGrp="1"/>
          </p:cNvSpPr>
          <p:nvPr>
            <p:ph type="body" sz="quarter" idx="20"/>
          </p:nvPr>
        </p:nvSpPr>
        <p:spPr/>
        <p:txBody>
          <a:bodyPr/>
          <a:lstStyle/>
          <a:p>
            <a:endParaRPr lang="de-DE"/>
          </a:p>
        </p:txBody>
      </p:sp>
      <p:sp>
        <p:nvSpPr>
          <p:cNvPr id="20" name="Textplatzhalter 19">
            <a:extLst>
              <a:ext uri="{FF2B5EF4-FFF2-40B4-BE49-F238E27FC236}">
                <a16:creationId xmlns:a16="http://schemas.microsoft.com/office/drawing/2014/main" id="{9CA1819D-8113-859F-C0CB-536F4E100D37}"/>
              </a:ext>
            </a:extLst>
          </p:cNvPr>
          <p:cNvSpPr>
            <a:spLocks noGrp="1"/>
          </p:cNvSpPr>
          <p:nvPr>
            <p:ph type="body" sz="quarter" idx="21"/>
          </p:nvPr>
        </p:nvSpPr>
        <p:spPr/>
        <p:txBody>
          <a:bodyPr/>
          <a:lstStyle/>
          <a:p>
            <a:endParaRPr lang="de-DE"/>
          </a:p>
        </p:txBody>
      </p:sp>
      <p:sp>
        <p:nvSpPr>
          <p:cNvPr id="21" name="Textplatzhalter 20">
            <a:extLst>
              <a:ext uri="{FF2B5EF4-FFF2-40B4-BE49-F238E27FC236}">
                <a16:creationId xmlns:a16="http://schemas.microsoft.com/office/drawing/2014/main" id="{ED9A6126-B722-9364-7CE7-02266679A148}"/>
              </a:ext>
            </a:extLst>
          </p:cNvPr>
          <p:cNvSpPr>
            <a:spLocks noGrp="1"/>
          </p:cNvSpPr>
          <p:nvPr>
            <p:ph type="body" sz="quarter" idx="22"/>
          </p:nvPr>
        </p:nvSpPr>
        <p:spPr/>
        <p:txBody>
          <a:bodyPr/>
          <a:lstStyle/>
          <a:p>
            <a:endParaRPr lang="de-DE"/>
          </a:p>
        </p:txBody>
      </p:sp>
      <p:sp>
        <p:nvSpPr>
          <p:cNvPr id="2" name="Datumsplatzhalter 1">
            <a:extLst>
              <a:ext uri="{FF2B5EF4-FFF2-40B4-BE49-F238E27FC236}">
                <a16:creationId xmlns:a16="http://schemas.microsoft.com/office/drawing/2014/main" id="{7D933CAF-2395-4A7D-E38E-23C2C024D80F}"/>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D55E6E93-87FD-EF82-0DBB-0BEB206C3660}"/>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9A01E8A-E837-B299-AAF2-2370C0E7EF61}"/>
              </a:ext>
            </a:extLst>
          </p:cNvPr>
          <p:cNvSpPr>
            <a:spLocks noGrp="1"/>
          </p:cNvSpPr>
          <p:nvPr>
            <p:ph type="sldNum" sz="quarter" idx="12"/>
          </p:nvPr>
        </p:nvSpPr>
        <p:spPr/>
        <p:txBody>
          <a:bodyPr/>
          <a:lstStyle/>
          <a:p>
            <a:fld id="{E84006A6-0E15-460A-BCD4-002C20F8AC9F}" type="slidenum">
              <a:rPr lang="de-DE" smtClean="0"/>
              <a:pPr/>
              <a:t>25</a:t>
            </a:fld>
            <a:endParaRPr lang="de-DE"/>
          </a:p>
        </p:txBody>
      </p:sp>
    </p:spTree>
    <p:extLst>
      <p:ext uri="{BB962C8B-B14F-4D97-AF65-F5344CB8AC3E}">
        <p14:creationId xmlns:p14="http://schemas.microsoft.com/office/powerpoint/2010/main" val="25905232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A4BE6D7D-BF2C-A34C-8BBD-D2C98CD3FA66}"/>
              </a:ext>
            </a:extLst>
          </p:cNvPr>
          <p:cNvSpPr>
            <a:spLocks noGrp="1"/>
          </p:cNvSpPr>
          <p:nvPr>
            <p:ph type="title"/>
          </p:nvPr>
        </p:nvSpPr>
        <p:spPr/>
        <p:txBody>
          <a:bodyPr/>
          <a:lstStyle/>
          <a:p>
            <a:r>
              <a:rPr lang="de-DE" dirty="0"/>
              <a:t>Hier steht eine Headline.</a:t>
            </a:r>
          </a:p>
        </p:txBody>
      </p:sp>
      <p:sp>
        <p:nvSpPr>
          <p:cNvPr id="12" name="Datumsplatzhalter 11">
            <a:extLst>
              <a:ext uri="{FF2B5EF4-FFF2-40B4-BE49-F238E27FC236}">
                <a16:creationId xmlns:a16="http://schemas.microsoft.com/office/drawing/2014/main" id="{8D9D16B8-0BDA-860B-6CCD-5E5A0B0FF186}"/>
              </a:ext>
            </a:extLst>
          </p:cNvPr>
          <p:cNvSpPr>
            <a:spLocks noGrp="1"/>
          </p:cNvSpPr>
          <p:nvPr>
            <p:ph type="dt" sz="half" idx="10"/>
          </p:nvPr>
        </p:nvSpPr>
        <p:spPr/>
        <p:txBody>
          <a:bodyPr/>
          <a:lstStyle/>
          <a:p>
            <a:r>
              <a:rPr lang="de-DE"/>
              <a:t>02.08.2024</a:t>
            </a:r>
            <a:endParaRPr lang="de-DE" dirty="0"/>
          </a:p>
        </p:txBody>
      </p:sp>
      <p:sp>
        <p:nvSpPr>
          <p:cNvPr id="13" name="Fußzeilenplatzhalter 12">
            <a:extLst>
              <a:ext uri="{FF2B5EF4-FFF2-40B4-BE49-F238E27FC236}">
                <a16:creationId xmlns:a16="http://schemas.microsoft.com/office/drawing/2014/main" id="{8B4D2CDB-F6AD-1255-AE31-91367994BBB3}"/>
              </a:ext>
            </a:extLst>
          </p:cNvPr>
          <p:cNvSpPr>
            <a:spLocks noGrp="1"/>
          </p:cNvSpPr>
          <p:nvPr>
            <p:ph type="ftr" sz="quarter" idx="11"/>
          </p:nvPr>
        </p:nvSpPr>
        <p:spPr/>
        <p:txBody>
          <a:bodyPr/>
          <a:lstStyle/>
          <a:p>
            <a:r>
              <a:rPr lang="de-DE"/>
              <a:t>PowerPoint Folienmaster</a:t>
            </a:r>
            <a:endParaRPr lang="de-DE" dirty="0"/>
          </a:p>
        </p:txBody>
      </p:sp>
      <p:sp>
        <p:nvSpPr>
          <p:cNvPr id="14" name="Foliennummernplatzhalter 13">
            <a:extLst>
              <a:ext uri="{FF2B5EF4-FFF2-40B4-BE49-F238E27FC236}">
                <a16:creationId xmlns:a16="http://schemas.microsoft.com/office/drawing/2014/main" id="{0FD88D12-DC71-A7D3-27BE-7EE10922B7F4}"/>
              </a:ext>
            </a:extLst>
          </p:cNvPr>
          <p:cNvSpPr>
            <a:spLocks noGrp="1"/>
          </p:cNvSpPr>
          <p:nvPr>
            <p:ph type="sldNum" sz="quarter" idx="12"/>
          </p:nvPr>
        </p:nvSpPr>
        <p:spPr/>
        <p:txBody>
          <a:bodyPr/>
          <a:lstStyle/>
          <a:p>
            <a:fld id="{E84006A6-0E15-460A-BCD4-002C20F8AC9F}" type="slidenum">
              <a:rPr lang="de-DE" smtClean="0"/>
              <a:pPr/>
              <a:t>26</a:t>
            </a:fld>
            <a:endParaRPr lang="de-DE"/>
          </a:p>
        </p:txBody>
      </p:sp>
      <p:pic>
        <p:nvPicPr>
          <p:cNvPr id="19" name="Inhaltsplatzhalter 18">
            <a:extLst>
              <a:ext uri="{FF2B5EF4-FFF2-40B4-BE49-F238E27FC236}">
                <a16:creationId xmlns:a16="http://schemas.microsoft.com/office/drawing/2014/main" id="{2B9DEB1B-4DEC-3DB9-5A6D-12DB96914B16}"/>
              </a:ext>
            </a:extLst>
          </p:cNvPr>
          <p:cNvPicPr>
            <a:picLocks noGrp="1" noChangeAspect="1"/>
          </p:cNvPicPr>
          <p:nvPr>
            <p:ph sz="quarter" idx="23"/>
          </p:nvPr>
        </p:nvPicPr>
        <p:blipFill rotWithShape="1">
          <a:blip r:embed="rId2">
            <a:extLst>
              <a:ext uri="{28A0092B-C50C-407E-A947-70E740481C1C}">
                <a14:useLocalDpi xmlns:a14="http://schemas.microsoft.com/office/drawing/2010/main"/>
              </a:ext>
            </a:extLst>
          </a:blip>
          <a:srcRect l="29506" r="9551"/>
          <a:stretch/>
        </p:blipFill>
        <p:spPr>
          <a:xfrm>
            <a:off x="515938" y="765175"/>
            <a:ext cx="6119812" cy="5364163"/>
          </a:xfrm>
        </p:spPr>
      </p:pic>
      <p:sp>
        <p:nvSpPr>
          <p:cNvPr id="17" name="Inhaltsplatzhalter 16">
            <a:extLst>
              <a:ext uri="{FF2B5EF4-FFF2-40B4-BE49-F238E27FC236}">
                <a16:creationId xmlns:a16="http://schemas.microsoft.com/office/drawing/2014/main" id="{EDA3E078-4A04-F2B6-AC9C-B06B9BB336E0}"/>
              </a:ext>
            </a:extLst>
          </p:cNvPr>
          <p:cNvSpPr>
            <a:spLocks noGrp="1"/>
          </p:cNvSpPr>
          <p:nvPr>
            <p:ph sz="quarter" idx="24"/>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a:p>
            <a:endParaRPr lang="de-DE" dirty="0"/>
          </a:p>
          <a:p>
            <a:pPr marL="0" indent="0">
              <a:buNone/>
            </a:pPr>
            <a:endParaRPr lang="de-DE" dirty="0"/>
          </a:p>
          <a:p>
            <a:pPr marL="0" indent="0">
              <a:buNone/>
            </a:pPr>
            <a:r>
              <a:rPr lang="de-DE" b="1" dirty="0"/>
              <a:t>Lorem ipsum dolor sit amet, consectetuer adipiscing</a:t>
            </a:r>
          </a:p>
          <a:p>
            <a:r>
              <a:rPr lang="de-DE" dirty="0"/>
              <a:t>Nunc viverra imperdiet enim. Fusce est. </a:t>
            </a:r>
          </a:p>
          <a:p>
            <a:r>
              <a:rPr lang="de-DE" dirty="0"/>
              <a:t>Vivamus a tellus.</a:t>
            </a:r>
          </a:p>
          <a:p>
            <a:r>
              <a:rPr lang="de-DE" dirty="0"/>
              <a:t>Pellentesque habitant morbi tristique senectus et netus et malesuada fames ac turpis egestas. </a:t>
            </a:r>
          </a:p>
          <a:p>
            <a:r>
              <a:rPr lang="de-DE" dirty="0"/>
              <a:t>Proin pharetra nonummy pede. Mauris et orci.</a:t>
            </a:r>
          </a:p>
          <a:p>
            <a:pPr marL="0" indent="0">
              <a:buNone/>
            </a:pPr>
            <a:endParaRPr lang="de-DE" dirty="0"/>
          </a:p>
        </p:txBody>
      </p:sp>
    </p:spTree>
    <p:extLst>
      <p:ext uri="{BB962C8B-B14F-4D97-AF65-F5344CB8AC3E}">
        <p14:creationId xmlns:p14="http://schemas.microsoft.com/office/powerpoint/2010/main" val="6295257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EE112306-BBCB-89FC-EC85-201875B6F3B7}"/>
              </a:ext>
            </a:extLst>
          </p:cNvPr>
          <p:cNvSpPr>
            <a:spLocks noGrp="1"/>
          </p:cNvSpPr>
          <p:nvPr>
            <p:ph type="title"/>
          </p:nvPr>
        </p:nvSpPr>
        <p:spPr/>
        <p:txBody>
          <a:bodyPr/>
          <a:lstStyle/>
          <a:p>
            <a:r>
              <a:rPr lang="de-DE" dirty="0"/>
              <a:t>Hier steht eine Headline.</a:t>
            </a:r>
          </a:p>
        </p:txBody>
      </p:sp>
      <p:sp>
        <p:nvSpPr>
          <p:cNvPr id="3" name="Datumsplatzhalter 2">
            <a:extLst>
              <a:ext uri="{FF2B5EF4-FFF2-40B4-BE49-F238E27FC236}">
                <a16:creationId xmlns:a16="http://schemas.microsoft.com/office/drawing/2014/main" id="{B784776C-9230-42C4-CE4B-4FBDE832A992}"/>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4D2373EB-8DFD-124D-4274-98A80DE3124D}"/>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36EDC791-24C1-573F-F39C-5675BA3C8101}"/>
              </a:ext>
            </a:extLst>
          </p:cNvPr>
          <p:cNvSpPr>
            <a:spLocks noGrp="1"/>
          </p:cNvSpPr>
          <p:nvPr>
            <p:ph type="sldNum" sz="quarter" idx="4"/>
          </p:nvPr>
        </p:nvSpPr>
        <p:spPr/>
        <p:txBody>
          <a:bodyPr/>
          <a:lstStyle/>
          <a:p>
            <a:fld id="{E84006A6-0E15-460A-BCD4-002C20F8AC9F}" type="slidenum">
              <a:rPr lang="de-DE" smtClean="0"/>
              <a:pPr/>
              <a:t>27</a:t>
            </a:fld>
            <a:endParaRPr lang="de-DE"/>
          </a:p>
        </p:txBody>
      </p:sp>
      <p:pic>
        <p:nvPicPr>
          <p:cNvPr id="15" name="Inhaltsplatzhalter 14">
            <a:extLst>
              <a:ext uri="{FF2B5EF4-FFF2-40B4-BE49-F238E27FC236}">
                <a16:creationId xmlns:a16="http://schemas.microsoft.com/office/drawing/2014/main" id="{3B8A7C78-EFD0-6765-6339-06BF08362CCD}"/>
              </a:ext>
            </a:extLst>
          </p:cNvPr>
          <p:cNvPicPr>
            <a:picLocks noGrp="1" noChangeAspect="1"/>
          </p:cNvPicPr>
          <p:nvPr>
            <p:ph sz="quarter" idx="23"/>
          </p:nvPr>
        </p:nvPicPr>
        <p:blipFill rotWithShape="1">
          <a:blip r:embed="rId2" cstate="print">
            <a:extLst>
              <a:ext uri="{28A0092B-C50C-407E-A947-70E740481C1C}">
                <a14:useLocalDpi xmlns:a14="http://schemas.microsoft.com/office/drawing/2010/main"/>
              </a:ext>
            </a:extLst>
          </a:blip>
          <a:srcRect t="27055" b="27055"/>
          <a:stretch/>
        </p:blipFill>
        <p:spPr>
          <a:xfrm>
            <a:off x="527842" y="2295525"/>
            <a:ext cx="5568158" cy="3833813"/>
          </a:xfrm>
        </p:spPr>
      </p:pic>
      <p:sp>
        <p:nvSpPr>
          <p:cNvPr id="10" name="Inhaltsplatzhalter 9">
            <a:extLst>
              <a:ext uri="{FF2B5EF4-FFF2-40B4-BE49-F238E27FC236}">
                <a16:creationId xmlns:a16="http://schemas.microsoft.com/office/drawing/2014/main" id="{CFF4535C-8B91-B5BD-A191-5FB7CD93FF5C}"/>
              </a:ext>
            </a:extLst>
          </p:cNvPr>
          <p:cNvSpPr>
            <a:spLocks noGrp="1"/>
          </p:cNvSpPr>
          <p:nvPr>
            <p:ph sz="quarter" idx="24"/>
          </p:nvPr>
        </p:nvSpPr>
        <p:spPr/>
        <p:txBody>
          <a:bodyPr>
            <a:normAutofit/>
          </a:bodyPr>
          <a:lstStyle/>
          <a:p>
            <a:pPr marL="0" indent="0">
              <a:buNone/>
            </a:pPr>
            <a:r>
              <a:rPr lang="de-DE" b="1" dirty="0">
                <a:solidFill>
                  <a:schemeClr val="tx1"/>
                </a:solidFill>
              </a:rPr>
              <a:t>Lorem ipsum dolor sit amet, consectetuer adipiscing elit. </a:t>
            </a:r>
          </a:p>
          <a:p>
            <a:pPr marL="0" indent="0">
              <a:buNone/>
            </a:pPr>
            <a:r>
              <a:rPr lang="de-DE" dirty="0"/>
              <a:t>Maecenas porttitor congue massa. Fusce posuere, magna sed pulvinar ultricies, purus lectus.</a:t>
            </a:r>
          </a:p>
        </p:txBody>
      </p:sp>
      <p:sp>
        <p:nvSpPr>
          <p:cNvPr id="11" name="Inhaltsplatzhalter 10">
            <a:extLst>
              <a:ext uri="{FF2B5EF4-FFF2-40B4-BE49-F238E27FC236}">
                <a16:creationId xmlns:a16="http://schemas.microsoft.com/office/drawing/2014/main" id="{88ADECD6-95DD-9656-73D7-EE5C405D047A}"/>
              </a:ext>
            </a:extLst>
          </p:cNvPr>
          <p:cNvSpPr>
            <a:spLocks noGrp="1"/>
          </p:cNvSpPr>
          <p:nvPr>
            <p:ph sz="quarter" idx="25"/>
          </p:nvPr>
        </p:nvSpPr>
        <p:spPr/>
        <p:txBody>
          <a:bodyPr/>
          <a:lstStyle/>
          <a:p>
            <a:pPr marL="0" indent="0">
              <a:buNone/>
            </a:pPr>
            <a:r>
              <a:rPr lang="de-DE" b="1" dirty="0">
                <a:solidFill>
                  <a:schemeClr val="tx1"/>
                </a:solidFill>
              </a:rPr>
              <a:t>Lorem ipsum dolor sit amet, consectetuer adipiscing elit. </a:t>
            </a:r>
          </a:p>
          <a:p>
            <a:pPr marL="0" indent="0">
              <a:buNone/>
            </a:pPr>
            <a:r>
              <a:rPr lang="de-DE" dirty="0"/>
              <a:t>Maecenas porttitor congue massa. Fusce posuere, magna sed pulvinar ultricies, purus lectus.</a:t>
            </a:r>
          </a:p>
        </p:txBody>
      </p:sp>
      <p:sp>
        <p:nvSpPr>
          <p:cNvPr id="12" name="Inhaltsplatzhalter 11">
            <a:extLst>
              <a:ext uri="{FF2B5EF4-FFF2-40B4-BE49-F238E27FC236}">
                <a16:creationId xmlns:a16="http://schemas.microsoft.com/office/drawing/2014/main" id="{56BCECA5-77AD-2272-B2D1-61E0496BB92A}"/>
              </a:ext>
            </a:extLst>
          </p:cNvPr>
          <p:cNvSpPr>
            <a:spLocks noGrp="1"/>
          </p:cNvSpPr>
          <p:nvPr>
            <p:ph sz="quarter" idx="26"/>
          </p:nvPr>
        </p:nvSpPr>
        <p:spPr/>
        <p:txBody>
          <a:bodyPr/>
          <a:lstStyle/>
          <a:p>
            <a:pPr marL="0" indent="0">
              <a:buNone/>
            </a:pPr>
            <a:r>
              <a:rPr lang="de-DE" b="1" dirty="0">
                <a:solidFill>
                  <a:schemeClr val="tx1"/>
                </a:solidFill>
              </a:rPr>
              <a:t>Lorem ipsum dolor sit amet, consectetuer adipiscing elit. </a:t>
            </a:r>
          </a:p>
          <a:p>
            <a:pPr marL="0" indent="0">
              <a:buNone/>
            </a:pPr>
            <a:r>
              <a:rPr lang="de-DE" dirty="0"/>
              <a:t>Maecenas porttitor congue massa. Fusce posuere, magna sed pulvinar ultricies, purus lectus.</a:t>
            </a:r>
          </a:p>
        </p:txBody>
      </p:sp>
      <p:sp>
        <p:nvSpPr>
          <p:cNvPr id="13" name="Inhaltsplatzhalter 12">
            <a:extLst>
              <a:ext uri="{FF2B5EF4-FFF2-40B4-BE49-F238E27FC236}">
                <a16:creationId xmlns:a16="http://schemas.microsoft.com/office/drawing/2014/main" id="{18BE2A22-6280-0883-19B5-F38BDDAC3B6C}"/>
              </a:ext>
            </a:extLst>
          </p:cNvPr>
          <p:cNvSpPr>
            <a:spLocks noGrp="1"/>
          </p:cNvSpPr>
          <p:nvPr>
            <p:ph sz="quarter" idx="27"/>
          </p:nvPr>
        </p:nvSpPr>
        <p:spPr/>
        <p:txBody>
          <a:bodyPr/>
          <a:lstStyle/>
          <a:p>
            <a:pPr marL="0" indent="0">
              <a:buNone/>
            </a:pPr>
            <a:r>
              <a:rPr lang="de-DE" b="1" dirty="0">
                <a:solidFill>
                  <a:schemeClr val="tx1"/>
                </a:solidFill>
              </a:rPr>
              <a:t>Lorem ipsum dolor sit amet, consectetuer adipiscing elit. </a:t>
            </a:r>
          </a:p>
          <a:p>
            <a:pPr marL="0" indent="0">
              <a:buNone/>
            </a:pPr>
            <a:r>
              <a:rPr lang="de-DE" dirty="0"/>
              <a:t>Maecenas porttitor congue massa. Fusce posuere, magna sed pulvinar ultricies, purus lectus.</a:t>
            </a:r>
          </a:p>
        </p:txBody>
      </p:sp>
    </p:spTree>
    <p:extLst>
      <p:ext uri="{BB962C8B-B14F-4D97-AF65-F5344CB8AC3E}">
        <p14:creationId xmlns:p14="http://schemas.microsoft.com/office/powerpoint/2010/main" val="24530933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platzhalter 20">
            <a:extLst>
              <a:ext uri="{FF2B5EF4-FFF2-40B4-BE49-F238E27FC236}">
                <a16:creationId xmlns:a16="http://schemas.microsoft.com/office/drawing/2014/main" id="{1A177A7F-DA91-B3B4-ABB1-3FAEB1BDA09A}"/>
              </a:ext>
            </a:extLst>
          </p:cNvPr>
          <p:cNvPicPr>
            <a:picLocks noGrp="1" noChangeAspect="1"/>
          </p:cNvPicPr>
          <p:nvPr>
            <p:ph type="pic" sz="quarter" idx="14"/>
          </p:nvPr>
        </p:nvPicPr>
        <p:blipFill>
          <a:blip r:embed="rId2" cstate="print">
            <a:extLst>
              <a:ext uri="{28A0092B-C50C-407E-A947-70E740481C1C}">
                <a14:useLocalDpi xmlns:a14="http://schemas.microsoft.com/office/drawing/2010/main"/>
              </a:ext>
            </a:extLst>
          </a:blip>
          <a:srcRect l="17202" r="17202"/>
          <a:stretch>
            <a:fillRect/>
          </a:stretch>
        </p:blipFill>
        <p:spPr/>
      </p:pic>
      <p:pic>
        <p:nvPicPr>
          <p:cNvPr id="23" name="Bildplatzhalter 22">
            <a:extLst>
              <a:ext uri="{FF2B5EF4-FFF2-40B4-BE49-F238E27FC236}">
                <a16:creationId xmlns:a16="http://schemas.microsoft.com/office/drawing/2014/main" id="{1E18A614-8744-B1C3-5737-F132993E0678}"/>
              </a:ext>
            </a:extLst>
          </p:cNvPr>
          <p:cNvPicPr>
            <a:picLocks noGrp="1" noChangeAspect="1"/>
          </p:cNvPicPr>
          <p:nvPr>
            <p:ph type="pic" sz="quarter" idx="15"/>
          </p:nvPr>
        </p:nvPicPr>
        <p:blipFill>
          <a:blip r:embed="rId2" cstate="print">
            <a:extLst>
              <a:ext uri="{28A0092B-C50C-407E-A947-70E740481C1C}">
                <a14:useLocalDpi xmlns:a14="http://schemas.microsoft.com/office/drawing/2010/main"/>
              </a:ext>
            </a:extLst>
          </a:blip>
          <a:srcRect l="17223" r="17223"/>
          <a:stretch>
            <a:fillRect/>
          </a:stretch>
        </p:blipFill>
        <p:spPr/>
      </p:pic>
      <p:pic>
        <p:nvPicPr>
          <p:cNvPr id="25" name="Bildplatzhalter 24">
            <a:extLst>
              <a:ext uri="{FF2B5EF4-FFF2-40B4-BE49-F238E27FC236}">
                <a16:creationId xmlns:a16="http://schemas.microsoft.com/office/drawing/2014/main" id="{9A0F525E-5A99-2917-C176-03B784B8FA63}"/>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l="17202" r="17202"/>
          <a:stretch>
            <a:fillRect/>
          </a:stretch>
        </p:blipFill>
        <p:spPr/>
      </p:pic>
      <p:sp>
        <p:nvSpPr>
          <p:cNvPr id="3" name="Datumsplatzhalter 2">
            <a:extLst>
              <a:ext uri="{FF2B5EF4-FFF2-40B4-BE49-F238E27FC236}">
                <a16:creationId xmlns:a16="http://schemas.microsoft.com/office/drawing/2014/main" id="{9019C093-402C-5915-3593-B119C0BDFE48}"/>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67007BE-DD9C-B374-86A1-3868411D0C02}"/>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4A5A75B6-E8B6-53AE-1CA4-14E9F3F7F2CF}"/>
              </a:ext>
            </a:extLst>
          </p:cNvPr>
          <p:cNvSpPr>
            <a:spLocks noGrp="1"/>
          </p:cNvSpPr>
          <p:nvPr>
            <p:ph type="sldNum" sz="quarter" idx="12"/>
          </p:nvPr>
        </p:nvSpPr>
        <p:spPr/>
        <p:txBody>
          <a:bodyPr/>
          <a:lstStyle/>
          <a:p>
            <a:fld id="{E84006A6-0E15-460A-BCD4-002C20F8AC9F}" type="slidenum">
              <a:rPr lang="de-DE" smtClean="0"/>
              <a:pPr/>
              <a:t>28</a:t>
            </a:fld>
            <a:endParaRPr lang="de-DE"/>
          </a:p>
        </p:txBody>
      </p:sp>
      <p:sp>
        <p:nvSpPr>
          <p:cNvPr id="15" name="Textplatzhalter 14">
            <a:extLst>
              <a:ext uri="{FF2B5EF4-FFF2-40B4-BE49-F238E27FC236}">
                <a16:creationId xmlns:a16="http://schemas.microsoft.com/office/drawing/2014/main" id="{6B88D729-D287-13BB-C179-BF67F17313EE}"/>
              </a:ext>
            </a:extLst>
          </p:cNvPr>
          <p:cNvSpPr>
            <a:spLocks noGrp="1"/>
          </p:cNvSpPr>
          <p:nvPr>
            <p:ph type="body" sz="quarter" idx="17"/>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dirty="0"/>
              <a:t>.</a:t>
            </a:r>
            <a:endParaRPr lang="en-US" noProof="0" dirty="0"/>
          </a:p>
        </p:txBody>
      </p:sp>
      <p:sp>
        <p:nvSpPr>
          <p:cNvPr id="16" name="Textplatzhalter 15">
            <a:extLst>
              <a:ext uri="{FF2B5EF4-FFF2-40B4-BE49-F238E27FC236}">
                <a16:creationId xmlns:a16="http://schemas.microsoft.com/office/drawing/2014/main" id="{CBB4597F-F475-A962-76D4-2EDE96985BAA}"/>
              </a:ext>
            </a:extLst>
          </p:cNvPr>
          <p:cNvSpPr>
            <a:spLocks noGrp="1"/>
          </p:cNvSpPr>
          <p:nvPr>
            <p:ph type="body" sz="quarter" idx="18"/>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noProof="0" dirty="0"/>
              <a:t>.</a:t>
            </a:r>
          </a:p>
        </p:txBody>
      </p:sp>
      <p:sp>
        <p:nvSpPr>
          <p:cNvPr id="17" name="Textplatzhalter 16">
            <a:extLst>
              <a:ext uri="{FF2B5EF4-FFF2-40B4-BE49-F238E27FC236}">
                <a16:creationId xmlns:a16="http://schemas.microsoft.com/office/drawing/2014/main" id="{CBAE940B-9257-B10A-A04B-62322EEC64E2}"/>
              </a:ext>
            </a:extLst>
          </p:cNvPr>
          <p:cNvSpPr>
            <a:spLocks noGrp="1"/>
          </p:cNvSpPr>
          <p:nvPr>
            <p:ph type="body" sz="quarter" idx="19"/>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noProof="0" dirty="0"/>
              <a:t>.</a:t>
            </a:r>
          </a:p>
        </p:txBody>
      </p:sp>
      <p:sp>
        <p:nvSpPr>
          <p:cNvPr id="18" name="Textplatzhalter 17">
            <a:extLst>
              <a:ext uri="{FF2B5EF4-FFF2-40B4-BE49-F238E27FC236}">
                <a16:creationId xmlns:a16="http://schemas.microsoft.com/office/drawing/2014/main" id="{B155BEBC-5986-9C7C-764B-CB4CA66A93AA}"/>
              </a:ext>
            </a:extLst>
          </p:cNvPr>
          <p:cNvSpPr>
            <a:spLocks noGrp="1"/>
          </p:cNvSpPr>
          <p:nvPr>
            <p:ph type="body" sz="quarter" idx="21"/>
          </p:nvPr>
        </p:nvSpPr>
        <p:spPr/>
        <p:txBody>
          <a:bodyPr/>
          <a:lstStyle/>
          <a:p>
            <a:r>
              <a:rPr lang="de-DE" dirty="0"/>
              <a:t>Lorem ipsum dolor sit amet.</a:t>
            </a:r>
          </a:p>
        </p:txBody>
      </p:sp>
      <p:sp>
        <p:nvSpPr>
          <p:cNvPr id="11" name="Titel 10">
            <a:extLst>
              <a:ext uri="{FF2B5EF4-FFF2-40B4-BE49-F238E27FC236}">
                <a16:creationId xmlns:a16="http://schemas.microsoft.com/office/drawing/2014/main" id="{476F4688-E4E6-A341-A74F-CB651B68CFC1}"/>
              </a:ext>
            </a:extLst>
          </p:cNvPr>
          <p:cNvSpPr>
            <a:spLocks noGrp="1"/>
          </p:cNvSpPr>
          <p:nvPr>
            <p:ph type="title"/>
          </p:nvPr>
        </p:nvSpPr>
        <p:spPr/>
        <p:txBody>
          <a:bodyPr/>
          <a:lstStyle/>
          <a:p>
            <a:r>
              <a:rPr lang="de-DE" dirty="0"/>
              <a:t>Hier steht eine Headline.</a:t>
            </a:r>
          </a:p>
        </p:txBody>
      </p:sp>
      <p:sp>
        <p:nvSpPr>
          <p:cNvPr id="19" name="Inhaltsplatzhalter 18">
            <a:extLst>
              <a:ext uri="{FF2B5EF4-FFF2-40B4-BE49-F238E27FC236}">
                <a16:creationId xmlns:a16="http://schemas.microsoft.com/office/drawing/2014/main" id="{5B0DEAC6-5B54-49F7-7E14-3DD6F571E584}"/>
              </a:ext>
            </a:extLst>
          </p:cNvPr>
          <p:cNvSpPr>
            <a:spLocks noGrp="1"/>
          </p:cNvSpPr>
          <p:nvPr>
            <p:ph sz="quarter" idx="22"/>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13480702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platzhalter 20">
            <a:extLst>
              <a:ext uri="{FF2B5EF4-FFF2-40B4-BE49-F238E27FC236}">
                <a16:creationId xmlns:a16="http://schemas.microsoft.com/office/drawing/2014/main" id="{1A177A7F-DA91-B3B4-ABB1-3FAEB1BDA09A}"/>
              </a:ext>
            </a:extLst>
          </p:cNvPr>
          <p:cNvPicPr>
            <a:picLocks noGrp="1" noChangeAspect="1"/>
          </p:cNvPicPr>
          <p:nvPr>
            <p:ph type="pic" sz="quarter" idx="14"/>
          </p:nvPr>
        </p:nvPicPr>
        <p:blipFill rotWithShape="1">
          <a:blip r:embed="rId2" cstate="print">
            <a:extLst>
              <a:ext uri="{28A0092B-C50C-407E-A947-70E740481C1C}">
                <a14:useLocalDpi xmlns:a14="http://schemas.microsoft.com/office/drawing/2010/main"/>
              </a:ext>
            </a:extLst>
          </a:blip>
          <a:srcRect l="17202" r="17202"/>
          <a:stretch/>
        </p:blipFill>
        <p:spPr/>
      </p:pic>
      <p:pic>
        <p:nvPicPr>
          <p:cNvPr id="23" name="Bildplatzhalter 22">
            <a:extLst>
              <a:ext uri="{FF2B5EF4-FFF2-40B4-BE49-F238E27FC236}">
                <a16:creationId xmlns:a16="http://schemas.microsoft.com/office/drawing/2014/main" id="{1E18A614-8744-B1C3-5737-F132993E0678}"/>
              </a:ext>
            </a:extLst>
          </p:cNvPr>
          <p:cNvPicPr>
            <a:picLocks noGrp="1" noChangeAspect="1"/>
          </p:cNvPicPr>
          <p:nvPr>
            <p:ph type="pic" sz="quarter" idx="15"/>
          </p:nvPr>
        </p:nvPicPr>
        <p:blipFill rotWithShape="1">
          <a:blip r:embed="rId2" cstate="print">
            <a:extLst>
              <a:ext uri="{28A0092B-C50C-407E-A947-70E740481C1C}">
                <a14:useLocalDpi xmlns:a14="http://schemas.microsoft.com/office/drawing/2010/main"/>
              </a:ext>
            </a:extLst>
          </a:blip>
          <a:srcRect l="17223" r="17223"/>
          <a:stretch/>
        </p:blipFill>
        <p:spPr/>
      </p:pic>
      <p:pic>
        <p:nvPicPr>
          <p:cNvPr id="25" name="Bildplatzhalter 24">
            <a:extLst>
              <a:ext uri="{FF2B5EF4-FFF2-40B4-BE49-F238E27FC236}">
                <a16:creationId xmlns:a16="http://schemas.microsoft.com/office/drawing/2014/main" id="{9A0F525E-5A99-2917-C176-03B784B8FA63}"/>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l="17202" r="17202"/>
          <a:stretch/>
        </p:blipFill>
        <p:spPr/>
      </p:pic>
      <p:sp>
        <p:nvSpPr>
          <p:cNvPr id="3" name="Datumsplatzhalter 2">
            <a:extLst>
              <a:ext uri="{FF2B5EF4-FFF2-40B4-BE49-F238E27FC236}">
                <a16:creationId xmlns:a16="http://schemas.microsoft.com/office/drawing/2014/main" id="{9019C093-402C-5915-3593-B119C0BDFE48}"/>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767007BE-DD9C-B374-86A1-3868411D0C02}"/>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4A5A75B6-E8B6-53AE-1CA4-14E9F3F7F2CF}"/>
              </a:ext>
            </a:extLst>
          </p:cNvPr>
          <p:cNvSpPr>
            <a:spLocks noGrp="1"/>
          </p:cNvSpPr>
          <p:nvPr>
            <p:ph type="sldNum" sz="quarter" idx="12"/>
          </p:nvPr>
        </p:nvSpPr>
        <p:spPr/>
        <p:txBody>
          <a:bodyPr/>
          <a:lstStyle/>
          <a:p>
            <a:fld id="{E84006A6-0E15-460A-BCD4-002C20F8AC9F}" type="slidenum">
              <a:rPr lang="de-DE" smtClean="0"/>
              <a:pPr/>
              <a:t>29</a:t>
            </a:fld>
            <a:endParaRPr lang="de-DE"/>
          </a:p>
        </p:txBody>
      </p:sp>
      <p:sp>
        <p:nvSpPr>
          <p:cNvPr id="15" name="Textplatzhalter 14">
            <a:extLst>
              <a:ext uri="{FF2B5EF4-FFF2-40B4-BE49-F238E27FC236}">
                <a16:creationId xmlns:a16="http://schemas.microsoft.com/office/drawing/2014/main" id="{6B88D729-D287-13BB-C179-BF67F17313EE}"/>
              </a:ext>
            </a:extLst>
          </p:cNvPr>
          <p:cNvSpPr>
            <a:spLocks noGrp="1"/>
          </p:cNvSpPr>
          <p:nvPr>
            <p:ph type="body" sz="quarter" idx="17"/>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dirty="0"/>
              <a:t>.</a:t>
            </a:r>
            <a:endParaRPr lang="en-US" noProof="0" dirty="0"/>
          </a:p>
        </p:txBody>
      </p:sp>
      <p:sp>
        <p:nvSpPr>
          <p:cNvPr id="16" name="Textplatzhalter 15">
            <a:extLst>
              <a:ext uri="{FF2B5EF4-FFF2-40B4-BE49-F238E27FC236}">
                <a16:creationId xmlns:a16="http://schemas.microsoft.com/office/drawing/2014/main" id="{CBB4597F-F475-A962-76D4-2EDE96985BAA}"/>
              </a:ext>
            </a:extLst>
          </p:cNvPr>
          <p:cNvSpPr>
            <a:spLocks noGrp="1"/>
          </p:cNvSpPr>
          <p:nvPr>
            <p:ph type="body" sz="quarter" idx="18"/>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noProof="0" dirty="0"/>
              <a:t>.</a:t>
            </a:r>
          </a:p>
        </p:txBody>
      </p:sp>
      <p:sp>
        <p:nvSpPr>
          <p:cNvPr id="17" name="Textplatzhalter 16">
            <a:extLst>
              <a:ext uri="{FF2B5EF4-FFF2-40B4-BE49-F238E27FC236}">
                <a16:creationId xmlns:a16="http://schemas.microsoft.com/office/drawing/2014/main" id="{CBAE940B-9257-B10A-A04B-62322EEC64E2}"/>
              </a:ext>
            </a:extLst>
          </p:cNvPr>
          <p:cNvSpPr>
            <a:spLocks noGrp="1"/>
          </p:cNvSpPr>
          <p:nvPr>
            <p:ph type="body" sz="quarter" idx="19"/>
          </p:nvPr>
        </p:nvSpPr>
        <p:spPr/>
        <p:txBody>
          <a:bodyPr/>
          <a:lstStyle/>
          <a:p>
            <a:pPr lvl="0"/>
            <a:r>
              <a:rPr lang="en-US" b="1" noProof="0" dirty="0"/>
              <a:t>Lorem ipsum dolor sit amet, consectetuer</a:t>
            </a:r>
          </a:p>
          <a:p>
            <a:pPr lvl="0"/>
            <a:r>
              <a:rPr lang="en-US" noProof="0" dirty="0"/>
              <a:t>Maecenas porttitor congue massa, </a:t>
            </a:r>
            <a:r>
              <a:rPr lang="en-US" noProof="0" dirty="0" err="1"/>
              <a:t>fusce</a:t>
            </a:r>
            <a:r>
              <a:rPr lang="en-US" noProof="0" dirty="0"/>
              <a:t>.</a:t>
            </a:r>
          </a:p>
        </p:txBody>
      </p:sp>
      <p:sp>
        <p:nvSpPr>
          <p:cNvPr id="18" name="Textplatzhalter 17">
            <a:extLst>
              <a:ext uri="{FF2B5EF4-FFF2-40B4-BE49-F238E27FC236}">
                <a16:creationId xmlns:a16="http://schemas.microsoft.com/office/drawing/2014/main" id="{B155BEBC-5986-9C7C-764B-CB4CA66A93AA}"/>
              </a:ext>
            </a:extLst>
          </p:cNvPr>
          <p:cNvSpPr>
            <a:spLocks noGrp="1"/>
          </p:cNvSpPr>
          <p:nvPr>
            <p:ph type="body" sz="quarter" idx="21"/>
          </p:nvPr>
        </p:nvSpPr>
        <p:spPr/>
        <p:txBody>
          <a:bodyPr/>
          <a:lstStyle/>
          <a:p>
            <a:r>
              <a:rPr lang="de-DE" dirty="0"/>
              <a:t>Lorem ipsum dolor sit amet.</a:t>
            </a:r>
          </a:p>
        </p:txBody>
      </p:sp>
      <p:sp>
        <p:nvSpPr>
          <p:cNvPr id="11" name="Titel 10">
            <a:extLst>
              <a:ext uri="{FF2B5EF4-FFF2-40B4-BE49-F238E27FC236}">
                <a16:creationId xmlns:a16="http://schemas.microsoft.com/office/drawing/2014/main" id="{476F4688-E4E6-A341-A74F-CB651B68CFC1}"/>
              </a:ext>
            </a:extLst>
          </p:cNvPr>
          <p:cNvSpPr>
            <a:spLocks noGrp="1"/>
          </p:cNvSpPr>
          <p:nvPr>
            <p:ph type="title"/>
          </p:nvPr>
        </p:nvSpPr>
        <p:spPr/>
        <p:txBody>
          <a:bodyPr/>
          <a:lstStyle/>
          <a:p>
            <a:r>
              <a:rPr lang="de-DE" dirty="0"/>
              <a:t>Hier steht eine Headline.</a:t>
            </a:r>
          </a:p>
        </p:txBody>
      </p:sp>
      <p:sp>
        <p:nvSpPr>
          <p:cNvPr id="19" name="Inhaltsplatzhalter 18">
            <a:extLst>
              <a:ext uri="{FF2B5EF4-FFF2-40B4-BE49-F238E27FC236}">
                <a16:creationId xmlns:a16="http://schemas.microsoft.com/office/drawing/2014/main" id="{5B0DEAC6-5B54-49F7-7E14-3DD6F571E584}"/>
              </a:ext>
            </a:extLst>
          </p:cNvPr>
          <p:cNvSpPr>
            <a:spLocks noGrp="1"/>
          </p:cNvSpPr>
          <p:nvPr>
            <p:ph sz="quarter" idx="22"/>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943032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11FBEB-D175-4DA8-910B-EA2139E1B287}"/>
              </a:ext>
            </a:extLst>
          </p:cNvPr>
          <p:cNvSpPr>
            <a:spLocks noGrp="1"/>
          </p:cNvSpPr>
          <p:nvPr>
            <p:ph type="title"/>
          </p:nvPr>
        </p:nvSpPr>
        <p:spPr/>
        <p:txBody>
          <a:bodyPr/>
          <a:lstStyle/>
          <a:p>
            <a:r>
              <a:rPr lang="de-DE" dirty="0"/>
              <a:t>Standard </a:t>
            </a:r>
            <a:br>
              <a:rPr lang="de-DE" dirty="0"/>
            </a:br>
            <a:r>
              <a:rPr lang="de-DE" dirty="0"/>
              <a:t>Folienlayout</a:t>
            </a:r>
          </a:p>
        </p:txBody>
      </p:sp>
      <p:sp>
        <p:nvSpPr>
          <p:cNvPr id="3" name="Datumsplatzhalter 2">
            <a:extLst>
              <a:ext uri="{FF2B5EF4-FFF2-40B4-BE49-F238E27FC236}">
                <a16:creationId xmlns:a16="http://schemas.microsoft.com/office/drawing/2014/main" id="{38ACCEE1-BA42-A19A-AD0E-AA36976C46C8}"/>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9BE7D674-AB51-7C76-A94C-B566E9EB4D24}"/>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7BC53DD7-6BE2-C5D3-7CDA-8B65CAC4DBC0}"/>
              </a:ext>
            </a:extLst>
          </p:cNvPr>
          <p:cNvSpPr>
            <a:spLocks noGrp="1"/>
          </p:cNvSpPr>
          <p:nvPr>
            <p:ph type="sldNum" sz="quarter" idx="4"/>
          </p:nvPr>
        </p:nvSpPr>
        <p:spPr/>
        <p:txBody>
          <a:bodyPr/>
          <a:lstStyle/>
          <a:p>
            <a:fld id="{E84006A6-0E15-460A-BCD4-002C20F8AC9F}" type="slidenum">
              <a:rPr lang="de-DE" smtClean="0"/>
              <a:pPr/>
              <a:t>3</a:t>
            </a:fld>
            <a:endParaRPr lang="de-DE"/>
          </a:p>
        </p:txBody>
      </p:sp>
      <p:sp>
        <p:nvSpPr>
          <p:cNvPr id="11" name="Inhaltsplatzhalter 10">
            <a:extLst>
              <a:ext uri="{FF2B5EF4-FFF2-40B4-BE49-F238E27FC236}">
                <a16:creationId xmlns:a16="http://schemas.microsoft.com/office/drawing/2014/main" id="{5C5686A1-7D5D-FFA6-F99C-F13BE2E3875D}"/>
              </a:ext>
            </a:extLst>
          </p:cNvPr>
          <p:cNvSpPr>
            <a:spLocks noGrp="1"/>
          </p:cNvSpPr>
          <p:nvPr>
            <p:ph sz="quarter" idx="14"/>
          </p:nvPr>
        </p:nvSpPr>
        <p:spPr/>
        <p:txBody>
          <a:bodyPr/>
          <a:lstStyle/>
          <a:p>
            <a:pPr marL="0" indent="0">
              <a:buNone/>
            </a:pPr>
            <a:r>
              <a:rPr lang="de-DE" b="1" dirty="0"/>
              <a:t>Lorem ipsum dolor sit amet, consectetuer adipiscing elit. Maecenas porttitor congue massa. </a:t>
            </a:r>
          </a:p>
          <a:p>
            <a:pPr marL="0" indent="0">
              <a:buNone/>
            </a:pPr>
            <a:endParaRPr lang="de-DE" b="1" dirty="0"/>
          </a:p>
          <a:p>
            <a:r>
              <a:rPr lang="de-DE" dirty="0"/>
              <a:t>Fusce posuere, magna sed pulvinar ultricies, purus lectus malesuada libero, </a:t>
            </a:r>
            <a:br>
              <a:rPr lang="de-DE" dirty="0"/>
            </a:br>
            <a:r>
              <a:rPr lang="de-DE" dirty="0"/>
              <a:t>sit amet commodo magna eros quis urna.</a:t>
            </a:r>
          </a:p>
          <a:p>
            <a:r>
              <a:rPr lang="de-DE" dirty="0"/>
              <a:t>Nunc viverra imperdiet enim. Fusce est. Vivamus a tellus.</a:t>
            </a:r>
          </a:p>
          <a:p>
            <a:r>
              <a:rPr lang="de-DE" dirty="0"/>
              <a:t>Pellentesque habitant morbi tristique senectus et netus et malesuada fames ac turpis </a:t>
            </a:r>
            <a:br>
              <a:rPr lang="de-DE" dirty="0"/>
            </a:br>
            <a:r>
              <a:rPr lang="de-DE" dirty="0"/>
              <a:t>egestas. Proin pharetra nonummy pede. Mauris et orci.</a:t>
            </a:r>
          </a:p>
        </p:txBody>
      </p:sp>
    </p:spTree>
    <p:extLst>
      <p:ext uri="{BB962C8B-B14F-4D97-AF65-F5344CB8AC3E}">
        <p14:creationId xmlns:p14="http://schemas.microsoft.com/office/powerpoint/2010/main" val="20994416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nhaltsplatzhalter 26">
            <a:extLst>
              <a:ext uri="{FF2B5EF4-FFF2-40B4-BE49-F238E27FC236}">
                <a16:creationId xmlns:a16="http://schemas.microsoft.com/office/drawing/2014/main" id="{7EA030F7-726A-4616-18CC-0E035D5487EA}"/>
              </a:ext>
            </a:extLst>
          </p:cNvPr>
          <p:cNvPicPr>
            <a:picLocks noGrp="1" noChangeAspect="1"/>
          </p:cNvPicPr>
          <p:nvPr>
            <p:ph sz="quarter" idx="22"/>
          </p:nvPr>
        </p:nvPicPr>
        <p:blipFill rotWithShape="1">
          <a:blip r:embed="rId2" cstate="print">
            <a:extLst>
              <a:ext uri="{28A0092B-C50C-407E-A947-70E740481C1C}">
                <a14:useLocalDpi xmlns:a14="http://schemas.microsoft.com/office/drawing/2010/main"/>
              </a:ext>
            </a:extLst>
          </a:blip>
          <a:srcRect t="14627" b="14627"/>
          <a:stretch/>
        </p:blipFill>
        <p:spPr>
          <a:xfrm>
            <a:off x="2668263" y="3349211"/>
            <a:ext cx="5239636" cy="2780128"/>
          </a:xfrm>
        </p:spPr>
      </p:pic>
      <p:pic>
        <p:nvPicPr>
          <p:cNvPr id="28" name="Inhaltsplatzhalter 26">
            <a:extLst>
              <a:ext uri="{FF2B5EF4-FFF2-40B4-BE49-F238E27FC236}">
                <a16:creationId xmlns:a16="http://schemas.microsoft.com/office/drawing/2014/main" id="{209E4E85-D962-2561-90C5-9582BB8564F8}"/>
              </a:ext>
            </a:extLst>
          </p:cNvPr>
          <p:cNvPicPr>
            <a:picLocks noGrp="1" noChangeAspect="1"/>
          </p:cNvPicPr>
          <p:nvPr>
            <p:ph sz="quarter" idx="21"/>
          </p:nvPr>
        </p:nvPicPr>
        <p:blipFill rotWithShape="1">
          <a:blip r:embed="rId2" cstate="print">
            <a:extLst>
              <a:ext uri="{28A0092B-C50C-407E-A947-70E740481C1C}">
                <a14:useLocalDpi xmlns:a14="http://schemas.microsoft.com/office/drawing/2010/main"/>
              </a:ext>
            </a:extLst>
          </a:blip>
          <a:srcRect t="10798" b="10798"/>
          <a:stretch/>
        </p:blipFill>
        <p:spPr>
          <a:xfrm>
            <a:off x="0" y="0"/>
            <a:ext cx="5239636" cy="3081097"/>
          </a:xfrm>
        </p:spPr>
      </p:pic>
      <p:sp>
        <p:nvSpPr>
          <p:cNvPr id="14" name="Titel 13">
            <a:extLst>
              <a:ext uri="{FF2B5EF4-FFF2-40B4-BE49-F238E27FC236}">
                <a16:creationId xmlns:a16="http://schemas.microsoft.com/office/drawing/2014/main" id="{97B47514-F5F8-5F3B-D8F6-70B6670F5217}"/>
              </a:ext>
            </a:extLst>
          </p:cNvPr>
          <p:cNvSpPr>
            <a:spLocks noGrp="1"/>
          </p:cNvSpPr>
          <p:nvPr>
            <p:ph type="title"/>
          </p:nvPr>
        </p:nvSpPr>
        <p:spPr/>
        <p:txBody>
          <a:bodyPr/>
          <a:lstStyle/>
          <a:p>
            <a:r>
              <a:rPr lang="de-DE" dirty="0"/>
              <a:t>Hier steht eine Headline.</a:t>
            </a:r>
          </a:p>
        </p:txBody>
      </p:sp>
      <p:sp>
        <p:nvSpPr>
          <p:cNvPr id="5" name="Datumsplatzhalter 4">
            <a:extLst>
              <a:ext uri="{FF2B5EF4-FFF2-40B4-BE49-F238E27FC236}">
                <a16:creationId xmlns:a16="http://schemas.microsoft.com/office/drawing/2014/main" id="{89ACFC87-9861-E3DA-ADB1-AEAAADB31BD1}"/>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962BA6B4-C791-0573-A7FE-EF2B8B2EBB2D}"/>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337C0F92-2D0D-64CD-A4B8-8BCFCD72834D}"/>
              </a:ext>
            </a:extLst>
          </p:cNvPr>
          <p:cNvSpPr>
            <a:spLocks noGrp="1"/>
          </p:cNvSpPr>
          <p:nvPr>
            <p:ph type="sldNum" sz="quarter" idx="12"/>
          </p:nvPr>
        </p:nvSpPr>
        <p:spPr/>
        <p:txBody>
          <a:bodyPr/>
          <a:lstStyle/>
          <a:p>
            <a:fld id="{E84006A6-0E15-460A-BCD4-002C20F8AC9F}" type="slidenum">
              <a:rPr lang="de-DE" smtClean="0"/>
              <a:pPr/>
              <a:t>30</a:t>
            </a:fld>
            <a:endParaRPr lang="de-DE"/>
          </a:p>
        </p:txBody>
      </p:sp>
      <p:sp>
        <p:nvSpPr>
          <p:cNvPr id="17" name="Inhaltsplatzhalter 16">
            <a:extLst>
              <a:ext uri="{FF2B5EF4-FFF2-40B4-BE49-F238E27FC236}">
                <a16:creationId xmlns:a16="http://schemas.microsoft.com/office/drawing/2014/main" id="{39F0CE4D-944B-48BE-FB5D-6FABC2389E01}"/>
              </a:ext>
            </a:extLst>
          </p:cNvPr>
          <p:cNvSpPr>
            <a:spLocks noGrp="1"/>
          </p:cNvSpPr>
          <p:nvPr>
            <p:ph sz="quarter" idx="23"/>
          </p:nvPr>
        </p:nvSpPr>
        <p:spPr/>
        <p:txBody>
          <a:bodyPr>
            <a:normAutofit/>
          </a:bodyPr>
          <a:lstStyle/>
          <a:p>
            <a:pPr marL="0" indent="0">
              <a:buNone/>
            </a:pPr>
            <a:r>
              <a:rPr lang="de-DE" dirty="0"/>
              <a:t>Lorem ipsum dolor sit amet, consectetuer adipiscing elit. </a:t>
            </a:r>
            <a:br>
              <a:rPr lang="de-DE" dirty="0"/>
            </a:br>
            <a:r>
              <a:rPr lang="de-DE" dirty="0"/>
              <a:t>Maecenas porttitor congue massa. </a:t>
            </a:r>
          </a:p>
          <a:p>
            <a:pPr marL="0" indent="0">
              <a:buNone/>
            </a:pPr>
            <a:r>
              <a:rPr lang="de-DE" dirty="0"/>
              <a:t>Fusce posuere, magna sed pulvinar ultricies, purus lectus malesuada libero, sit amet commodo magna eros quis.</a:t>
            </a:r>
          </a:p>
          <a:p>
            <a:pPr marL="0" indent="0">
              <a:buNone/>
            </a:pPr>
            <a:r>
              <a:rPr lang="de-DE" dirty="0"/>
              <a:t>Nunc viverra imperdiet enim. </a:t>
            </a:r>
            <a:br>
              <a:rPr lang="de-DE" dirty="0"/>
            </a:br>
            <a:r>
              <a:rPr lang="de-DE" dirty="0"/>
              <a:t>Fusce est. Vivamus a tellus. </a:t>
            </a:r>
          </a:p>
        </p:txBody>
      </p:sp>
    </p:spTree>
    <p:extLst>
      <p:ext uri="{BB962C8B-B14F-4D97-AF65-F5344CB8AC3E}">
        <p14:creationId xmlns:p14="http://schemas.microsoft.com/office/powerpoint/2010/main" val="3817582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nhaltsplatzhalter 26">
            <a:extLst>
              <a:ext uri="{FF2B5EF4-FFF2-40B4-BE49-F238E27FC236}">
                <a16:creationId xmlns:a16="http://schemas.microsoft.com/office/drawing/2014/main" id="{209E4E85-D962-2561-90C5-9582BB8564F8}"/>
              </a:ext>
            </a:extLst>
          </p:cNvPr>
          <p:cNvPicPr>
            <a:picLocks noGrp="1" noChangeAspect="1"/>
          </p:cNvPicPr>
          <p:nvPr>
            <p:ph sz="quarter" idx="21"/>
          </p:nvPr>
        </p:nvPicPr>
        <p:blipFill rotWithShape="1">
          <a:blip r:embed="rId2" cstate="print">
            <a:extLst>
              <a:ext uri="{28A0092B-C50C-407E-A947-70E740481C1C}">
                <a14:useLocalDpi xmlns:a14="http://schemas.microsoft.com/office/drawing/2010/main"/>
              </a:ext>
            </a:extLst>
          </a:blip>
          <a:srcRect t="10789" b="10789"/>
          <a:stretch/>
        </p:blipFill>
        <p:spPr>
          <a:xfrm>
            <a:off x="700" y="0"/>
            <a:ext cx="5238938" cy="3081338"/>
          </a:xfrm>
        </p:spPr>
      </p:pic>
      <p:pic>
        <p:nvPicPr>
          <p:cNvPr id="27" name="Inhaltsplatzhalter 26">
            <a:extLst>
              <a:ext uri="{FF2B5EF4-FFF2-40B4-BE49-F238E27FC236}">
                <a16:creationId xmlns:a16="http://schemas.microsoft.com/office/drawing/2014/main" id="{7EA030F7-726A-4616-18CC-0E035D5487EA}"/>
              </a:ext>
            </a:extLst>
          </p:cNvPr>
          <p:cNvPicPr>
            <a:picLocks noGrp="1" noChangeAspect="1"/>
          </p:cNvPicPr>
          <p:nvPr>
            <p:ph sz="quarter" idx="22"/>
          </p:nvPr>
        </p:nvPicPr>
        <p:blipFill rotWithShape="1">
          <a:blip r:embed="rId2" cstate="print">
            <a:extLst>
              <a:ext uri="{28A0092B-C50C-407E-A947-70E740481C1C}">
                <a14:useLocalDpi xmlns:a14="http://schemas.microsoft.com/office/drawing/2010/main"/>
              </a:ext>
            </a:extLst>
          </a:blip>
          <a:srcRect t="14645" b="14645"/>
          <a:stretch/>
        </p:blipFill>
        <p:spPr>
          <a:xfrm>
            <a:off x="2666439" y="3349625"/>
            <a:ext cx="5241460" cy="2779713"/>
          </a:xfrm>
        </p:spPr>
      </p:pic>
      <p:sp>
        <p:nvSpPr>
          <p:cNvPr id="14" name="Titel 13">
            <a:extLst>
              <a:ext uri="{FF2B5EF4-FFF2-40B4-BE49-F238E27FC236}">
                <a16:creationId xmlns:a16="http://schemas.microsoft.com/office/drawing/2014/main" id="{97B47514-F5F8-5F3B-D8F6-70B6670F5217}"/>
              </a:ext>
            </a:extLst>
          </p:cNvPr>
          <p:cNvSpPr>
            <a:spLocks noGrp="1"/>
          </p:cNvSpPr>
          <p:nvPr>
            <p:ph type="title"/>
          </p:nvPr>
        </p:nvSpPr>
        <p:spPr/>
        <p:txBody>
          <a:bodyPr/>
          <a:lstStyle/>
          <a:p>
            <a:r>
              <a:rPr lang="de-DE" dirty="0"/>
              <a:t>Hier steht eine Headline.</a:t>
            </a:r>
          </a:p>
        </p:txBody>
      </p:sp>
      <p:sp>
        <p:nvSpPr>
          <p:cNvPr id="5" name="Datumsplatzhalter 4">
            <a:extLst>
              <a:ext uri="{FF2B5EF4-FFF2-40B4-BE49-F238E27FC236}">
                <a16:creationId xmlns:a16="http://schemas.microsoft.com/office/drawing/2014/main" id="{89ACFC87-9861-E3DA-ADB1-AEAAADB31BD1}"/>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962BA6B4-C791-0573-A7FE-EF2B8B2EBB2D}"/>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337C0F92-2D0D-64CD-A4B8-8BCFCD72834D}"/>
              </a:ext>
            </a:extLst>
          </p:cNvPr>
          <p:cNvSpPr>
            <a:spLocks noGrp="1"/>
          </p:cNvSpPr>
          <p:nvPr>
            <p:ph type="sldNum" sz="quarter" idx="12"/>
          </p:nvPr>
        </p:nvSpPr>
        <p:spPr/>
        <p:txBody>
          <a:bodyPr/>
          <a:lstStyle/>
          <a:p>
            <a:fld id="{E84006A6-0E15-460A-BCD4-002C20F8AC9F}" type="slidenum">
              <a:rPr lang="de-DE" smtClean="0"/>
              <a:pPr/>
              <a:t>31</a:t>
            </a:fld>
            <a:endParaRPr lang="de-DE"/>
          </a:p>
        </p:txBody>
      </p:sp>
      <p:sp>
        <p:nvSpPr>
          <p:cNvPr id="17" name="Inhaltsplatzhalter 16">
            <a:extLst>
              <a:ext uri="{FF2B5EF4-FFF2-40B4-BE49-F238E27FC236}">
                <a16:creationId xmlns:a16="http://schemas.microsoft.com/office/drawing/2014/main" id="{39F0CE4D-944B-48BE-FB5D-6FABC2389E01}"/>
              </a:ext>
            </a:extLst>
          </p:cNvPr>
          <p:cNvSpPr>
            <a:spLocks noGrp="1"/>
          </p:cNvSpPr>
          <p:nvPr>
            <p:ph sz="quarter" idx="23"/>
          </p:nvPr>
        </p:nvSpPr>
        <p:spPr/>
        <p:txBody>
          <a:bodyPr>
            <a:normAutofit/>
          </a:bodyPr>
          <a:lstStyle/>
          <a:p>
            <a:pPr marL="0" indent="0">
              <a:buNone/>
            </a:pPr>
            <a:r>
              <a:rPr lang="de-DE" dirty="0"/>
              <a:t>Lorem ipsum dolor sit amet, consectetuer adipiscing elit. </a:t>
            </a:r>
            <a:br>
              <a:rPr lang="de-DE" dirty="0"/>
            </a:br>
            <a:r>
              <a:rPr lang="de-DE" dirty="0"/>
              <a:t>Maecenas porttitor congue massa. </a:t>
            </a:r>
          </a:p>
          <a:p>
            <a:pPr marL="0" indent="0">
              <a:buNone/>
            </a:pPr>
            <a:r>
              <a:rPr lang="de-DE" dirty="0"/>
              <a:t>Fusce posuere, magna sed pulvinar ultricies, purus lectus malesuada libero, sit amet commodo magna eros quis.</a:t>
            </a:r>
          </a:p>
          <a:p>
            <a:pPr marL="0" indent="0">
              <a:buNone/>
            </a:pPr>
            <a:r>
              <a:rPr lang="de-DE" dirty="0"/>
              <a:t>Nunc viverra imperdiet enim. </a:t>
            </a:r>
            <a:br>
              <a:rPr lang="de-DE" dirty="0"/>
            </a:br>
            <a:r>
              <a:rPr lang="de-DE" dirty="0"/>
              <a:t>Fusce est. Vivamus a tellus. </a:t>
            </a:r>
          </a:p>
        </p:txBody>
      </p:sp>
    </p:spTree>
    <p:extLst>
      <p:ext uri="{BB962C8B-B14F-4D97-AF65-F5344CB8AC3E}">
        <p14:creationId xmlns:p14="http://schemas.microsoft.com/office/powerpoint/2010/main" val="15547935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BBDCEFC-53B1-D60F-6C3B-1F781F20B0F7}"/>
              </a:ext>
            </a:extLst>
          </p:cNvPr>
          <p:cNvSpPr>
            <a:spLocks noGrp="1"/>
          </p:cNvSpPr>
          <p:nvPr>
            <p:ph type="title"/>
          </p:nvPr>
        </p:nvSpPr>
        <p:spPr/>
        <p:txBody>
          <a:bodyPr/>
          <a:lstStyle/>
          <a:p>
            <a:r>
              <a:rPr lang="de-DE" dirty="0"/>
              <a:t>Hier steht eine Headline.</a:t>
            </a:r>
          </a:p>
        </p:txBody>
      </p:sp>
      <p:sp>
        <p:nvSpPr>
          <p:cNvPr id="3" name="Datumsplatzhalter 2">
            <a:extLst>
              <a:ext uri="{FF2B5EF4-FFF2-40B4-BE49-F238E27FC236}">
                <a16:creationId xmlns:a16="http://schemas.microsoft.com/office/drawing/2014/main" id="{248D09D9-6DB8-CB36-F2F7-71786A69B65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602D378B-5B66-6C75-2B25-0600585C6B25}"/>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69DAC77A-94E1-74F8-BB4E-9911C7FCC878}"/>
              </a:ext>
            </a:extLst>
          </p:cNvPr>
          <p:cNvSpPr>
            <a:spLocks noGrp="1"/>
          </p:cNvSpPr>
          <p:nvPr>
            <p:ph type="sldNum" sz="quarter" idx="12"/>
          </p:nvPr>
        </p:nvSpPr>
        <p:spPr/>
        <p:txBody>
          <a:bodyPr/>
          <a:lstStyle/>
          <a:p>
            <a:fld id="{E84006A6-0E15-460A-BCD4-002C20F8AC9F}" type="slidenum">
              <a:rPr lang="de-DE" smtClean="0"/>
              <a:pPr/>
              <a:t>32</a:t>
            </a:fld>
            <a:endParaRPr lang="de-DE"/>
          </a:p>
        </p:txBody>
      </p:sp>
      <p:sp>
        <p:nvSpPr>
          <p:cNvPr id="29" name="Textplatzhalter 28">
            <a:extLst>
              <a:ext uri="{FF2B5EF4-FFF2-40B4-BE49-F238E27FC236}">
                <a16:creationId xmlns:a16="http://schemas.microsoft.com/office/drawing/2014/main" id="{C1F14FCA-36FF-2418-7598-1F5C669D6BAA}"/>
              </a:ext>
            </a:extLst>
          </p:cNvPr>
          <p:cNvSpPr>
            <a:spLocks noGrp="1"/>
          </p:cNvSpPr>
          <p:nvPr>
            <p:ph type="body" sz="quarter" idx="20"/>
          </p:nvPr>
        </p:nvSpPr>
        <p:spPr/>
        <p:txBody>
          <a:bodyPr/>
          <a:lstStyle/>
          <a:p>
            <a:r>
              <a:rPr lang="de-DE" dirty="0"/>
              <a:t>Lorem ipsum dolor sit amet, consectetuer adipiscing elit.</a:t>
            </a:r>
          </a:p>
        </p:txBody>
      </p:sp>
      <p:sp>
        <p:nvSpPr>
          <p:cNvPr id="11" name="Textplatzhalter 10">
            <a:extLst>
              <a:ext uri="{FF2B5EF4-FFF2-40B4-BE49-F238E27FC236}">
                <a16:creationId xmlns:a16="http://schemas.microsoft.com/office/drawing/2014/main" id="{29EFC7B8-ADDD-7C1A-B6AD-8CC18A5087D1}"/>
              </a:ext>
            </a:extLst>
          </p:cNvPr>
          <p:cNvSpPr>
            <a:spLocks noGrp="1"/>
          </p:cNvSpPr>
          <p:nvPr>
            <p:ph type="body" sz="quarter" idx="21"/>
          </p:nvPr>
        </p:nvSpPr>
        <p:spPr/>
        <p:txBody>
          <a:bodyPr/>
          <a:lstStyle/>
          <a:p>
            <a:r>
              <a:rPr lang="de-DE" dirty="0"/>
              <a:t>Lorem ipsum dolor.</a:t>
            </a:r>
          </a:p>
        </p:txBody>
      </p:sp>
      <p:sp>
        <p:nvSpPr>
          <p:cNvPr id="30" name="Textplatzhalter 29">
            <a:extLst>
              <a:ext uri="{FF2B5EF4-FFF2-40B4-BE49-F238E27FC236}">
                <a16:creationId xmlns:a16="http://schemas.microsoft.com/office/drawing/2014/main" id="{5A520FBB-9008-B456-7FF4-62DF5CF705D7}"/>
              </a:ext>
            </a:extLst>
          </p:cNvPr>
          <p:cNvSpPr>
            <a:spLocks noGrp="1"/>
          </p:cNvSpPr>
          <p:nvPr>
            <p:ph type="body" sz="quarter" idx="22"/>
          </p:nvPr>
        </p:nvSpPr>
        <p:spPr/>
        <p:txBody>
          <a:bodyPr/>
          <a:lstStyle/>
          <a:p>
            <a:r>
              <a:rPr lang="de-DE" dirty="0"/>
              <a:t>Lorem ipsum dolor sit amet, consectetuer adipiscing elit.</a:t>
            </a:r>
          </a:p>
        </p:txBody>
      </p:sp>
      <p:sp>
        <p:nvSpPr>
          <p:cNvPr id="13" name="Textplatzhalter 12">
            <a:extLst>
              <a:ext uri="{FF2B5EF4-FFF2-40B4-BE49-F238E27FC236}">
                <a16:creationId xmlns:a16="http://schemas.microsoft.com/office/drawing/2014/main" id="{F20E6E29-6C0B-71C3-785A-F2D043538BF8}"/>
              </a:ext>
            </a:extLst>
          </p:cNvPr>
          <p:cNvSpPr>
            <a:spLocks noGrp="1"/>
          </p:cNvSpPr>
          <p:nvPr>
            <p:ph type="body" sz="quarter" idx="23"/>
          </p:nvPr>
        </p:nvSpPr>
        <p:spPr/>
        <p:txBody>
          <a:bodyPr/>
          <a:lstStyle/>
          <a:p>
            <a:r>
              <a:rPr lang="de-DE" dirty="0"/>
              <a:t>Lorem ipsum dolor.</a:t>
            </a:r>
          </a:p>
        </p:txBody>
      </p:sp>
      <p:sp>
        <p:nvSpPr>
          <p:cNvPr id="31" name="Textplatzhalter 30">
            <a:extLst>
              <a:ext uri="{FF2B5EF4-FFF2-40B4-BE49-F238E27FC236}">
                <a16:creationId xmlns:a16="http://schemas.microsoft.com/office/drawing/2014/main" id="{98FC1A78-8FF4-C837-8409-52F3A5E8104B}"/>
              </a:ext>
            </a:extLst>
          </p:cNvPr>
          <p:cNvSpPr>
            <a:spLocks noGrp="1"/>
          </p:cNvSpPr>
          <p:nvPr>
            <p:ph type="body" sz="quarter" idx="24"/>
          </p:nvPr>
        </p:nvSpPr>
        <p:spPr/>
        <p:txBody>
          <a:bodyPr/>
          <a:lstStyle/>
          <a:p>
            <a:r>
              <a:rPr lang="de-DE" dirty="0"/>
              <a:t>Lorem ipsum dolor sit amet, consectetuer adipiscing elit.</a:t>
            </a:r>
          </a:p>
        </p:txBody>
      </p:sp>
      <p:sp>
        <p:nvSpPr>
          <p:cNvPr id="15" name="Textplatzhalter 14">
            <a:extLst>
              <a:ext uri="{FF2B5EF4-FFF2-40B4-BE49-F238E27FC236}">
                <a16:creationId xmlns:a16="http://schemas.microsoft.com/office/drawing/2014/main" id="{F741A722-2927-F2E4-C583-06E0747D9734}"/>
              </a:ext>
            </a:extLst>
          </p:cNvPr>
          <p:cNvSpPr>
            <a:spLocks noGrp="1"/>
          </p:cNvSpPr>
          <p:nvPr>
            <p:ph type="body" sz="quarter" idx="25"/>
          </p:nvPr>
        </p:nvSpPr>
        <p:spPr/>
        <p:txBody>
          <a:bodyPr/>
          <a:lstStyle/>
          <a:p>
            <a:r>
              <a:rPr lang="de-DE" dirty="0"/>
              <a:t>Lorem ipsum dolor.</a:t>
            </a:r>
          </a:p>
        </p:txBody>
      </p:sp>
      <p:pic>
        <p:nvPicPr>
          <p:cNvPr id="18" name="Bildplatzhalter 24">
            <a:extLst>
              <a:ext uri="{FF2B5EF4-FFF2-40B4-BE49-F238E27FC236}">
                <a16:creationId xmlns:a16="http://schemas.microsoft.com/office/drawing/2014/main" id="{EE4C8373-9011-75C1-29FC-5BADD3FF0DCD}"/>
              </a:ext>
            </a:extLst>
          </p:cNvPr>
          <p:cNvPicPr>
            <a:picLocks noGrp="1" noChangeAspect="1"/>
          </p:cNvPicPr>
          <p:nvPr>
            <p:ph sz="quarter" idx="26"/>
          </p:nvPr>
        </p:nvPicPr>
        <p:blipFill rotWithShape="1">
          <a:blip r:embed="rId2" cstate="print">
            <a:extLst>
              <a:ext uri="{28A0092B-C50C-407E-A947-70E740481C1C}">
                <a14:useLocalDpi xmlns:a14="http://schemas.microsoft.com/office/drawing/2010/main"/>
              </a:ext>
            </a:extLst>
          </a:blip>
          <a:srcRect/>
          <a:stretch/>
        </p:blipFill>
        <p:spPr>
          <a:xfrm>
            <a:off x="3764756" y="1477963"/>
            <a:ext cx="4140200" cy="4343400"/>
          </a:xfrm>
        </p:spPr>
      </p:pic>
      <p:pic>
        <p:nvPicPr>
          <p:cNvPr id="19" name="Bildplatzhalter 23">
            <a:extLst>
              <a:ext uri="{FF2B5EF4-FFF2-40B4-BE49-F238E27FC236}">
                <a16:creationId xmlns:a16="http://schemas.microsoft.com/office/drawing/2014/main" id="{19C36F5C-EE84-A6CF-8DC7-49F181A558B6}"/>
              </a:ext>
            </a:extLst>
          </p:cNvPr>
          <p:cNvPicPr>
            <a:picLocks noGrp="1" noChangeAspect="1"/>
          </p:cNvPicPr>
          <p:nvPr>
            <p:ph sz="quarter" idx="27"/>
          </p:nvPr>
        </p:nvPicPr>
        <p:blipFill>
          <a:blip r:embed="rId3" cstate="print">
            <a:extLst>
              <a:ext uri="{28A0092B-C50C-407E-A947-70E740481C1C}">
                <a14:useLocalDpi xmlns:a14="http://schemas.microsoft.com/office/drawing/2010/main"/>
              </a:ext>
            </a:extLst>
          </a:blip>
          <a:srcRect/>
          <a:stretch>
            <a:fillRect/>
          </a:stretch>
        </p:blipFill>
        <p:spPr>
          <a:xfrm>
            <a:off x="8207375" y="1477963"/>
            <a:ext cx="3454400" cy="4343400"/>
          </a:xfrm>
        </p:spPr>
      </p:pic>
    </p:spTree>
    <p:extLst>
      <p:ext uri="{BB962C8B-B14F-4D97-AF65-F5344CB8AC3E}">
        <p14:creationId xmlns:p14="http://schemas.microsoft.com/office/powerpoint/2010/main" val="32443176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0EA195FD-6B21-B738-3701-41CB0A96C9A0}"/>
              </a:ext>
            </a:extLst>
          </p:cNvPr>
          <p:cNvPicPr>
            <a:picLocks noGrp="1" noChangeAspect="1"/>
          </p:cNvPicPr>
          <p:nvPr>
            <p:ph type="pic" sz="quarter" idx="16"/>
          </p:nvPr>
        </p:nvPicPr>
        <p:blipFill>
          <a:blip r:embed="rId2">
            <a:extLst>
              <a:ext uri="{28A0092B-C50C-407E-A947-70E740481C1C}">
                <a14:useLocalDpi xmlns:a14="http://schemas.microsoft.com/office/drawing/2010/main"/>
              </a:ext>
            </a:extLst>
          </a:blip>
          <a:srcRect l="3010" r="3010"/>
          <a:stretch>
            <a:fillRect/>
          </a:stretch>
        </p:blipFill>
        <p:spPr/>
      </p:pic>
      <p:pic>
        <p:nvPicPr>
          <p:cNvPr id="21" name="Bildplatzhalter 20">
            <a:extLst>
              <a:ext uri="{FF2B5EF4-FFF2-40B4-BE49-F238E27FC236}">
                <a16:creationId xmlns:a16="http://schemas.microsoft.com/office/drawing/2014/main" id="{1914465C-4F06-A2A8-7076-F073F9FB328C}"/>
              </a:ext>
            </a:extLst>
          </p:cNvPr>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rcRect/>
          <a:stretch>
            <a:fillRect/>
          </a:stretch>
        </p:blipFill>
        <p:spPr/>
      </p:pic>
      <p:pic>
        <p:nvPicPr>
          <p:cNvPr id="23" name="Bildplatzhalter 22">
            <a:extLst>
              <a:ext uri="{FF2B5EF4-FFF2-40B4-BE49-F238E27FC236}">
                <a16:creationId xmlns:a16="http://schemas.microsoft.com/office/drawing/2014/main" id="{55F3D2B8-3A6C-4037-46FB-F31904FB5A45}"/>
              </a:ext>
            </a:extLst>
          </p:cNvPr>
          <p:cNvPicPr>
            <a:picLocks noGrp="1" noChangeAspect="1"/>
          </p:cNvPicPr>
          <p:nvPr>
            <p:ph type="pic" sz="quarter" idx="15"/>
          </p:nvPr>
        </p:nvPicPr>
        <p:blipFill rotWithShape="1">
          <a:blip r:embed="rId4" cstate="print">
            <a:extLst>
              <a:ext uri="{28A0092B-C50C-407E-A947-70E740481C1C}">
                <a14:useLocalDpi xmlns:a14="http://schemas.microsoft.com/office/drawing/2010/main"/>
              </a:ext>
            </a:extLst>
          </a:blip>
          <a:srcRect/>
          <a:stretch/>
        </p:blipFill>
        <p:spPr>
          <a:xfrm>
            <a:off x="1" y="768350"/>
            <a:ext cx="2088038" cy="5360987"/>
          </a:xfrm>
        </p:spPr>
      </p:pic>
      <p:sp>
        <p:nvSpPr>
          <p:cNvPr id="3" name="Datumsplatzhalter 2">
            <a:extLst>
              <a:ext uri="{FF2B5EF4-FFF2-40B4-BE49-F238E27FC236}">
                <a16:creationId xmlns:a16="http://schemas.microsoft.com/office/drawing/2014/main" id="{9819C305-B141-009D-45B4-EEF98BA0330C}"/>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5B03A61A-9289-DD61-BAC7-2C3D85BBD74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9E23D40A-4E82-C78C-1EEB-F877839BE196}"/>
              </a:ext>
            </a:extLst>
          </p:cNvPr>
          <p:cNvSpPr>
            <a:spLocks noGrp="1"/>
          </p:cNvSpPr>
          <p:nvPr>
            <p:ph type="sldNum" sz="quarter" idx="12"/>
          </p:nvPr>
        </p:nvSpPr>
        <p:spPr/>
        <p:txBody>
          <a:bodyPr/>
          <a:lstStyle/>
          <a:p>
            <a:fld id="{E84006A6-0E15-460A-BCD4-002C20F8AC9F}" type="slidenum">
              <a:rPr lang="de-DE" smtClean="0"/>
              <a:pPr/>
              <a:t>33</a:t>
            </a:fld>
            <a:endParaRPr lang="de-DE"/>
          </a:p>
        </p:txBody>
      </p:sp>
      <p:sp>
        <p:nvSpPr>
          <p:cNvPr id="17" name="Textplatzhalter 16">
            <a:extLst>
              <a:ext uri="{FF2B5EF4-FFF2-40B4-BE49-F238E27FC236}">
                <a16:creationId xmlns:a16="http://schemas.microsoft.com/office/drawing/2014/main" id="{8F6FD651-F339-A676-0525-15634F25D595}"/>
              </a:ext>
            </a:extLst>
          </p:cNvPr>
          <p:cNvSpPr>
            <a:spLocks noGrp="1"/>
          </p:cNvSpPr>
          <p:nvPr>
            <p:ph type="body" sz="quarter" idx="17"/>
          </p:nvPr>
        </p:nvSpPr>
        <p:spPr/>
        <p:txBody>
          <a:bodyPr/>
          <a:lstStyle/>
          <a:p>
            <a:r>
              <a:rPr lang="de-DE" dirty="0"/>
              <a:t>Hier steht eine Headline.</a:t>
            </a:r>
          </a:p>
        </p:txBody>
      </p:sp>
    </p:spTree>
    <p:extLst>
      <p:ext uri="{BB962C8B-B14F-4D97-AF65-F5344CB8AC3E}">
        <p14:creationId xmlns:p14="http://schemas.microsoft.com/office/powerpoint/2010/main" val="24445862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0EA195FD-6B21-B738-3701-41CB0A96C9A0}"/>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a:ext>
            </a:extLst>
          </a:blip>
          <a:srcRect l="3010" r="3010"/>
          <a:stretch/>
        </p:blipFill>
        <p:spPr/>
      </p:pic>
      <p:pic>
        <p:nvPicPr>
          <p:cNvPr id="21" name="Bildplatzhalter 20">
            <a:extLst>
              <a:ext uri="{FF2B5EF4-FFF2-40B4-BE49-F238E27FC236}">
                <a16:creationId xmlns:a16="http://schemas.microsoft.com/office/drawing/2014/main" id="{1914465C-4F06-A2A8-7076-F073F9FB328C}"/>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t="99" b="99"/>
          <a:stretch/>
        </p:blipFill>
        <p:spPr/>
      </p:pic>
      <p:pic>
        <p:nvPicPr>
          <p:cNvPr id="23" name="Bildplatzhalter 22">
            <a:extLst>
              <a:ext uri="{FF2B5EF4-FFF2-40B4-BE49-F238E27FC236}">
                <a16:creationId xmlns:a16="http://schemas.microsoft.com/office/drawing/2014/main" id="{55F3D2B8-3A6C-4037-46FB-F31904FB5A45}"/>
              </a:ext>
            </a:extLst>
          </p:cNvPr>
          <p:cNvPicPr>
            <a:picLocks noGrp="1" noChangeAspect="1"/>
          </p:cNvPicPr>
          <p:nvPr>
            <p:ph type="pic" sz="quarter" idx="15"/>
          </p:nvPr>
        </p:nvPicPr>
        <p:blipFill rotWithShape="1">
          <a:blip r:embed="rId4" cstate="print">
            <a:extLst>
              <a:ext uri="{28A0092B-C50C-407E-A947-70E740481C1C}">
                <a14:useLocalDpi xmlns:a14="http://schemas.microsoft.com/office/drawing/2010/main"/>
              </a:ext>
            </a:extLst>
          </a:blip>
          <a:srcRect t="99" b="99"/>
          <a:stretch/>
        </p:blipFill>
        <p:spPr/>
      </p:pic>
      <p:sp>
        <p:nvSpPr>
          <p:cNvPr id="3" name="Datumsplatzhalter 2">
            <a:extLst>
              <a:ext uri="{FF2B5EF4-FFF2-40B4-BE49-F238E27FC236}">
                <a16:creationId xmlns:a16="http://schemas.microsoft.com/office/drawing/2014/main" id="{9819C305-B141-009D-45B4-EEF98BA0330C}"/>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5B03A61A-9289-DD61-BAC7-2C3D85BBD74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9E23D40A-4E82-C78C-1EEB-F877839BE196}"/>
              </a:ext>
            </a:extLst>
          </p:cNvPr>
          <p:cNvSpPr>
            <a:spLocks noGrp="1"/>
          </p:cNvSpPr>
          <p:nvPr>
            <p:ph type="sldNum" sz="quarter" idx="12"/>
          </p:nvPr>
        </p:nvSpPr>
        <p:spPr/>
        <p:txBody>
          <a:bodyPr/>
          <a:lstStyle/>
          <a:p>
            <a:fld id="{E84006A6-0E15-460A-BCD4-002C20F8AC9F}" type="slidenum">
              <a:rPr lang="de-DE" smtClean="0"/>
              <a:pPr/>
              <a:t>34</a:t>
            </a:fld>
            <a:endParaRPr lang="de-DE"/>
          </a:p>
        </p:txBody>
      </p:sp>
      <p:sp>
        <p:nvSpPr>
          <p:cNvPr id="17" name="Textplatzhalter 16">
            <a:extLst>
              <a:ext uri="{FF2B5EF4-FFF2-40B4-BE49-F238E27FC236}">
                <a16:creationId xmlns:a16="http://schemas.microsoft.com/office/drawing/2014/main" id="{8F6FD651-F339-A676-0525-15634F25D595}"/>
              </a:ext>
            </a:extLst>
          </p:cNvPr>
          <p:cNvSpPr>
            <a:spLocks noGrp="1"/>
          </p:cNvSpPr>
          <p:nvPr>
            <p:ph type="body" sz="quarter" idx="17"/>
          </p:nvPr>
        </p:nvSpPr>
        <p:spPr/>
        <p:txBody>
          <a:bodyPr/>
          <a:lstStyle/>
          <a:p>
            <a:r>
              <a:rPr lang="de-DE" dirty="0"/>
              <a:t>Hier steht eine Headline.</a:t>
            </a:r>
          </a:p>
        </p:txBody>
      </p:sp>
    </p:spTree>
    <p:extLst>
      <p:ext uri="{BB962C8B-B14F-4D97-AF65-F5344CB8AC3E}">
        <p14:creationId xmlns:p14="http://schemas.microsoft.com/office/powerpoint/2010/main" val="2456578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E68D400A-3E35-E0CD-EC40-069C524BFFE0}"/>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t="901" b="901"/>
          <a:stretch>
            <a:fillRect/>
          </a:stretch>
        </p:blipFill>
        <p:spPr/>
      </p:pic>
      <p:sp>
        <p:nvSpPr>
          <p:cNvPr id="5" name="Datumsplatzhalter 4">
            <a:extLst>
              <a:ext uri="{FF2B5EF4-FFF2-40B4-BE49-F238E27FC236}">
                <a16:creationId xmlns:a16="http://schemas.microsoft.com/office/drawing/2014/main" id="{3DC17FF7-2664-CE58-6D63-07AE14324D57}"/>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82A1F812-6212-D9F2-21A2-85D0517703A6}"/>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95353BB8-55A1-6189-DE39-8B5EA5D87FA9}"/>
              </a:ext>
            </a:extLst>
          </p:cNvPr>
          <p:cNvSpPr>
            <a:spLocks noGrp="1"/>
          </p:cNvSpPr>
          <p:nvPr>
            <p:ph type="sldNum" sz="quarter" idx="12"/>
          </p:nvPr>
        </p:nvSpPr>
        <p:spPr/>
        <p:txBody>
          <a:bodyPr/>
          <a:lstStyle/>
          <a:p>
            <a:fld id="{E84006A6-0E15-460A-BCD4-002C20F8AC9F}" type="slidenum">
              <a:rPr lang="de-DE" smtClean="0"/>
              <a:pPr/>
              <a:t>35</a:t>
            </a:fld>
            <a:endParaRPr lang="de-DE"/>
          </a:p>
        </p:txBody>
      </p:sp>
      <p:sp>
        <p:nvSpPr>
          <p:cNvPr id="9" name="Titel 8">
            <a:extLst>
              <a:ext uri="{FF2B5EF4-FFF2-40B4-BE49-F238E27FC236}">
                <a16:creationId xmlns:a16="http://schemas.microsoft.com/office/drawing/2014/main" id="{04BD85A0-EAC3-F0B4-FF91-572869076F65}"/>
              </a:ext>
            </a:extLst>
          </p:cNvPr>
          <p:cNvSpPr>
            <a:spLocks noGrp="1"/>
          </p:cNvSpPr>
          <p:nvPr>
            <p:ph type="title"/>
          </p:nvPr>
        </p:nvSpPr>
        <p:spPr/>
        <p:txBody>
          <a:bodyPr/>
          <a:lstStyle/>
          <a:p>
            <a:r>
              <a:rPr lang="de-DE" dirty="0"/>
              <a:t>Lorem ipsum </a:t>
            </a:r>
            <a:br>
              <a:rPr lang="de-DE" dirty="0"/>
            </a:br>
            <a:r>
              <a:rPr lang="de-DE" dirty="0"/>
              <a:t>dolor sit amet.</a:t>
            </a:r>
          </a:p>
        </p:txBody>
      </p:sp>
    </p:spTree>
    <p:extLst>
      <p:ext uri="{BB962C8B-B14F-4D97-AF65-F5344CB8AC3E}">
        <p14:creationId xmlns:p14="http://schemas.microsoft.com/office/powerpoint/2010/main" val="18695737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E68D400A-3E35-E0CD-EC40-069C524BFFE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t="901" b="901"/>
          <a:stretch/>
        </p:blipFill>
        <p:spPr/>
      </p:pic>
      <p:sp>
        <p:nvSpPr>
          <p:cNvPr id="5" name="Datumsplatzhalter 4">
            <a:extLst>
              <a:ext uri="{FF2B5EF4-FFF2-40B4-BE49-F238E27FC236}">
                <a16:creationId xmlns:a16="http://schemas.microsoft.com/office/drawing/2014/main" id="{3DC17FF7-2664-CE58-6D63-07AE14324D57}"/>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82A1F812-6212-D9F2-21A2-85D0517703A6}"/>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95353BB8-55A1-6189-DE39-8B5EA5D87FA9}"/>
              </a:ext>
            </a:extLst>
          </p:cNvPr>
          <p:cNvSpPr>
            <a:spLocks noGrp="1"/>
          </p:cNvSpPr>
          <p:nvPr>
            <p:ph type="sldNum" sz="quarter" idx="12"/>
          </p:nvPr>
        </p:nvSpPr>
        <p:spPr/>
        <p:txBody>
          <a:bodyPr/>
          <a:lstStyle/>
          <a:p>
            <a:fld id="{E84006A6-0E15-460A-BCD4-002C20F8AC9F}" type="slidenum">
              <a:rPr lang="de-DE" smtClean="0"/>
              <a:pPr/>
              <a:t>36</a:t>
            </a:fld>
            <a:endParaRPr lang="de-DE"/>
          </a:p>
        </p:txBody>
      </p:sp>
      <p:sp>
        <p:nvSpPr>
          <p:cNvPr id="9" name="Titel 8">
            <a:extLst>
              <a:ext uri="{FF2B5EF4-FFF2-40B4-BE49-F238E27FC236}">
                <a16:creationId xmlns:a16="http://schemas.microsoft.com/office/drawing/2014/main" id="{04BD85A0-EAC3-F0B4-FF91-572869076F65}"/>
              </a:ext>
            </a:extLst>
          </p:cNvPr>
          <p:cNvSpPr>
            <a:spLocks noGrp="1"/>
          </p:cNvSpPr>
          <p:nvPr>
            <p:ph type="title"/>
          </p:nvPr>
        </p:nvSpPr>
        <p:spPr/>
        <p:txBody>
          <a:bodyPr/>
          <a:lstStyle/>
          <a:p>
            <a:r>
              <a:rPr lang="de-DE" dirty="0"/>
              <a:t>Lorem ipsum </a:t>
            </a:r>
            <a:br>
              <a:rPr lang="de-DE" dirty="0"/>
            </a:br>
            <a:r>
              <a:rPr lang="de-DE" dirty="0"/>
              <a:t>dolor sit amet.</a:t>
            </a:r>
          </a:p>
        </p:txBody>
      </p:sp>
    </p:spTree>
    <p:extLst>
      <p:ext uri="{BB962C8B-B14F-4D97-AF65-F5344CB8AC3E}">
        <p14:creationId xmlns:p14="http://schemas.microsoft.com/office/powerpoint/2010/main" val="26498552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1F5B990-5CF2-33EA-C3C9-DB992C6D5D7F}"/>
              </a:ext>
            </a:extLst>
          </p:cNvPr>
          <p:cNvSpPr>
            <a:spLocks noGrp="1"/>
          </p:cNvSpPr>
          <p:nvPr>
            <p:ph type="title"/>
          </p:nvPr>
        </p:nvSpPr>
        <p:spPr/>
        <p:txBody>
          <a:bodyPr/>
          <a:lstStyle/>
          <a:p>
            <a:r>
              <a:rPr lang="de-DE" dirty="0"/>
              <a:t>Lorem ipsum dolor sit amet, consectetuer adipiscing elit. </a:t>
            </a:r>
          </a:p>
        </p:txBody>
      </p:sp>
      <p:sp>
        <p:nvSpPr>
          <p:cNvPr id="3" name="Datumsplatzhalter 2">
            <a:extLst>
              <a:ext uri="{FF2B5EF4-FFF2-40B4-BE49-F238E27FC236}">
                <a16:creationId xmlns:a16="http://schemas.microsoft.com/office/drawing/2014/main" id="{64F5B25A-1D2B-9472-C92A-4EFB1F9B700F}"/>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DEEB424-D6C5-4F4B-2E83-BE21E010AD05}"/>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93048563-CF1D-937F-79F6-764CA768F6C8}"/>
              </a:ext>
            </a:extLst>
          </p:cNvPr>
          <p:cNvSpPr>
            <a:spLocks noGrp="1"/>
          </p:cNvSpPr>
          <p:nvPr>
            <p:ph type="sldNum" sz="quarter" idx="12"/>
          </p:nvPr>
        </p:nvSpPr>
        <p:spPr/>
        <p:txBody>
          <a:bodyPr/>
          <a:lstStyle/>
          <a:p>
            <a:fld id="{E84006A6-0E15-460A-BCD4-002C20F8AC9F}" type="slidenum">
              <a:rPr lang="de-DE" smtClean="0"/>
              <a:pPr/>
              <a:t>37</a:t>
            </a:fld>
            <a:endParaRPr lang="de-DE"/>
          </a:p>
        </p:txBody>
      </p:sp>
      <p:pic>
        <p:nvPicPr>
          <p:cNvPr id="10" name="Inhaltsplatzhalter 9">
            <a:extLst>
              <a:ext uri="{FF2B5EF4-FFF2-40B4-BE49-F238E27FC236}">
                <a16:creationId xmlns:a16="http://schemas.microsoft.com/office/drawing/2014/main" id="{4F202599-92FB-B6DE-C2A8-B6AC39C8AB04}"/>
              </a:ext>
            </a:extLst>
          </p:cNvPr>
          <p:cNvPicPr>
            <a:picLocks noGrp="1" noChangeAspect="1"/>
          </p:cNvPicPr>
          <p:nvPr>
            <p:ph sz="quarter" idx="26"/>
          </p:nvPr>
        </p:nvPicPr>
        <p:blipFill rotWithShape="1">
          <a:blip r:embed="rId2" cstate="print">
            <a:extLst>
              <a:ext uri="{28A0092B-C50C-407E-A947-70E740481C1C}">
                <a14:useLocalDpi xmlns:a14="http://schemas.microsoft.com/office/drawing/2010/main"/>
              </a:ext>
            </a:extLst>
          </a:blip>
          <a:srcRect t="2969" b="2969"/>
          <a:stretch/>
        </p:blipFill>
        <p:spPr>
          <a:xfrm>
            <a:off x="3503613" y="0"/>
            <a:ext cx="8688387" cy="6129338"/>
          </a:xfrm>
        </p:spPr>
      </p:pic>
    </p:spTree>
    <p:extLst>
      <p:ext uri="{BB962C8B-B14F-4D97-AF65-F5344CB8AC3E}">
        <p14:creationId xmlns:p14="http://schemas.microsoft.com/office/powerpoint/2010/main" val="325123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1F5B990-5CF2-33EA-C3C9-DB992C6D5D7F}"/>
              </a:ext>
            </a:extLst>
          </p:cNvPr>
          <p:cNvSpPr>
            <a:spLocks noGrp="1"/>
          </p:cNvSpPr>
          <p:nvPr>
            <p:ph type="title"/>
          </p:nvPr>
        </p:nvSpPr>
        <p:spPr/>
        <p:txBody>
          <a:bodyPr/>
          <a:lstStyle/>
          <a:p>
            <a:r>
              <a:rPr lang="de-DE" dirty="0"/>
              <a:t>Lorem ipsum dolor sit amet, consectetuer adipiscing elit. </a:t>
            </a:r>
          </a:p>
        </p:txBody>
      </p:sp>
      <p:sp>
        <p:nvSpPr>
          <p:cNvPr id="3" name="Datumsplatzhalter 2">
            <a:extLst>
              <a:ext uri="{FF2B5EF4-FFF2-40B4-BE49-F238E27FC236}">
                <a16:creationId xmlns:a16="http://schemas.microsoft.com/office/drawing/2014/main" id="{64F5B25A-1D2B-9472-C92A-4EFB1F9B700F}"/>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2DEEB424-D6C5-4F4B-2E83-BE21E010AD05}"/>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93048563-CF1D-937F-79F6-764CA768F6C8}"/>
              </a:ext>
            </a:extLst>
          </p:cNvPr>
          <p:cNvSpPr>
            <a:spLocks noGrp="1"/>
          </p:cNvSpPr>
          <p:nvPr>
            <p:ph type="sldNum" sz="quarter" idx="12"/>
          </p:nvPr>
        </p:nvSpPr>
        <p:spPr/>
        <p:txBody>
          <a:bodyPr/>
          <a:lstStyle/>
          <a:p>
            <a:fld id="{E84006A6-0E15-460A-BCD4-002C20F8AC9F}" type="slidenum">
              <a:rPr lang="de-DE" smtClean="0"/>
              <a:pPr/>
              <a:t>38</a:t>
            </a:fld>
            <a:endParaRPr lang="de-DE"/>
          </a:p>
        </p:txBody>
      </p:sp>
      <p:pic>
        <p:nvPicPr>
          <p:cNvPr id="10" name="Inhaltsplatzhalter 9">
            <a:extLst>
              <a:ext uri="{FF2B5EF4-FFF2-40B4-BE49-F238E27FC236}">
                <a16:creationId xmlns:a16="http://schemas.microsoft.com/office/drawing/2014/main" id="{4F202599-92FB-B6DE-C2A8-B6AC39C8AB04}"/>
              </a:ext>
            </a:extLst>
          </p:cNvPr>
          <p:cNvPicPr>
            <a:picLocks noGrp="1" noChangeAspect="1"/>
          </p:cNvPicPr>
          <p:nvPr>
            <p:ph sz="quarter" idx="26"/>
          </p:nvPr>
        </p:nvPicPr>
        <p:blipFill rotWithShape="1">
          <a:blip r:embed="rId2" cstate="print">
            <a:extLst>
              <a:ext uri="{28A0092B-C50C-407E-A947-70E740481C1C}">
                <a14:useLocalDpi xmlns:a14="http://schemas.microsoft.com/office/drawing/2010/main"/>
              </a:ext>
            </a:extLst>
          </a:blip>
          <a:srcRect t="2969" b="2969"/>
          <a:stretch/>
        </p:blipFill>
        <p:spPr>
          <a:xfrm>
            <a:off x="3503613" y="0"/>
            <a:ext cx="8688387" cy="6129338"/>
          </a:xfrm>
        </p:spPr>
      </p:pic>
    </p:spTree>
    <p:extLst>
      <p:ext uri="{BB962C8B-B14F-4D97-AF65-F5344CB8AC3E}">
        <p14:creationId xmlns:p14="http://schemas.microsoft.com/office/powerpoint/2010/main" val="32543608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nhaltsplatzhalter 12">
            <a:extLst>
              <a:ext uri="{FF2B5EF4-FFF2-40B4-BE49-F238E27FC236}">
                <a16:creationId xmlns:a16="http://schemas.microsoft.com/office/drawing/2014/main" id="{FD256266-0170-B540-07A1-9ACB4061B017}"/>
              </a:ext>
            </a:extLst>
          </p:cNvPr>
          <p:cNvPicPr>
            <a:picLocks noGrp="1" noChangeAspect="1"/>
          </p:cNvPicPr>
          <p:nvPr>
            <p:ph sz="quarter" idx="28"/>
          </p:nvPr>
        </p:nvPicPr>
        <p:blipFill rotWithShape="1">
          <a:blip r:embed="rId2" cstate="print">
            <a:extLst>
              <a:ext uri="{28A0092B-C50C-407E-A947-70E740481C1C}">
                <a14:useLocalDpi xmlns:a14="http://schemas.microsoft.com/office/drawing/2010/main"/>
              </a:ext>
            </a:extLst>
          </a:blip>
          <a:srcRect l="10991" r="10991"/>
          <a:stretch/>
        </p:blipFill>
        <p:spPr>
          <a:xfrm>
            <a:off x="515938" y="765175"/>
            <a:ext cx="5580062" cy="5364163"/>
          </a:xfrm>
        </p:spPr>
      </p:pic>
      <p:pic>
        <p:nvPicPr>
          <p:cNvPr id="15" name="Inhaltsplatzhalter 14">
            <a:extLst>
              <a:ext uri="{FF2B5EF4-FFF2-40B4-BE49-F238E27FC236}">
                <a16:creationId xmlns:a16="http://schemas.microsoft.com/office/drawing/2014/main" id="{6C42CF43-18D5-3DFE-D08B-87741AD2F20C}"/>
              </a:ext>
            </a:extLst>
          </p:cNvPr>
          <p:cNvPicPr>
            <a:picLocks noGrp="1" noChangeAspect="1"/>
          </p:cNvPicPr>
          <p:nvPr>
            <p:ph sz="quarter" idx="27"/>
          </p:nvPr>
        </p:nvPicPr>
        <p:blipFill rotWithShape="1">
          <a:blip r:embed="rId3">
            <a:extLst>
              <a:ext uri="{28A0092B-C50C-407E-A947-70E740481C1C}">
                <a14:useLocalDpi xmlns:a14="http://schemas.microsoft.com/office/drawing/2010/main"/>
              </a:ext>
            </a:extLst>
          </a:blip>
          <a:srcRect l="34658" r="9774"/>
          <a:stretch/>
        </p:blipFill>
        <p:spPr>
          <a:xfrm>
            <a:off x="6096000" y="765175"/>
            <a:ext cx="5580063" cy="5364163"/>
          </a:xfrm>
        </p:spPr>
      </p:pic>
      <p:sp>
        <p:nvSpPr>
          <p:cNvPr id="3" name="Datumsplatzhalter 2">
            <a:extLst>
              <a:ext uri="{FF2B5EF4-FFF2-40B4-BE49-F238E27FC236}">
                <a16:creationId xmlns:a16="http://schemas.microsoft.com/office/drawing/2014/main" id="{DB343411-E304-AFDB-EF8D-E6972022789B}"/>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61DB2AAE-2330-E3AA-9AC4-8F7798494BD7}"/>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187F716B-9DBF-4BEC-4834-867CE786DBF1}"/>
              </a:ext>
            </a:extLst>
          </p:cNvPr>
          <p:cNvSpPr>
            <a:spLocks noGrp="1"/>
          </p:cNvSpPr>
          <p:nvPr>
            <p:ph type="sldNum" sz="quarter" idx="12"/>
          </p:nvPr>
        </p:nvSpPr>
        <p:spPr/>
        <p:txBody>
          <a:bodyPr/>
          <a:lstStyle/>
          <a:p>
            <a:fld id="{E84006A6-0E15-460A-BCD4-002C20F8AC9F}" type="slidenum">
              <a:rPr lang="de-DE" smtClean="0"/>
              <a:pPr/>
              <a:t>39</a:t>
            </a:fld>
            <a:endParaRPr lang="de-DE"/>
          </a:p>
        </p:txBody>
      </p:sp>
      <p:sp>
        <p:nvSpPr>
          <p:cNvPr id="8" name="Textplatzhalter 7">
            <a:extLst>
              <a:ext uri="{FF2B5EF4-FFF2-40B4-BE49-F238E27FC236}">
                <a16:creationId xmlns:a16="http://schemas.microsoft.com/office/drawing/2014/main" id="{BEC06417-75AE-333A-C198-AB3D31D29594}"/>
              </a:ext>
            </a:extLst>
          </p:cNvPr>
          <p:cNvSpPr>
            <a:spLocks noGrp="1"/>
          </p:cNvSpPr>
          <p:nvPr>
            <p:ph type="body" sz="quarter" idx="25"/>
          </p:nvPr>
        </p:nvSpPr>
        <p:spPr/>
        <p:txBody>
          <a:bodyPr/>
          <a:lstStyle/>
          <a:p>
            <a:r>
              <a:rPr lang="de-DE" dirty="0">
                <a:solidFill>
                  <a:schemeClr val="bg1"/>
                </a:solidFill>
              </a:rPr>
              <a:t>Lorem ipsum dolor sit amet.</a:t>
            </a:r>
          </a:p>
        </p:txBody>
      </p:sp>
      <p:sp>
        <p:nvSpPr>
          <p:cNvPr id="9" name="Textplatzhalter 8">
            <a:extLst>
              <a:ext uri="{FF2B5EF4-FFF2-40B4-BE49-F238E27FC236}">
                <a16:creationId xmlns:a16="http://schemas.microsoft.com/office/drawing/2014/main" id="{84ECD795-B1F5-E794-A4A6-742AFBA637CE}"/>
              </a:ext>
            </a:extLst>
          </p:cNvPr>
          <p:cNvSpPr>
            <a:spLocks noGrp="1"/>
          </p:cNvSpPr>
          <p:nvPr>
            <p:ph type="body" sz="quarter" idx="26"/>
          </p:nvPr>
        </p:nvSpPr>
        <p:spPr/>
        <p:txBody>
          <a:bodyPr/>
          <a:lstStyle/>
          <a:p>
            <a:r>
              <a:rPr lang="de-DE" dirty="0">
                <a:solidFill>
                  <a:schemeClr val="bg1"/>
                </a:solidFill>
              </a:rPr>
              <a:t>Lorem ipsum dolor sit amet.</a:t>
            </a:r>
          </a:p>
        </p:txBody>
      </p:sp>
      <p:sp>
        <p:nvSpPr>
          <p:cNvPr id="7" name="Textplatzhalter 6">
            <a:extLst>
              <a:ext uri="{FF2B5EF4-FFF2-40B4-BE49-F238E27FC236}">
                <a16:creationId xmlns:a16="http://schemas.microsoft.com/office/drawing/2014/main" id="{69A223D5-B6E6-E652-FCA1-426819DA937B}"/>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2704536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87E81AA-C6F0-94B6-FA6E-4451C7A950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8ED1445A-524F-3C6A-1BD8-35B66259454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FE08C9E-6BC4-8EB1-1544-E33BD1C3EE19}"/>
              </a:ext>
            </a:extLst>
          </p:cNvPr>
          <p:cNvSpPr>
            <a:spLocks noGrp="1"/>
          </p:cNvSpPr>
          <p:nvPr>
            <p:ph type="sldNum" sz="quarter" idx="12"/>
          </p:nvPr>
        </p:nvSpPr>
        <p:spPr/>
        <p:txBody>
          <a:bodyPr/>
          <a:lstStyle/>
          <a:p>
            <a:fld id="{E84006A6-0E15-460A-BCD4-002C20F8AC9F}" type="slidenum">
              <a:rPr lang="de-DE" smtClean="0"/>
              <a:pPr/>
              <a:t>4</a:t>
            </a:fld>
            <a:endParaRPr lang="de-DE"/>
          </a:p>
        </p:txBody>
      </p:sp>
      <p:sp>
        <p:nvSpPr>
          <p:cNvPr id="7" name="Titel 6">
            <a:extLst>
              <a:ext uri="{FF2B5EF4-FFF2-40B4-BE49-F238E27FC236}">
                <a16:creationId xmlns:a16="http://schemas.microsoft.com/office/drawing/2014/main" id="{CDB621D8-F209-4C89-C7AD-2A8447AC1E83}"/>
              </a:ext>
            </a:extLst>
          </p:cNvPr>
          <p:cNvSpPr>
            <a:spLocks noGrp="1"/>
          </p:cNvSpPr>
          <p:nvPr>
            <p:ph type="title"/>
          </p:nvPr>
        </p:nvSpPr>
        <p:spPr/>
        <p:txBody>
          <a:bodyPr/>
          <a:lstStyle/>
          <a:p>
            <a:r>
              <a:rPr lang="de-DE" dirty="0"/>
              <a:t>Hier steht eine Headline.</a:t>
            </a:r>
            <a:br>
              <a:rPr lang="de-DE" dirty="0"/>
            </a:br>
            <a:r>
              <a:rPr lang="de-DE" dirty="0"/>
              <a:t>Hier steht eine Headline.</a:t>
            </a:r>
          </a:p>
        </p:txBody>
      </p:sp>
    </p:spTree>
    <p:extLst>
      <p:ext uri="{BB962C8B-B14F-4D97-AF65-F5344CB8AC3E}">
        <p14:creationId xmlns:p14="http://schemas.microsoft.com/office/powerpoint/2010/main" val="292913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nhaltsplatzhalter 12">
            <a:extLst>
              <a:ext uri="{FF2B5EF4-FFF2-40B4-BE49-F238E27FC236}">
                <a16:creationId xmlns:a16="http://schemas.microsoft.com/office/drawing/2014/main" id="{FD256266-0170-B540-07A1-9ACB4061B017}"/>
              </a:ext>
            </a:extLst>
          </p:cNvPr>
          <p:cNvPicPr>
            <a:picLocks noGrp="1" noChangeAspect="1"/>
          </p:cNvPicPr>
          <p:nvPr>
            <p:ph sz="quarter" idx="28"/>
          </p:nvPr>
        </p:nvPicPr>
        <p:blipFill rotWithShape="1">
          <a:blip r:embed="rId2" cstate="print">
            <a:extLst>
              <a:ext uri="{28A0092B-C50C-407E-A947-70E740481C1C}">
                <a14:useLocalDpi xmlns:a14="http://schemas.microsoft.com/office/drawing/2010/main"/>
              </a:ext>
            </a:extLst>
          </a:blip>
          <a:srcRect l="10875" r="10875"/>
          <a:stretch/>
        </p:blipFill>
        <p:spPr>
          <a:xfrm>
            <a:off x="515938" y="781039"/>
            <a:ext cx="5580062" cy="5348299"/>
          </a:xfrm>
        </p:spPr>
      </p:pic>
      <p:pic>
        <p:nvPicPr>
          <p:cNvPr id="15" name="Inhaltsplatzhalter 14">
            <a:extLst>
              <a:ext uri="{FF2B5EF4-FFF2-40B4-BE49-F238E27FC236}">
                <a16:creationId xmlns:a16="http://schemas.microsoft.com/office/drawing/2014/main" id="{6C42CF43-18D5-3DFE-D08B-87741AD2F20C}"/>
              </a:ext>
            </a:extLst>
          </p:cNvPr>
          <p:cNvPicPr>
            <a:picLocks noGrp="1" noChangeAspect="1"/>
          </p:cNvPicPr>
          <p:nvPr>
            <p:ph sz="quarter" idx="27"/>
          </p:nvPr>
        </p:nvPicPr>
        <p:blipFill rotWithShape="1">
          <a:blip r:embed="rId3">
            <a:extLst>
              <a:ext uri="{28A0092B-C50C-407E-A947-70E740481C1C}">
                <a14:useLocalDpi xmlns:a14="http://schemas.microsoft.com/office/drawing/2010/main"/>
              </a:ext>
            </a:extLst>
          </a:blip>
          <a:srcRect l="34736" r="9532"/>
          <a:stretch/>
        </p:blipFill>
        <p:spPr>
          <a:xfrm>
            <a:off x="6096000" y="781039"/>
            <a:ext cx="5580063" cy="5348299"/>
          </a:xfrm>
        </p:spPr>
      </p:pic>
      <p:sp>
        <p:nvSpPr>
          <p:cNvPr id="3" name="Datumsplatzhalter 2">
            <a:extLst>
              <a:ext uri="{FF2B5EF4-FFF2-40B4-BE49-F238E27FC236}">
                <a16:creationId xmlns:a16="http://schemas.microsoft.com/office/drawing/2014/main" id="{DB343411-E304-AFDB-EF8D-E6972022789B}"/>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61DB2AAE-2330-E3AA-9AC4-8F7798494BD7}"/>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187F716B-9DBF-4BEC-4834-867CE786DBF1}"/>
              </a:ext>
            </a:extLst>
          </p:cNvPr>
          <p:cNvSpPr>
            <a:spLocks noGrp="1"/>
          </p:cNvSpPr>
          <p:nvPr>
            <p:ph type="sldNum" sz="quarter" idx="12"/>
          </p:nvPr>
        </p:nvSpPr>
        <p:spPr/>
        <p:txBody>
          <a:bodyPr/>
          <a:lstStyle/>
          <a:p>
            <a:fld id="{E84006A6-0E15-460A-BCD4-002C20F8AC9F}" type="slidenum">
              <a:rPr lang="de-DE" smtClean="0"/>
              <a:pPr/>
              <a:t>40</a:t>
            </a:fld>
            <a:endParaRPr lang="de-DE"/>
          </a:p>
        </p:txBody>
      </p:sp>
      <p:sp>
        <p:nvSpPr>
          <p:cNvPr id="8" name="Textplatzhalter 7">
            <a:extLst>
              <a:ext uri="{FF2B5EF4-FFF2-40B4-BE49-F238E27FC236}">
                <a16:creationId xmlns:a16="http://schemas.microsoft.com/office/drawing/2014/main" id="{BEC06417-75AE-333A-C198-AB3D31D29594}"/>
              </a:ext>
            </a:extLst>
          </p:cNvPr>
          <p:cNvSpPr>
            <a:spLocks noGrp="1"/>
          </p:cNvSpPr>
          <p:nvPr>
            <p:ph type="body" sz="quarter" idx="25"/>
          </p:nvPr>
        </p:nvSpPr>
        <p:spPr/>
        <p:txBody>
          <a:bodyPr/>
          <a:lstStyle/>
          <a:p>
            <a:r>
              <a:rPr lang="de-DE" dirty="0"/>
              <a:t>Lorem ipsum dolor sit amet.</a:t>
            </a:r>
          </a:p>
        </p:txBody>
      </p:sp>
      <p:sp>
        <p:nvSpPr>
          <p:cNvPr id="9" name="Textplatzhalter 8">
            <a:extLst>
              <a:ext uri="{FF2B5EF4-FFF2-40B4-BE49-F238E27FC236}">
                <a16:creationId xmlns:a16="http://schemas.microsoft.com/office/drawing/2014/main" id="{84ECD795-B1F5-E794-A4A6-742AFBA637CE}"/>
              </a:ext>
            </a:extLst>
          </p:cNvPr>
          <p:cNvSpPr>
            <a:spLocks noGrp="1"/>
          </p:cNvSpPr>
          <p:nvPr>
            <p:ph type="body" sz="quarter" idx="26"/>
          </p:nvPr>
        </p:nvSpPr>
        <p:spPr/>
        <p:txBody>
          <a:bodyPr/>
          <a:lstStyle/>
          <a:p>
            <a:r>
              <a:rPr lang="de-DE" dirty="0"/>
              <a:t>Lorem ipsum dolor sit amet.</a:t>
            </a:r>
          </a:p>
        </p:txBody>
      </p:sp>
      <p:sp>
        <p:nvSpPr>
          <p:cNvPr id="7" name="Textplatzhalter 6">
            <a:extLst>
              <a:ext uri="{FF2B5EF4-FFF2-40B4-BE49-F238E27FC236}">
                <a16:creationId xmlns:a16="http://schemas.microsoft.com/office/drawing/2014/main" id="{69A223D5-B6E6-E652-FCA1-426819DA937B}"/>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37691697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nhaltsplatzhalter 15">
            <a:extLst>
              <a:ext uri="{FF2B5EF4-FFF2-40B4-BE49-F238E27FC236}">
                <a16:creationId xmlns:a16="http://schemas.microsoft.com/office/drawing/2014/main" id="{13EFDC88-20F1-03C8-C044-E9CA4346F03E}"/>
              </a:ext>
            </a:extLst>
          </p:cNvPr>
          <p:cNvPicPr>
            <a:picLocks noGrp="1" noChangeAspect="1"/>
          </p:cNvPicPr>
          <p:nvPr>
            <p:ph sz="quarter" idx="28"/>
          </p:nvPr>
        </p:nvPicPr>
        <p:blipFill rotWithShape="1">
          <a:blip r:embed="rId2" cstate="print">
            <a:extLst>
              <a:ext uri="{28A0092B-C50C-407E-A947-70E740481C1C}">
                <a14:useLocalDpi xmlns:a14="http://schemas.microsoft.com/office/drawing/2010/main"/>
              </a:ext>
            </a:extLst>
          </a:blip>
          <a:srcRect l="21977" r="21977"/>
          <a:stretch/>
        </p:blipFill>
        <p:spPr>
          <a:xfrm>
            <a:off x="-1" y="0"/>
            <a:ext cx="5124841" cy="6857999"/>
          </a:xfrm>
        </p:spPr>
      </p:pic>
      <p:sp>
        <p:nvSpPr>
          <p:cNvPr id="10" name="Titel 9">
            <a:extLst>
              <a:ext uri="{FF2B5EF4-FFF2-40B4-BE49-F238E27FC236}">
                <a16:creationId xmlns:a16="http://schemas.microsoft.com/office/drawing/2014/main" id="{16A3A4A4-A782-CE08-0C40-D14CA017FB29}"/>
              </a:ext>
            </a:extLst>
          </p:cNvPr>
          <p:cNvSpPr>
            <a:spLocks noGrp="1"/>
          </p:cNvSpPr>
          <p:nvPr>
            <p:ph type="title"/>
          </p:nvPr>
        </p:nvSpPr>
        <p:spPr/>
        <p:txBody>
          <a:bodyPr/>
          <a:lstStyle/>
          <a:p>
            <a:r>
              <a:rPr lang="de-DE" dirty="0"/>
              <a:t>Lorem ipsum dolor sit amet, consectetuer adipiscing elit.</a:t>
            </a:r>
          </a:p>
        </p:txBody>
      </p:sp>
      <p:sp>
        <p:nvSpPr>
          <p:cNvPr id="4" name="Datumsplatzhalter 3">
            <a:extLst>
              <a:ext uri="{FF2B5EF4-FFF2-40B4-BE49-F238E27FC236}">
                <a16:creationId xmlns:a16="http://schemas.microsoft.com/office/drawing/2014/main" id="{B4831010-33B4-EEB5-01D7-64998E0FE35B}"/>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80B2FD83-96D1-422E-1F1B-92E1BE85A08D}"/>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2E8ABAD3-B649-DCD9-0C66-9D153EB42A7C}"/>
              </a:ext>
            </a:extLst>
          </p:cNvPr>
          <p:cNvSpPr>
            <a:spLocks noGrp="1"/>
          </p:cNvSpPr>
          <p:nvPr>
            <p:ph type="sldNum" sz="quarter" idx="12"/>
          </p:nvPr>
        </p:nvSpPr>
        <p:spPr/>
        <p:txBody>
          <a:bodyPr/>
          <a:lstStyle/>
          <a:p>
            <a:fld id="{E84006A6-0E15-460A-BCD4-002C20F8AC9F}" type="slidenum">
              <a:rPr lang="de-DE" smtClean="0"/>
              <a:pPr/>
              <a:t>41</a:t>
            </a:fld>
            <a:endParaRPr lang="de-DE"/>
          </a:p>
        </p:txBody>
      </p:sp>
      <p:sp>
        <p:nvSpPr>
          <p:cNvPr id="11" name="Textplatzhalter 10">
            <a:extLst>
              <a:ext uri="{FF2B5EF4-FFF2-40B4-BE49-F238E27FC236}">
                <a16:creationId xmlns:a16="http://schemas.microsoft.com/office/drawing/2014/main" id="{F828F5EE-AEC5-DFDD-E599-B73F2AA3F6D5}"/>
              </a:ext>
            </a:extLst>
          </p:cNvPr>
          <p:cNvSpPr>
            <a:spLocks noGrp="1"/>
          </p:cNvSpPr>
          <p:nvPr>
            <p:ph type="body" sz="quarter" idx="21"/>
          </p:nvPr>
        </p:nvSpPr>
        <p:spPr/>
        <p:txBody>
          <a:bodyPr/>
          <a:lstStyle/>
          <a:p>
            <a:endParaRPr lang="de-DE"/>
          </a:p>
        </p:txBody>
      </p:sp>
      <p:pic>
        <p:nvPicPr>
          <p:cNvPr id="18" name="Inhaltsplatzhalter 17">
            <a:extLst>
              <a:ext uri="{FF2B5EF4-FFF2-40B4-BE49-F238E27FC236}">
                <a16:creationId xmlns:a16="http://schemas.microsoft.com/office/drawing/2014/main" id="{2E4B66C3-6901-1356-B32F-1D6665165928}"/>
              </a:ext>
            </a:extLst>
          </p:cNvPr>
          <p:cNvPicPr>
            <a:picLocks noGrp="1" noChangeAspect="1"/>
          </p:cNvPicPr>
          <p:nvPr>
            <p:ph sz="quarter" idx="29"/>
          </p:nvPr>
        </p:nvPicPr>
        <p:blipFill rotWithShape="1">
          <a:blip r:embed="rId3" cstate="print">
            <a:extLst>
              <a:ext uri="{28A0092B-C50C-407E-A947-70E740481C1C}">
                <a14:useLocalDpi xmlns:a14="http://schemas.microsoft.com/office/drawing/2010/main"/>
              </a:ext>
            </a:extLst>
          </a:blip>
          <a:srcRect t="6766" b="6766"/>
          <a:stretch/>
        </p:blipFill>
        <p:spPr>
          <a:xfrm>
            <a:off x="8432012" y="3690938"/>
            <a:ext cx="3759988" cy="2438400"/>
          </a:xfrm>
        </p:spPr>
      </p:pic>
      <p:sp>
        <p:nvSpPr>
          <p:cNvPr id="14" name="Inhaltsplatzhalter 13">
            <a:extLst>
              <a:ext uri="{FF2B5EF4-FFF2-40B4-BE49-F238E27FC236}">
                <a16:creationId xmlns:a16="http://schemas.microsoft.com/office/drawing/2014/main" id="{43934ADE-1A39-41A1-28EE-4C877FF70BC6}"/>
              </a:ext>
            </a:extLst>
          </p:cNvPr>
          <p:cNvSpPr>
            <a:spLocks noGrp="1"/>
          </p:cNvSpPr>
          <p:nvPr>
            <p:ph sz="quarter" idx="30"/>
          </p:nvPr>
        </p:nvSpPr>
        <p:spPr/>
        <p:txBody>
          <a:bodyPr>
            <a:normAutofit/>
          </a:bodyPr>
          <a:lstStyle/>
          <a:p>
            <a:pPr marL="0" indent="0">
              <a:buNone/>
            </a:pPr>
            <a:r>
              <a:rPr lang="de-DE" dirty="0"/>
              <a:t>Lorem ipsum dolor sit amet, consectetuer adipiscing elit. </a:t>
            </a:r>
            <a:br>
              <a:rPr lang="de-DE" dirty="0"/>
            </a:br>
            <a:r>
              <a:rPr lang="de-DE" dirty="0"/>
              <a:t>Maecenas porttitor congue massa. </a:t>
            </a:r>
          </a:p>
          <a:p>
            <a:pPr marL="0" indent="0">
              <a:buNone/>
            </a:pPr>
            <a:r>
              <a:rPr lang="de-DE" dirty="0"/>
              <a:t>Fusce posuere, magna sed pulvinar ultricies, purus lectus malesuada libero, sit amet commodo magna eros quis urna.</a:t>
            </a:r>
          </a:p>
        </p:txBody>
      </p:sp>
    </p:spTree>
    <p:extLst>
      <p:ext uri="{BB962C8B-B14F-4D97-AF65-F5344CB8AC3E}">
        <p14:creationId xmlns:p14="http://schemas.microsoft.com/office/powerpoint/2010/main" val="18704858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nhaltsplatzhalter 15">
            <a:extLst>
              <a:ext uri="{FF2B5EF4-FFF2-40B4-BE49-F238E27FC236}">
                <a16:creationId xmlns:a16="http://schemas.microsoft.com/office/drawing/2014/main" id="{13EFDC88-20F1-03C8-C044-E9CA4346F03E}"/>
              </a:ext>
            </a:extLst>
          </p:cNvPr>
          <p:cNvPicPr>
            <a:picLocks noGrp="1" noChangeAspect="1"/>
          </p:cNvPicPr>
          <p:nvPr>
            <p:ph sz="quarter" idx="28"/>
          </p:nvPr>
        </p:nvPicPr>
        <p:blipFill rotWithShape="1">
          <a:blip r:embed="rId2" cstate="print">
            <a:extLst>
              <a:ext uri="{28A0092B-C50C-407E-A947-70E740481C1C}">
                <a14:useLocalDpi xmlns:a14="http://schemas.microsoft.com/office/drawing/2010/main"/>
              </a:ext>
            </a:extLst>
          </a:blip>
          <a:srcRect l="21979" r="21979"/>
          <a:stretch/>
        </p:blipFill>
        <p:spPr>
          <a:xfrm>
            <a:off x="0" y="0"/>
            <a:ext cx="5124450" cy="6857999"/>
          </a:xfrm>
        </p:spPr>
      </p:pic>
      <p:pic>
        <p:nvPicPr>
          <p:cNvPr id="18" name="Inhaltsplatzhalter 17">
            <a:extLst>
              <a:ext uri="{FF2B5EF4-FFF2-40B4-BE49-F238E27FC236}">
                <a16:creationId xmlns:a16="http://schemas.microsoft.com/office/drawing/2014/main" id="{2E4B66C3-6901-1356-B32F-1D6665165928}"/>
              </a:ext>
            </a:extLst>
          </p:cNvPr>
          <p:cNvPicPr>
            <a:picLocks noGrp="1" noChangeAspect="1"/>
          </p:cNvPicPr>
          <p:nvPr>
            <p:ph sz="quarter" idx="29"/>
          </p:nvPr>
        </p:nvPicPr>
        <p:blipFill rotWithShape="1">
          <a:blip r:embed="rId3" cstate="print">
            <a:extLst>
              <a:ext uri="{28A0092B-C50C-407E-A947-70E740481C1C}">
                <a14:useLocalDpi xmlns:a14="http://schemas.microsoft.com/office/drawing/2010/main"/>
              </a:ext>
            </a:extLst>
          </a:blip>
          <a:srcRect t="6766" b="6766"/>
          <a:stretch/>
        </p:blipFill>
        <p:spPr>
          <a:xfrm>
            <a:off x="8432012" y="3690938"/>
            <a:ext cx="3759988" cy="2438400"/>
          </a:xfrm>
        </p:spPr>
      </p:pic>
      <p:sp>
        <p:nvSpPr>
          <p:cNvPr id="14" name="Inhaltsplatzhalter 13">
            <a:extLst>
              <a:ext uri="{FF2B5EF4-FFF2-40B4-BE49-F238E27FC236}">
                <a16:creationId xmlns:a16="http://schemas.microsoft.com/office/drawing/2014/main" id="{43934ADE-1A39-41A1-28EE-4C877FF70BC6}"/>
              </a:ext>
            </a:extLst>
          </p:cNvPr>
          <p:cNvSpPr>
            <a:spLocks noGrp="1"/>
          </p:cNvSpPr>
          <p:nvPr>
            <p:ph sz="quarter" idx="30"/>
          </p:nvPr>
        </p:nvSpPr>
        <p:spPr/>
        <p:txBody>
          <a:bodyPr>
            <a:normAutofit/>
          </a:bodyPr>
          <a:lstStyle/>
          <a:p>
            <a:pPr marL="0" indent="0">
              <a:buNone/>
            </a:pPr>
            <a:r>
              <a:rPr lang="de-DE" dirty="0"/>
              <a:t>Lorem ipsum dolor sit amet, consectetuer adipiscing elit. </a:t>
            </a:r>
            <a:br>
              <a:rPr lang="de-DE" dirty="0"/>
            </a:br>
            <a:r>
              <a:rPr lang="de-DE" dirty="0"/>
              <a:t>Maecenas porttitor congue massa. </a:t>
            </a:r>
          </a:p>
          <a:p>
            <a:pPr marL="0" indent="0">
              <a:buNone/>
            </a:pPr>
            <a:r>
              <a:rPr lang="de-DE" dirty="0"/>
              <a:t>Fusce posuere, magna sed pulvinar ultricies, purus lectus malesuada libero, sit amet commodo magna eros quis urna.</a:t>
            </a:r>
          </a:p>
        </p:txBody>
      </p:sp>
      <p:sp>
        <p:nvSpPr>
          <p:cNvPr id="10" name="Titel 9">
            <a:extLst>
              <a:ext uri="{FF2B5EF4-FFF2-40B4-BE49-F238E27FC236}">
                <a16:creationId xmlns:a16="http://schemas.microsoft.com/office/drawing/2014/main" id="{16A3A4A4-A782-CE08-0C40-D14CA017FB29}"/>
              </a:ext>
            </a:extLst>
          </p:cNvPr>
          <p:cNvSpPr>
            <a:spLocks noGrp="1"/>
          </p:cNvSpPr>
          <p:nvPr>
            <p:ph type="title"/>
          </p:nvPr>
        </p:nvSpPr>
        <p:spPr/>
        <p:txBody>
          <a:bodyPr/>
          <a:lstStyle/>
          <a:p>
            <a:r>
              <a:rPr lang="de-DE" dirty="0"/>
              <a:t>Lorem ipsum dolor sit amet, consectetuer adipiscing elit.</a:t>
            </a:r>
          </a:p>
        </p:txBody>
      </p:sp>
      <p:sp>
        <p:nvSpPr>
          <p:cNvPr id="4" name="Datumsplatzhalter 3">
            <a:extLst>
              <a:ext uri="{FF2B5EF4-FFF2-40B4-BE49-F238E27FC236}">
                <a16:creationId xmlns:a16="http://schemas.microsoft.com/office/drawing/2014/main" id="{B4831010-33B4-EEB5-01D7-64998E0FE35B}"/>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80B2FD83-96D1-422E-1F1B-92E1BE85A08D}"/>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2E8ABAD3-B649-DCD9-0C66-9D153EB42A7C}"/>
              </a:ext>
            </a:extLst>
          </p:cNvPr>
          <p:cNvSpPr>
            <a:spLocks noGrp="1"/>
          </p:cNvSpPr>
          <p:nvPr>
            <p:ph type="sldNum" sz="quarter" idx="12"/>
          </p:nvPr>
        </p:nvSpPr>
        <p:spPr/>
        <p:txBody>
          <a:bodyPr/>
          <a:lstStyle/>
          <a:p>
            <a:fld id="{E84006A6-0E15-460A-BCD4-002C20F8AC9F}" type="slidenum">
              <a:rPr lang="de-DE" smtClean="0"/>
              <a:pPr/>
              <a:t>42</a:t>
            </a:fld>
            <a:endParaRPr lang="de-DE"/>
          </a:p>
        </p:txBody>
      </p:sp>
      <p:sp>
        <p:nvSpPr>
          <p:cNvPr id="2" name="Textplatzhalter 1">
            <a:extLst>
              <a:ext uri="{FF2B5EF4-FFF2-40B4-BE49-F238E27FC236}">
                <a16:creationId xmlns:a16="http://schemas.microsoft.com/office/drawing/2014/main" id="{18A52193-AE4E-2089-A63A-0921FC3ECB60}"/>
              </a:ext>
            </a:extLst>
          </p:cNvPr>
          <p:cNvSpPr>
            <a:spLocks noGrp="1"/>
          </p:cNvSpPr>
          <p:nvPr>
            <p:ph type="body" sz="quarter" idx="21"/>
          </p:nvPr>
        </p:nvSpPr>
        <p:spPr/>
        <p:txBody>
          <a:bodyPr/>
          <a:lstStyle/>
          <a:p>
            <a:endParaRPr lang="de-DE"/>
          </a:p>
        </p:txBody>
      </p:sp>
    </p:spTree>
    <p:extLst>
      <p:ext uri="{BB962C8B-B14F-4D97-AF65-F5344CB8AC3E}">
        <p14:creationId xmlns:p14="http://schemas.microsoft.com/office/powerpoint/2010/main" val="41595553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900B339C-8BB0-071E-CDE4-CEFCDE447D88}"/>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t="25239" b="25239"/>
          <a:stretch>
            <a:fillRect/>
          </a:stretch>
        </p:blipFill>
        <p:spPr/>
      </p:pic>
      <p:sp>
        <p:nvSpPr>
          <p:cNvPr id="24" name="Titel 23">
            <a:extLst>
              <a:ext uri="{FF2B5EF4-FFF2-40B4-BE49-F238E27FC236}">
                <a16:creationId xmlns:a16="http://schemas.microsoft.com/office/drawing/2014/main" id="{CDB4F168-02F8-9F27-66D2-A08A30430355}"/>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6" name="Datumsplatzhalter 5">
            <a:extLst>
              <a:ext uri="{FF2B5EF4-FFF2-40B4-BE49-F238E27FC236}">
                <a16:creationId xmlns:a16="http://schemas.microsoft.com/office/drawing/2014/main" id="{6F0963F5-5074-C92A-E544-7AE4AB0C278C}"/>
              </a:ext>
            </a:extLst>
          </p:cNvPr>
          <p:cNvSpPr>
            <a:spLocks noGrp="1"/>
          </p:cNvSpPr>
          <p:nvPr>
            <p:ph type="dt" sz="half" idx="10"/>
          </p:nvPr>
        </p:nvSpPr>
        <p:spPr/>
        <p:txBody>
          <a:bodyPr/>
          <a:lstStyle/>
          <a:p>
            <a:r>
              <a:rPr lang="de-DE"/>
              <a:t>02.08.2024</a:t>
            </a:r>
            <a:endParaRPr lang="de-DE" dirty="0"/>
          </a:p>
        </p:txBody>
      </p:sp>
      <p:sp>
        <p:nvSpPr>
          <p:cNvPr id="7" name="Fußzeilenplatzhalter 6">
            <a:extLst>
              <a:ext uri="{FF2B5EF4-FFF2-40B4-BE49-F238E27FC236}">
                <a16:creationId xmlns:a16="http://schemas.microsoft.com/office/drawing/2014/main" id="{93706B1A-059A-04CC-B7BC-A33F7745783B}"/>
              </a:ext>
            </a:extLst>
          </p:cNvPr>
          <p:cNvSpPr>
            <a:spLocks noGrp="1"/>
          </p:cNvSpPr>
          <p:nvPr>
            <p:ph type="ftr" sz="quarter" idx="11"/>
          </p:nvPr>
        </p:nvSpPr>
        <p:spPr/>
        <p:txBody>
          <a:bodyPr/>
          <a:lstStyle/>
          <a:p>
            <a:r>
              <a:rPr lang="de-DE"/>
              <a:t>PowerPoint Folienmaster</a:t>
            </a:r>
            <a:endParaRPr lang="de-DE" dirty="0"/>
          </a:p>
        </p:txBody>
      </p:sp>
      <p:sp>
        <p:nvSpPr>
          <p:cNvPr id="8" name="Foliennummernplatzhalter 7">
            <a:extLst>
              <a:ext uri="{FF2B5EF4-FFF2-40B4-BE49-F238E27FC236}">
                <a16:creationId xmlns:a16="http://schemas.microsoft.com/office/drawing/2014/main" id="{BC4049AB-0727-5C59-B15B-16F3CBE49558}"/>
              </a:ext>
            </a:extLst>
          </p:cNvPr>
          <p:cNvSpPr>
            <a:spLocks noGrp="1"/>
          </p:cNvSpPr>
          <p:nvPr>
            <p:ph type="sldNum" sz="quarter" idx="12"/>
          </p:nvPr>
        </p:nvSpPr>
        <p:spPr/>
        <p:txBody>
          <a:bodyPr/>
          <a:lstStyle/>
          <a:p>
            <a:fld id="{E84006A6-0E15-460A-BCD4-002C20F8AC9F}" type="slidenum">
              <a:rPr lang="de-DE" smtClean="0"/>
              <a:pPr/>
              <a:t>43</a:t>
            </a:fld>
            <a:endParaRPr lang="de-DE"/>
          </a:p>
        </p:txBody>
      </p:sp>
      <p:sp>
        <p:nvSpPr>
          <p:cNvPr id="25" name="Textplatzhalter 24">
            <a:extLst>
              <a:ext uri="{FF2B5EF4-FFF2-40B4-BE49-F238E27FC236}">
                <a16:creationId xmlns:a16="http://schemas.microsoft.com/office/drawing/2014/main" id="{D2AC09C0-B286-9A18-5BBD-BAB208C2B3E9}"/>
              </a:ext>
            </a:extLst>
          </p:cNvPr>
          <p:cNvSpPr>
            <a:spLocks noGrp="1"/>
          </p:cNvSpPr>
          <p:nvPr>
            <p:ph type="body" sz="quarter" idx="17"/>
          </p:nvPr>
        </p:nvSpPr>
        <p:spPr/>
        <p:txBody>
          <a:bodyPr/>
          <a:lstStyle/>
          <a:p>
            <a:endParaRPr lang="de-DE"/>
          </a:p>
        </p:txBody>
      </p:sp>
      <p:sp>
        <p:nvSpPr>
          <p:cNvPr id="26" name="Inhaltsplatzhalter 25">
            <a:extLst>
              <a:ext uri="{FF2B5EF4-FFF2-40B4-BE49-F238E27FC236}">
                <a16:creationId xmlns:a16="http://schemas.microsoft.com/office/drawing/2014/main" id="{18335A4C-15E9-9A3E-5AAC-521F0630A3ED}"/>
              </a:ext>
            </a:extLst>
          </p:cNvPr>
          <p:cNvSpPr>
            <a:spLocks noGrp="1"/>
          </p:cNvSpPr>
          <p:nvPr>
            <p:ph sz="quarter" idx="29"/>
          </p:nvPr>
        </p:nvSpPr>
        <p:spPr/>
        <p:txBody>
          <a:bodyPr>
            <a:normAutofit/>
          </a:bodyPr>
          <a:lstStyle/>
          <a:p>
            <a:pPr marL="0" indent="0">
              <a:buNone/>
            </a:pPr>
            <a:r>
              <a:rPr lang="de-DE" dirty="0"/>
              <a:t>Lorem ipsum dolor sit amet, consectetuer adipiscing elit. </a:t>
            </a:r>
            <a:br>
              <a:rPr lang="de-DE" dirty="0"/>
            </a:br>
            <a:r>
              <a:rPr lang="de-DE" dirty="0"/>
              <a:t>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34206739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platzhalter 18">
            <a:extLst>
              <a:ext uri="{FF2B5EF4-FFF2-40B4-BE49-F238E27FC236}">
                <a16:creationId xmlns:a16="http://schemas.microsoft.com/office/drawing/2014/main" id="{900B339C-8BB0-071E-CDE4-CEFCDE447D88}"/>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t="25239" b="25239"/>
          <a:stretch/>
        </p:blipFill>
        <p:spPr/>
      </p:pic>
      <p:sp>
        <p:nvSpPr>
          <p:cNvPr id="24" name="Titel 23">
            <a:extLst>
              <a:ext uri="{FF2B5EF4-FFF2-40B4-BE49-F238E27FC236}">
                <a16:creationId xmlns:a16="http://schemas.microsoft.com/office/drawing/2014/main" id="{CDB4F168-02F8-9F27-66D2-A08A30430355}"/>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2" name="Textplatzhalter 1">
            <a:extLst>
              <a:ext uri="{FF2B5EF4-FFF2-40B4-BE49-F238E27FC236}">
                <a16:creationId xmlns:a16="http://schemas.microsoft.com/office/drawing/2014/main" id="{4FD3454C-B0A8-E5F7-7F03-F233D9EA1582}"/>
              </a:ext>
            </a:extLst>
          </p:cNvPr>
          <p:cNvSpPr>
            <a:spLocks noGrp="1"/>
          </p:cNvSpPr>
          <p:nvPr>
            <p:ph type="body" sz="quarter" idx="17"/>
          </p:nvPr>
        </p:nvSpPr>
        <p:spPr/>
        <p:txBody>
          <a:bodyPr/>
          <a:lstStyle/>
          <a:p>
            <a:endParaRPr lang="de-DE"/>
          </a:p>
        </p:txBody>
      </p:sp>
      <p:sp>
        <p:nvSpPr>
          <p:cNvPr id="6" name="Datumsplatzhalter 5">
            <a:extLst>
              <a:ext uri="{FF2B5EF4-FFF2-40B4-BE49-F238E27FC236}">
                <a16:creationId xmlns:a16="http://schemas.microsoft.com/office/drawing/2014/main" id="{6F0963F5-5074-C92A-E544-7AE4AB0C278C}"/>
              </a:ext>
            </a:extLst>
          </p:cNvPr>
          <p:cNvSpPr>
            <a:spLocks noGrp="1"/>
          </p:cNvSpPr>
          <p:nvPr>
            <p:ph type="dt" sz="half" idx="2"/>
          </p:nvPr>
        </p:nvSpPr>
        <p:spPr/>
        <p:txBody>
          <a:bodyPr/>
          <a:lstStyle/>
          <a:p>
            <a:r>
              <a:rPr lang="de-DE"/>
              <a:t>02.08.2024</a:t>
            </a:r>
            <a:endParaRPr lang="de-DE" dirty="0"/>
          </a:p>
        </p:txBody>
      </p:sp>
      <p:sp>
        <p:nvSpPr>
          <p:cNvPr id="7" name="Fußzeilenplatzhalter 6">
            <a:extLst>
              <a:ext uri="{FF2B5EF4-FFF2-40B4-BE49-F238E27FC236}">
                <a16:creationId xmlns:a16="http://schemas.microsoft.com/office/drawing/2014/main" id="{93706B1A-059A-04CC-B7BC-A33F7745783B}"/>
              </a:ext>
            </a:extLst>
          </p:cNvPr>
          <p:cNvSpPr>
            <a:spLocks noGrp="1"/>
          </p:cNvSpPr>
          <p:nvPr>
            <p:ph type="ftr" sz="quarter" idx="3"/>
          </p:nvPr>
        </p:nvSpPr>
        <p:spPr/>
        <p:txBody>
          <a:bodyPr/>
          <a:lstStyle/>
          <a:p>
            <a:r>
              <a:rPr lang="de-DE"/>
              <a:t>PowerPoint Folienmaster</a:t>
            </a:r>
            <a:endParaRPr lang="de-DE" dirty="0"/>
          </a:p>
        </p:txBody>
      </p:sp>
      <p:sp>
        <p:nvSpPr>
          <p:cNvPr id="8" name="Foliennummernplatzhalter 7">
            <a:extLst>
              <a:ext uri="{FF2B5EF4-FFF2-40B4-BE49-F238E27FC236}">
                <a16:creationId xmlns:a16="http://schemas.microsoft.com/office/drawing/2014/main" id="{BC4049AB-0727-5C59-B15B-16F3CBE49558}"/>
              </a:ext>
            </a:extLst>
          </p:cNvPr>
          <p:cNvSpPr>
            <a:spLocks noGrp="1"/>
          </p:cNvSpPr>
          <p:nvPr>
            <p:ph type="sldNum" sz="quarter" idx="4"/>
          </p:nvPr>
        </p:nvSpPr>
        <p:spPr/>
        <p:txBody>
          <a:bodyPr/>
          <a:lstStyle/>
          <a:p>
            <a:fld id="{E84006A6-0E15-460A-BCD4-002C20F8AC9F}" type="slidenum">
              <a:rPr lang="de-DE" smtClean="0"/>
              <a:pPr/>
              <a:t>44</a:t>
            </a:fld>
            <a:endParaRPr lang="de-DE"/>
          </a:p>
        </p:txBody>
      </p:sp>
      <p:sp>
        <p:nvSpPr>
          <p:cNvPr id="26" name="Inhaltsplatzhalter 25">
            <a:extLst>
              <a:ext uri="{FF2B5EF4-FFF2-40B4-BE49-F238E27FC236}">
                <a16:creationId xmlns:a16="http://schemas.microsoft.com/office/drawing/2014/main" id="{18335A4C-15E9-9A3E-5AAC-521F0630A3ED}"/>
              </a:ext>
            </a:extLst>
          </p:cNvPr>
          <p:cNvSpPr>
            <a:spLocks noGrp="1"/>
          </p:cNvSpPr>
          <p:nvPr>
            <p:ph sz="quarter" idx="29"/>
          </p:nvPr>
        </p:nvSpPr>
        <p:spPr/>
        <p:txBody>
          <a:bodyPr>
            <a:normAutofit/>
          </a:bodyPr>
          <a:lstStyle/>
          <a:p>
            <a:pPr marL="0" indent="0">
              <a:buNone/>
            </a:pPr>
            <a:r>
              <a:rPr lang="de-DE" dirty="0"/>
              <a:t>Lorem ipsum dolor sit amet, consectetuer adipiscing elit. </a:t>
            </a:r>
            <a:br>
              <a:rPr lang="de-DE" dirty="0"/>
            </a:br>
            <a:r>
              <a:rPr lang="de-DE" dirty="0"/>
              <a:t>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1363255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nhaltsplatzhalter 14">
            <a:extLst>
              <a:ext uri="{FF2B5EF4-FFF2-40B4-BE49-F238E27FC236}">
                <a16:creationId xmlns:a16="http://schemas.microsoft.com/office/drawing/2014/main" id="{54A18046-4CE7-ADBC-4873-C88FA4EB6EBE}"/>
              </a:ext>
            </a:extLst>
          </p:cNvPr>
          <p:cNvPicPr>
            <a:picLocks noGrp="1" noChangeAspect="1"/>
          </p:cNvPicPr>
          <p:nvPr>
            <p:ph sz="quarter" idx="28"/>
          </p:nvPr>
        </p:nvPicPr>
        <p:blipFill rotWithShape="1">
          <a:blip r:embed="rId2" cstate="print">
            <a:extLst>
              <a:ext uri="{28A0092B-C50C-407E-A947-70E740481C1C}">
                <a14:useLocalDpi xmlns:a14="http://schemas.microsoft.com/office/drawing/2010/main"/>
              </a:ext>
            </a:extLst>
          </a:blip>
          <a:srcRect t="24765" b="24765"/>
          <a:stretch/>
        </p:blipFill>
        <p:spPr>
          <a:xfrm>
            <a:off x="515938" y="3429000"/>
            <a:ext cx="3566114" cy="2700338"/>
          </a:xfrm>
        </p:spPr>
      </p:pic>
      <p:pic>
        <p:nvPicPr>
          <p:cNvPr id="17" name="Inhaltsplatzhalter 16">
            <a:extLst>
              <a:ext uri="{FF2B5EF4-FFF2-40B4-BE49-F238E27FC236}">
                <a16:creationId xmlns:a16="http://schemas.microsoft.com/office/drawing/2014/main" id="{3E804D66-CB7F-FA5C-7C4A-4753DE0201ED}"/>
              </a:ext>
            </a:extLst>
          </p:cNvPr>
          <p:cNvPicPr>
            <a:picLocks noGrp="1" noChangeAspect="1"/>
          </p:cNvPicPr>
          <p:nvPr>
            <p:ph sz="quarter" idx="30"/>
          </p:nvPr>
        </p:nvPicPr>
        <p:blipFill rotWithShape="1">
          <a:blip r:embed="rId2" cstate="print">
            <a:extLst>
              <a:ext uri="{28A0092B-C50C-407E-A947-70E740481C1C}">
                <a14:useLocalDpi xmlns:a14="http://schemas.microsoft.com/office/drawing/2010/main"/>
              </a:ext>
            </a:extLst>
          </a:blip>
          <a:srcRect t="24765" b="24765"/>
          <a:stretch/>
        </p:blipFill>
        <p:spPr>
          <a:xfrm>
            <a:off x="4312853" y="3429000"/>
            <a:ext cx="3566114" cy="2700338"/>
          </a:xfrm>
        </p:spPr>
      </p:pic>
      <p:pic>
        <p:nvPicPr>
          <p:cNvPr id="19" name="Inhaltsplatzhalter 18">
            <a:extLst>
              <a:ext uri="{FF2B5EF4-FFF2-40B4-BE49-F238E27FC236}">
                <a16:creationId xmlns:a16="http://schemas.microsoft.com/office/drawing/2014/main" id="{1F5B35BD-A1F1-9FB3-2040-7DF3376965CB}"/>
              </a:ext>
            </a:extLst>
          </p:cNvPr>
          <p:cNvPicPr>
            <a:picLocks noGrp="1" noChangeAspect="1"/>
          </p:cNvPicPr>
          <p:nvPr>
            <p:ph sz="quarter" idx="31"/>
          </p:nvPr>
        </p:nvPicPr>
        <p:blipFill rotWithShape="1">
          <a:blip r:embed="rId2" cstate="print">
            <a:extLst>
              <a:ext uri="{28A0092B-C50C-407E-A947-70E740481C1C}">
                <a14:useLocalDpi xmlns:a14="http://schemas.microsoft.com/office/drawing/2010/main"/>
              </a:ext>
            </a:extLst>
          </a:blip>
          <a:srcRect t="24766" b="24766"/>
          <a:stretch/>
        </p:blipFill>
        <p:spPr>
          <a:xfrm>
            <a:off x="8109768" y="3429000"/>
            <a:ext cx="3566295" cy="2700338"/>
          </a:xfrm>
        </p:spPr>
      </p:pic>
      <p:sp>
        <p:nvSpPr>
          <p:cNvPr id="5" name="Datumsplatzhalter 4">
            <a:extLst>
              <a:ext uri="{FF2B5EF4-FFF2-40B4-BE49-F238E27FC236}">
                <a16:creationId xmlns:a16="http://schemas.microsoft.com/office/drawing/2014/main" id="{2FD7705C-5D48-3B1B-9317-F6D71DF09494}"/>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D761F531-2356-8B13-BA4D-943308E4D79C}"/>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75780C68-6DA4-3FE6-1170-9FFF5E107CDD}"/>
              </a:ext>
            </a:extLst>
          </p:cNvPr>
          <p:cNvSpPr>
            <a:spLocks noGrp="1"/>
          </p:cNvSpPr>
          <p:nvPr>
            <p:ph type="sldNum" sz="quarter" idx="12"/>
          </p:nvPr>
        </p:nvSpPr>
        <p:spPr/>
        <p:txBody>
          <a:bodyPr/>
          <a:lstStyle/>
          <a:p>
            <a:fld id="{E84006A6-0E15-460A-BCD4-002C20F8AC9F}" type="slidenum">
              <a:rPr lang="de-DE" smtClean="0"/>
              <a:pPr/>
              <a:t>45</a:t>
            </a:fld>
            <a:endParaRPr lang="de-DE"/>
          </a:p>
        </p:txBody>
      </p:sp>
      <p:sp>
        <p:nvSpPr>
          <p:cNvPr id="9" name="Titel 8">
            <a:extLst>
              <a:ext uri="{FF2B5EF4-FFF2-40B4-BE49-F238E27FC236}">
                <a16:creationId xmlns:a16="http://schemas.microsoft.com/office/drawing/2014/main" id="{9874285D-AF8E-E8A8-C214-FBCBBD9E06F7}"/>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11" name="Inhaltsplatzhalter 10">
            <a:extLst>
              <a:ext uri="{FF2B5EF4-FFF2-40B4-BE49-F238E27FC236}">
                <a16:creationId xmlns:a16="http://schemas.microsoft.com/office/drawing/2014/main" id="{E8DB6E7B-C166-2698-4FCB-902F1212F820}"/>
              </a:ext>
            </a:extLst>
          </p:cNvPr>
          <p:cNvSpPr>
            <a:spLocks noGrp="1"/>
          </p:cNvSpPr>
          <p:nvPr>
            <p:ph sz="quarter" idx="29"/>
          </p:nvPr>
        </p:nvSpPr>
        <p:spPr/>
        <p:txBody>
          <a:bodyPr>
            <a:normAutofit/>
          </a:bodyPr>
          <a:lstStyle/>
          <a:p>
            <a:pPr marL="0" indent="0">
              <a:buNone/>
            </a:pPr>
            <a:r>
              <a:rPr lang="de-DE" dirty="0"/>
              <a:t>Lorem ipsum dolor sit amet, consectetuer adipiscing elit. </a:t>
            </a:r>
            <a:br>
              <a:rPr lang="de-DE" dirty="0"/>
            </a:br>
            <a:r>
              <a:rPr lang="de-DE" dirty="0"/>
              <a:t>Maecenas porttitor congue massa. Fusce posuere, magna sed pulvinar ultricies, purus lectus malesuada libero, sit amet commodo magna eros quis urna. Nunc viverra imperdiet enim. Fusce est. Vivamus a tellus.</a:t>
            </a:r>
          </a:p>
        </p:txBody>
      </p:sp>
    </p:spTree>
    <p:extLst>
      <p:ext uri="{BB962C8B-B14F-4D97-AF65-F5344CB8AC3E}">
        <p14:creationId xmlns:p14="http://schemas.microsoft.com/office/powerpoint/2010/main" val="23605049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2FD7705C-5D48-3B1B-9317-F6D71DF09494}"/>
              </a:ext>
            </a:extLst>
          </p:cNvPr>
          <p:cNvSpPr>
            <a:spLocks noGrp="1"/>
          </p:cNvSpPr>
          <p:nvPr>
            <p:ph type="dt" sz="half" idx="10"/>
          </p:nvPr>
        </p:nvSpPr>
        <p:spPr/>
        <p:txBody>
          <a:bodyPr/>
          <a:lstStyle/>
          <a:p>
            <a:r>
              <a:rPr lang="de-DE"/>
              <a:t>02.08.2024</a:t>
            </a:r>
            <a:endParaRPr lang="de-DE" dirty="0"/>
          </a:p>
        </p:txBody>
      </p:sp>
      <p:sp>
        <p:nvSpPr>
          <p:cNvPr id="6" name="Fußzeilenplatzhalter 5">
            <a:extLst>
              <a:ext uri="{FF2B5EF4-FFF2-40B4-BE49-F238E27FC236}">
                <a16:creationId xmlns:a16="http://schemas.microsoft.com/office/drawing/2014/main" id="{D761F531-2356-8B13-BA4D-943308E4D79C}"/>
              </a:ext>
            </a:extLst>
          </p:cNvPr>
          <p:cNvSpPr>
            <a:spLocks noGrp="1"/>
          </p:cNvSpPr>
          <p:nvPr>
            <p:ph type="ftr" sz="quarter" idx="11"/>
          </p:nvPr>
        </p:nvSpPr>
        <p:spPr/>
        <p:txBody>
          <a:bodyPr/>
          <a:lstStyle/>
          <a:p>
            <a:r>
              <a:rPr lang="de-DE"/>
              <a:t>PowerPoint Folienmaster</a:t>
            </a:r>
            <a:endParaRPr lang="de-DE" dirty="0"/>
          </a:p>
        </p:txBody>
      </p:sp>
      <p:sp>
        <p:nvSpPr>
          <p:cNvPr id="7" name="Foliennummernplatzhalter 6">
            <a:extLst>
              <a:ext uri="{FF2B5EF4-FFF2-40B4-BE49-F238E27FC236}">
                <a16:creationId xmlns:a16="http://schemas.microsoft.com/office/drawing/2014/main" id="{75780C68-6DA4-3FE6-1170-9FFF5E107CDD}"/>
              </a:ext>
            </a:extLst>
          </p:cNvPr>
          <p:cNvSpPr>
            <a:spLocks noGrp="1"/>
          </p:cNvSpPr>
          <p:nvPr>
            <p:ph type="sldNum" sz="quarter" idx="12"/>
          </p:nvPr>
        </p:nvSpPr>
        <p:spPr/>
        <p:txBody>
          <a:bodyPr/>
          <a:lstStyle/>
          <a:p>
            <a:fld id="{E84006A6-0E15-460A-BCD4-002C20F8AC9F}" type="slidenum">
              <a:rPr lang="de-DE" smtClean="0"/>
              <a:pPr/>
              <a:t>46</a:t>
            </a:fld>
            <a:endParaRPr lang="de-DE"/>
          </a:p>
        </p:txBody>
      </p:sp>
      <p:sp>
        <p:nvSpPr>
          <p:cNvPr id="9" name="Titel 8">
            <a:extLst>
              <a:ext uri="{FF2B5EF4-FFF2-40B4-BE49-F238E27FC236}">
                <a16:creationId xmlns:a16="http://schemas.microsoft.com/office/drawing/2014/main" id="{9874285D-AF8E-E8A8-C214-FBCBBD9E06F7}"/>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11" name="Inhaltsplatzhalter 10">
            <a:extLst>
              <a:ext uri="{FF2B5EF4-FFF2-40B4-BE49-F238E27FC236}">
                <a16:creationId xmlns:a16="http://schemas.microsoft.com/office/drawing/2014/main" id="{E8DB6E7B-C166-2698-4FCB-902F1212F820}"/>
              </a:ext>
            </a:extLst>
          </p:cNvPr>
          <p:cNvSpPr>
            <a:spLocks noGrp="1"/>
          </p:cNvSpPr>
          <p:nvPr>
            <p:ph sz="quarter" idx="29"/>
          </p:nvPr>
        </p:nvSpPr>
        <p:spPr/>
        <p:txBody>
          <a:bodyPr>
            <a:normAutofit/>
          </a:bodyPr>
          <a:lstStyle/>
          <a:p>
            <a:pPr marL="0" indent="0">
              <a:buNone/>
            </a:pPr>
            <a:r>
              <a:rPr lang="de-DE" dirty="0"/>
              <a:t>Lorem ipsum dolor sit amet, consectetuer adipiscing elit. </a:t>
            </a:r>
            <a:br>
              <a:rPr lang="de-DE" dirty="0"/>
            </a:br>
            <a:r>
              <a:rPr lang="de-DE" dirty="0"/>
              <a:t>Maecenas porttitor congue massa. Fusce posuere, magna sed pulvinar ultricies, purus lectus malesuada libero, sit amet commodo magna eros quis urna. Nunc viverra imperdiet enim. Fusce est. Vivamus a tellus.</a:t>
            </a:r>
          </a:p>
        </p:txBody>
      </p:sp>
      <p:pic>
        <p:nvPicPr>
          <p:cNvPr id="15" name="Inhaltsplatzhalter 14">
            <a:extLst>
              <a:ext uri="{FF2B5EF4-FFF2-40B4-BE49-F238E27FC236}">
                <a16:creationId xmlns:a16="http://schemas.microsoft.com/office/drawing/2014/main" id="{54A18046-4CE7-ADBC-4873-C88FA4EB6EBE}"/>
              </a:ext>
            </a:extLst>
          </p:cNvPr>
          <p:cNvPicPr>
            <a:picLocks noGrp="1"/>
          </p:cNvPicPr>
          <p:nvPr>
            <p:ph sz="quarter" idx="28"/>
          </p:nvPr>
        </p:nvPicPr>
        <p:blipFill rotWithShape="1">
          <a:blip r:embed="rId2" cstate="print">
            <a:extLst>
              <a:ext uri="{28A0092B-C50C-407E-A947-70E740481C1C}">
                <a14:useLocalDpi xmlns:a14="http://schemas.microsoft.com/office/drawing/2010/main"/>
              </a:ext>
            </a:extLst>
          </a:blip>
          <a:srcRect t="24776" b="24776"/>
          <a:stretch/>
        </p:blipFill>
        <p:spPr>
          <a:xfrm>
            <a:off x="515938" y="3429000"/>
            <a:ext cx="3567600" cy="2700338"/>
          </a:xfrm>
        </p:spPr>
      </p:pic>
      <p:pic>
        <p:nvPicPr>
          <p:cNvPr id="17" name="Inhaltsplatzhalter 16">
            <a:extLst>
              <a:ext uri="{FF2B5EF4-FFF2-40B4-BE49-F238E27FC236}">
                <a16:creationId xmlns:a16="http://schemas.microsoft.com/office/drawing/2014/main" id="{3E804D66-CB7F-FA5C-7C4A-4753DE0201ED}"/>
              </a:ext>
            </a:extLst>
          </p:cNvPr>
          <p:cNvPicPr>
            <a:picLocks noGrp="1"/>
          </p:cNvPicPr>
          <p:nvPr>
            <p:ph sz="quarter" idx="30"/>
          </p:nvPr>
        </p:nvPicPr>
        <p:blipFill rotWithShape="1">
          <a:blip r:embed="rId2" cstate="print">
            <a:extLst>
              <a:ext uri="{28A0092B-C50C-407E-A947-70E740481C1C}">
                <a14:useLocalDpi xmlns:a14="http://schemas.microsoft.com/office/drawing/2010/main"/>
              </a:ext>
            </a:extLst>
          </a:blip>
          <a:srcRect t="24776" b="24776"/>
          <a:stretch/>
        </p:blipFill>
        <p:spPr>
          <a:xfrm>
            <a:off x="4311165" y="3429000"/>
            <a:ext cx="3567600" cy="2700338"/>
          </a:xfrm>
        </p:spPr>
      </p:pic>
      <p:pic>
        <p:nvPicPr>
          <p:cNvPr id="19" name="Inhaltsplatzhalter 18">
            <a:extLst>
              <a:ext uri="{FF2B5EF4-FFF2-40B4-BE49-F238E27FC236}">
                <a16:creationId xmlns:a16="http://schemas.microsoft.com/office/drawing/2014/main" id="{1F5B35BD-A1F1-9FB3-2040-7DF3376965CB}"/>
              </a:ext>
            </a:extLst>
          </p:cNvPr>
          <p:cNvPicPr>
            <a:picLocks noGrp="1"/>
          </p:cNvPicPr>
          <p:nvPr>
            <p:ph sz="quarter" idx="31"/>
          </p:nvPr>
        </p:nvPicPr>
        <p:blipFill rotWithShape="1">
          <a:blip r:embed="rId2" cstate="print">
            <a:extLst>
              <a:ext uri="{28A0092B-C50C-407E-A947-70E740481C1C}">
                <a14:useLocalDpi xmlns:a14="http://schemas.microsoft.com/office/drawing/2010/main"/>
              </a:ext>
            </a:extLst>
          </a:blip>
          <a:srcRect t="24776" b="24776"/>
          <a:stretch/>
        </p:blipFill>
        <p:spPr>
          <a:xfrm>
            <a:off x="8106391" y="3429000"/>
            <a:ext cx="3567600" cy="2700338"/>
          </a:xfrm>
        </p:spPr>
      </p:pic>
    </p:spTree>
    <p:extLst>
      <p:ext uri="{BB962C8B-B14F-4D97-AF65-F5344CB8AC3E}">
        <p14:creationId xmlns:p14="http://schemas.microsoft.com/office/powerpoint/2010/main" val="41254514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nhaltsplatzhalter 14">
            <a:extLst>
              <a:ext uri="{FF2B5EF4-FFF2-40B4-BE49-F238E27FC236}">
                <a16:creationId xmlns:a16="http://schemas.microsoft.com/office/drawing/2014/main" id="{7BE388F6-F319-7A51-5C2A-760EEDC7B93F}"/>
              </a:ext>
            </a:extLst>
          </p:cNvPr>
          <p:cNvPicPr>
            <a:picLocks noGrp="1" noChangeAspect="1"/>
          </p:cNvPicPr>
          <p:nvPr>
            <p:ph sz="quarter" idx="30"/>
          </p:nvPr>
        </p:nvPicPr>
        <p:blipFill rotWithShape="1">
          <a:blip r:embed="rId2">
            <a:extLst>
              <a:ext uri="{28A0092B-C50C-407E-A947-70E740481C1C}">
                <a14:useLocalDpi xmlns:a14="http://schemas.microsoft.com/office/drawing/2010/main"/>
              </a:ext>
            </a:extLst>
          </a:blip>
          <a:srcRect l="31343" r="15211"/>
          <a:stretch/>
        </p:blipFill>
        <p:spPr>
          <a:xfrm>
            <a:off x="6096000" y="765176"/>
            <a:ext cx="6096000" cy="6092824"/>
          </a:xfrm>
        </p:spPr>
      </p:pic>
      <p:sp>
        <p:nvSpPr>
          <p:cNvPr id="10" name="Titel 9">
            <a:extLst>
              <a:ext uri="{FF2B5EF4-FFF2-40B4-BE49-F238E27FC236}">
                <a16:creationId xmlns:a16="http://schemas.microsoft.com/office/drawing/2014/main" id="{883E62CA-D2C1-B9E4-2733-68458E0D229E}"/>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11" name="Textplatzhalter 10">
            <a:extLst>
              <a:ext uri="{FF2B5EF4-FFF2-40B4-BE49-F238E27FC236}">
                <a16:creationId xmlns:a16="http://schemas.microsoft.com/office/drawing/2014/main" id="{E82E26A3-E7A9-B3B4-66A0-F865610C0773}"/>
              </a:ext>
            </a:extLst>
          </p:cNvPr>
          <p:cNvSpPr>
            <a:spLocks noGrp="1"/>
          </p:cNvSpPr>
          <p:nvPr>
            <p:ph type="body" sz="quarter" idx="14"/>
          </p:nvPr>
        </p:nvSpPr>
        <p:spPr/>
        <p:txBody>
          <a:bodyPr/>
          <a:lstStyle/>
          <a:p>
            <a:endParaRPr lang="de-DE"/>
          </a:p>
        </p:txBody>
      </p:sp>
      <p:sp>
        <p:nvSpPr>
          <p:cNvPr id="2" name="Datumsplatzhalter 1">
            <a:extLst>
              <a:ext uri="{FF2B5EF4-FFF2-40B4-BE49-F238E27FC236}">
                <a16:creationId xmlns:a16="http://schemas.microsoft.com/office/drawing/2014/main" id="{DFF27CF5-A607-9772-06C1-9DECF7A7750B}"/>
              </a:ext>
            </a:extLst>
          </p:cNvPr>
          <p:cNvSpPr>
            <a:spLocks noGrp="1"/>
          </p:cNvSpPr>
          <p:nvPr>
            <p:ph type="dt" sz="half" idx="2"/>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AB7982E0-80DC-94A5-D5A6-5E1909ACC551}"/>
              </a:ext>
            </a:extLst>
          </p:cNvPr>
          <p:cNvSpPr>
            <a:spLocks noGrp="1"/>
          </p:cNvSpPr>
          <p:nvPr>
            <p:ph type="ftr" sz="quarter" idx="3"/>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AD11DDB-FC02-EAF8-96EB-5E20304929F7}"/>
              </a:ext>
            </a:extLst>
          </p:cNvPr>
          <p:cNvSpPr>
            <a:spLocks noGrp="1"/>
          </p:cNvSpPr>
          <p:nvPr>
            <p:ph type="sldNum" sz="quarter" idx="4"/>
          </p:nvPr>
        </p:nvSpPr>
        <p:spPr/>
        <p:txBody>
          <a:bodyPr/>
          <a:lstStyle/>
          <a:p>
            <a:fld id="{E84006A6-0E15-460A-BCD4-002C20F8AC9F}" type="slidenum">
              <a:rPr lang="de-DE" smtClean="0"/>
              <a:pPr/>
              <a:t>47</a:t>
            </a:fld>
            <a:endParaRPr lang="de-DE"/>
          </a:p>
        </p:txBody>
      </p:sp>
      <p:sp>
        <p:nvSpPr>
          <p:cNvPr id="12" name="Inhaltsplatzhalter 11">
            <a:extLst>
              <a:ext uri="{FF2B5EF4-FFF2-40B4-BE49-F238E27FC236}">
                <a16:creationId xmlns:a16="http://schemas.microsoft.com/office/drawing/2014/main" id="{ACBBD036-C355-7733-9270-1DC8ED2B945E}"/>
              </a:ext>
            </a:extLst>
          </p:cNvPr>
          <p:cNvSpPr>
            <a:spLocks noGrp="1"/>
          </p:cNvSpPr>
          <p:nvPr>
            <p:ph sz="quarter" idx="28"/>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4509942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nhaltsplatzhalter 14">
            <a:extLst>
              <a:ext uri="{FF2B5EF4-FFF2-40B4-BE49-F238E27FC236}">
                <a16:creationId xmlns:a16="http://schemas.microsoft.com/office/drawing/2014/main" id="{7BE388F6-F319-7A51-5C2A-760EEDC7B93F}"/>
              </a:ext>
            </a:extLst>
          </p:cNvPr>
          <p:cNvPicPr>
            <a:picLocks noGrp="1" noChangeAspect="1"/>
          </p:cNvPicPr>
          <p:nvPr>
            <p:ph sz="quarter" idx="30"/>
          </p:nvPr>
        </p:nvPicPr>
        <p:blipFill rotWithShape="1">
          <a:blip r:embed="rId2">
            <a:extLst>
              <a:ext uri="{28A0092B-C50C-407E-A947-70E740481C1C}">
                <a14:useLocalDpi xmlns:a14="http://schemas.microsoft.com/office/drawing/2010/main"/>
              </a:ext>
            </a:extLst>
          </a:blip>
          <a:srcRect l="31343" r="15211"/>
          <a:stretch/>
        </p:blipFill>
        <p:spPr>
          <a:xfrm>
            <a:off x="6096000" y="765176"/>
            <a:ext cx="6096000" cy="6092824"/>
          </a:xfrm>
        </p:spPr>
      </p:pic>
      <p:sp>
        <p:nvSpPr>
          <p:cNvPr id="10" name="Titel 9">
            <a:extLst>
              <a:ext uri="{FF2B5EF4-FFF2-40B4-BE49-F238E27FC236}">
                <a16:creationId xmlns:a16="http://schemas.microsoft.com/office/drawing/2014/main" id="{883E62CA-D2C1-B9E4-2733-68458E0D229E}"/>
              </a:ext>
            </a:extLst>
          </p:cNvPr>
          <p:cNvSpPr>
            <a:spLocks noGrp="1"/>
          </p:cNvSpPr>
          <p:nvPr>
            <p:ph type="title"/>
          </p:nvPr>
        </p:nvSpPr>
        <p:spPr/>
        <p:txBody>
          <a:bodyPr/>
          <a:lstStyle/>
          <a:p>
            <a:r>
              <a:rPr lang="de-DE" dirty="0"/>
              <a:t>Hier steht eine Headline </a:t>
            </a:r>
            <a:br>
              <a:rPr lang="de-DE" dirty="0"/>
            </a:br>
            <a:r>
              <a:rPr lang="de-DE" dirty="0"/>
              <a:t>oder Beschreibung.</a:t>
            </a:r>
          </a:p>
        </p:txBody>
      </p:sp>
      <p:sp>
        <p:nvSpPr>
          <p:cNvPr id="5" name="Textplatzhalter 4">
            <a:extLst>
              <a:ext uri="{FF2B5EF4-FFF2-40B4-BE49-F238E27FC236}">
                <a16:creationId xmlns:a16="http://schemas.microsoft.com/office/drawing/2014/main" id="{133A03E4-CCBF-2917-A28D-37084ECBDABF}"/>
              </a:ext>
            </a:extLst>
          </p:cNvPr>
          <p:cNvSpPr>
            <a:spLocks noGrp="1"/>
          </p:cNvSpPr>
          <p:nvPr>
            <p:ph type="body" sz="quarter" idx="14"/>
          </p:nvPr>
        </p:nvSpPr>
        <p:spPr/>
        <p:txBody>
          <a:bodyPr/>
          <a:lstStyle/>
          <a:p>
            <a:endParaRPr lang="de-DE"/>
          </a:p>
        </p:txBody>
      </p:sp>
      <p:sp>
        <p:nvSpPr>
          <p:cNvPr id="2" name="Datumsplatzhalter 1">
            <a:extLst>
              <a:ext uri="{FF2B5EF4-FFF2-40B4-BE49-F238E27FC236}">
                <a16:creationId xmlns:a16="http://schemas.microsoft.com/office/drawing/2014/main" id="{DFF27CF5-A607-9772-06C1-9DECF7A7750B}"/>
              </a:ext>
            </a:extLst>
          </p:cNvPr>
          <p:cNvSpPr>
            <a:spLocks noGrp="1"/>
          </p:cNvSpPr>
          <p:nvPr>
            <p:ph type="dt" sz="half" idx="2"/>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AB7982E0-80DC-94A5-D5A6-5E1909ACC551}"/>
              </a:ext>
            </a:extLst>
          </p:cNvPr>
          <p:cNvSpPr>
            <a:spLocks noGrp="1"/>
          </p:cNvSpPr>
          <p:nvPr>
            <p:ph type="ftr" sz="quarter" idx="3"/>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AD11DDB-FC02-EAF8-96EB-5E20304929F7}"/>
              </a:ext>
            </a:extLst>
          </p:cNvPr>
          <p:cNvSpPr>
            <a:spLocks noGrp="1"/>
          </p:cNvSpPr>
          <p:nvPr>
            <p:ph type="sldNum" sz="quarter" idx="4"/>
          </p:nvPr>
        </p:nvSpPr>
        <p:spPr/>
        <p:txBody>
          <a:bodyPr/>
          <a:lstStyle/>
          <a:p>
            <a:fld id="{E84006A6-0E15-460A-BCD4-002C20F8AC9F}" type="slidenum">
              <a:rPr lang="de-DE" smtClean="0"/>
              <a:pPr/>
              <a:t>48</a:t>
            </a:fld>
            <a:endParaRPr lang="de-DE"/>
          </a:p>
        </p:txBody>
      </p:sp>
      <p:sp>
        <p:nvSpPr>
          <p:cNvPr id="12" name="Inhaltsplatzhalter 11">
            <a:extLst>
              <a:ext uri="{FF2B5EF4-FFF2-40B4-BE49-F238E27FC236}">
                <a16:creationId xmlns:a16="http://schemas.microsoft.com/office/drawing/2014/main" id="{ACBBD036-C355-7733-9270-1DC8ED2B945E}"/>
              </a:ext>
            </a:extLst>
          </p:cNvPr>
          <p:cNvSpPr>
            <a:spLocks noGrp="1"/>
          </p:cNvSpPr>
          <p:nvPr>
            <p:ph sz="quarter" idx="28"/>
          </p:nvPr>
        </p:nvSpPr>
        <p:spPr/>
        <p:txBody>
          <a:bodyPr>
            <a:normAutofit/>
          </a:bodyPr>
          <a:lstStyle/>
          <a:p>
            <a:pPr marL="0" indent="0">
              <a:buNone/>
            </a:pPr>
            <a:r>
              <a:rPr lang="de-DE" dirty="0"/>
              <a:t>Lorem ipsum dolor sit amet, consectetuer adipiscing elit. Maecenas porttitor congue massa. Fusce posuere, magna sed pulvinar ultricies, purus lectus malesuada libero, sit amet commodo magna eros quis urna.</a:t>
            </a:r>
          </a:p>
        </p:txBody>
      </p:sp>
    </p:spTree>
    <p:extLst>
      <p:ext uri="{BB962C8B-B14F-4D97-AF65-F5344CB8AC3E}">
        <p14:creationId xmlns:p14="http://schemas.microsoft.com/office/powerpoint/2010/main" val="13770388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nhaltsplatzhalter 26">
            <a:extLst>
              <a:ext uri="{FF2B5EF4-FFF2-40B4-BE49-F238E27FC236}">
                <a16:creationId xmlns:a16="http://schemas.microsoft.com/office/drawing/2014/main" id="{14EA5E81-C3D4-50DF-C3EC-D3287FE2976A}"/>
              </a:ext>
            </a:extLst>
          </p:cNvPr>
          <p:cNvPicPr>
            <a:picLocks noGrp="1" noChangeAspect="1"/>
          </p:cNvPicPr>
          <p:nvPr>
            <p:ph sz="quarter" idx="30"/>
          </p:nvPr>
        </p:nvPicPr>
        <p:blipFill rotWithShape="1">
          <a:blip r:embed="rId2" cstate="print">
            <a:extLst>
              <a:ext uri="{28A0092B-C50C-407E-A947-70E740481C1C}">
                <a14:useLocalDpi xmlns:a14="http://schemas.microsoft.com/office/drawing/2010/main"/>
              </a:ext>
            </a:extLst>
          </a:blip>
          <a:srcRect l="10582" r="10582"/>
          <a:stretch/>
        </p:blipFill>
        <p:spPr>
          <a:xfrm>
            <a:off x="9001125" y="765176"/>
            <a:ext cx="2674938" cy="2544762"/>
          </a:xfrm>
        </p:spPr>
      </p:pic>
      <p:pic>
        <p:nvPicPr>
          <p:cNvPr id="25" name="Inhaltsplatzhalter 24">
            <a:extLst>
              <a:ext uri="{FF2B5EF4-FFF2-40B4-BE49-F238E27FC236}">
                <a16:creationId xmlns:a16="http://schemas.microsoft.com/office/drawing/2014/main" id="{CFCA11F4-39EE-F5A0-BF79-234FEEE957F6}"/>
              </a:ext>
            </a:extLst>
          </p:cNvPr>
          <p:cNvPicPr>
            <a:picLocks noGrp="1" noChangeAspect="1"/>
          </p:cNvPicPr>
          <p:nvPr>
            <p:ph sz="quarter" idx="31"/>
          </p:nvPr>
        </p:nvPicPr>
        <p:blipFill rotWithShape="1">
          <a:blip r:embed="rId3" cstate="print">
            <a:extLst>
              <a:ext uri="{28A0092B-C50C-407E-A947-70E740481C1C}">
                <a14:useLocalDpi xmlns:a14="http://schemas.microsoft.com/office/drawing/2010/main"/>
              </a:ext>
            </a:extLst>
          </a:blip>
          <a:srcRect l="21925" r="21925"/>
          <a:stretch/>
        </p:blipFill>
        <p:spPr>
          <a:xfrm>
            <a:off x="6172200" y="765176"/>
            <a:ext cx="2674938" cy="2544762"/>
          </a:xfrm>
        </p:spPr>
      </p:pic>
      <p:pic>
        <p:nvPicPr>
          <p:cNvPr id="23" name="Inhaltsplatzhalter 22">
            <a:extLst>
              <a:ext uri="{FF2B5EF4-FFF2-40B4-BE49-F238E27FC236}">
                <a16:creationId xmlns:a16="http://schemas.microsoft.com/office/drawing/2014/main" id="{A4D5E091-7AE6-7BCF-D7DF-2517555C9FF1}"/>
              </a:ext>
            </a:extLst>
          </p:cNvPr>
          <p:cNvPicPr>
            <a:picLocks noGrp="1" noChangeAspect="1"/>
          </p:cNvPicPr>
          <p:nvPr>
            <p:ph sz="quarter" idx="32"/>
          </p:nvPr>
        </p:nvPicPr>
        <p:blipFill rotWithShape="1">
          <a:blip r:embed="rId2" cstate="print">
            <a:extLst>
              <a:ext uri="{28A0092B-C50C-407E-A947-70E740481C1C}">
                <a14:useLocalDpi xmlns:a14="http://schemas.microsoft.com/office/drawing/2010/main"/>
              </a:ext>
            </a:extLst>
          </a:blip>
          <a:srcRect l="10590" r="10590"/>
          <a:stretch/>
        </p:blipFill>
        <p:spPr>
          <a:xfrm>
            <a:off x="3344863" y="765176"/>
            <a:ext cx="2674937" cy="2545313"/>
          </a:xfrm>
        </p:spPr>
      </p:pic>
      <p:pic>
        <p:nvPicPr>
          <p:cNvPr id="21" name="Inhaltsplatzhalter 20">
            <a:extLst>
              <a:ext uri="{FF2B5EF4-FFF2-40B4-BE49-F238E27FC236}">
                <a16:creationId xmlns:a16="http://schemas.microsoft.com/office/drawing/2014/main" id="{1D4E1DE0-1A11-6A8D-9FD1-8DAFFA7D0A43}"/>
              </a:ext>
            </a:extLst>
          </p:cNvPr>
          <p:cNvPicPr>
            <a:picLocks noGrp="1" noChangeAspect="1"/>
          </p:cNvPicPr>
          <p:nvPr>
            <p:ph sz="quarter" idx="33"/>
          </p:nvPr>
        </p:nvPicPr>
        <p:blipFill rotWithShape="1">
          <a:blip r:embed="rId3" cstate="print">
            <a:extLst>
              <a:ext uri="{28A0092B-C50C-407E-A947-70E740481C1C}">
                <a14:useLocalDpi xmlns:a14="http://schemas.microsoft.com/office/drawing/2010/main"/>
              </a:ext>
            </a:extLst>
          </a:blip>
          <a:srcRect l="21932" r="21932"/>
          <a:stretch/>
        </p:blipFill>
        <p:spPr>
          <a:xfrm>
            <a:off x="515938" y="765176"/>
            <a:ext cx="2674815" cy="2545313"/>
          </a:xfrm>
        </p:spPr>
      </p:pic>
      <p:pic>
        <p:nvPicPr>
          <p:cNvPr id="29" name="Inhaltsplatzhalter 28">
            <a:extLst>
              <a:ext uri="{FF2B5EF4-FFF2-40B4-BE49-F238E27FC236}">
                <a16:creationId xmlns:a16="http://schemas.microsoft.com/office/drawing/2014/main" id="{24F644C2-1EE7-D5EE-9D41-A00AF9372277}"/>
              </a:ext>
            </a:extLst>
          </p:cNvPr>
          <p:cNvPicPr>
            <a:picLocks noGrp="1" noChangeAspect="1"/>
          </p:cNvPicPr>
          <p:nvPr>
            <p:ph sz="quarter" idx="34"/>
          </p:nvPr>
        </p:nvPicPr>
        <p:blipFill rotWithShape="1">
          <a:blip r:embed="rId3" cstate="print">
            <a:extLst>
              <a:ext uri="{28A0092B-C50C-407E-A947-70E740481C1C}">
                <a14:useLocalDpi xmlns:a14="http://schemas.microsoft.com/office/drawing/2010/main"/>
              </a:ext>
            </a:extLst>
          </a:blip>
          <a:srcRect l="21937" r="21937"/>
          <a:stretch/>
        </p:blipFill>
        <p:spPr>
          <a:xfrm>
            <a:off x="9001125" y="3584025"/>
            <a:ext cx="2674938" cy="2545864"/>
          </a:xfrm>
        </p:spPr>
      </p:pic>
      <p:pic>
        <p:nvPicPr>
          <p:cNvPr id="36" name="Inhaltsplatzhalter 35">
            <a:extLst>
              <a:ext uri="{FF2B5EF4-FFF2-40B4-BE49-F238E27FC236}">
                <a16:creationId xmlns:a16="http://schemas.microsoft.com/office/drawing/2014/main" id="{01E6D10C-DA03-57C0-07EB-8022748F4A35}"/>
              </a:ext>
            </a:extLst>
          </p:cNvPr>
          <p:cNvPicPr>
            <a:picLocks noGrp="1" noChangeAspect="1"/>
          </p:cNvPicPr>
          <p:nvPr>
            <p:ph sz="quarter" idx="35"/>
          </p:nvPr>
        </p:nvPicPr>
        <p:blipFill rotWithShape="1">
          <a:blip r:embed="rId2" cstate="print">
            <a:extLst>
              <a:ext uri="{28A0092B-C50C-407E-A947-70E740481C1C}">
                <a14:useLocalDpi xmlns:a14="http://schemas.microsoft.com/office/drawing/2010/main"/>
              </a:ext>
            </a:extLst>
          </a:blip>
          <a:srcRect l="10599" r="10599"/>
          <a:stretch/>
        </p:blipFill>
        <p:spPr>
          <a:xfrm>
            <a:off x="6172200" y="3584025"/>
            <a:ext cx="2674938" cy="2545864"/>
          </a:xfrm>
        </p:spPr>
      </p:pic>
      <p:pic>
        <p:nvPicPr>
          <p:cNvPr id="31" name="Inhaltsplatzhalter 30">
            <a:extLst>
              <a:ext uri="{FF2B5EF4-FFF2-40B4-BE49-F238E27FC236}">
                <a16:creationId xmlns:a16="http://schemas.microsoft.com/office/drawing/2014/main" id="{B7E491F7-7480-0A96-A506-44BDEAADC957}"/>
              </a:ext>
            </a:extLst>
          </p:cNvPr>
          <p:cNvPicPr>
            <a:picLocks noGrp="1" noChangeAspect="1"/>
          </p:cNvPicPr>
          <p:nvPr>
            <p:ph sz="quarter" idx="36"/>
          </p:nvPr>
        </p:nvPicPr>
        <p:blipFill rotWithShape="1">
          <a:blip r:embed="rId3" cstate="print">
            <a:extLst>
              <a:ext uri="{28A0092B-C50C-407E-A947-70E740481C1C}">
                <a14:useLocalDpi xmlns:a14="http://schemas.microsoft.com/office/drawing/2010/main"/>
              </a:ext>
            </a:extLst>
          </a:blip>
          <a:srcRect l="21937" r="21937"/>
          <a:stretch/>
        </p:blipFill>
        <p:spPr>
          <a:xfrm>
            <a:off x="3344863" y="3584025"/>
            <a:ext cx="2674937" cy="2545864"/>
          </a:xfrm>
        </p:spPr>
      </p:pic>
      <p:pic>
        <p:nvPicPr>
          <p:cNvPr id="33" name="Inhaltsplatzhalter 32">
            <a:extLst>
              <a:ext uri="{FF2B5EF4-FFF2-40B4-BE49-F238E27FC236}">
                <a16:creationId xmlns:a16="http://schemas.microsoft.com/office/drawing/2014/main" id="{E048654E-8C5E-DB91-FEB2-A5EFA227B50A}"/>
              </a:ext>
            </a:extLst>
          </p:cNvPr>
          <p:cNvPicPr>
            <a:picLocks noGrp="1" noChangeAspect="1"/>
          </p:cNvPicPr>
          <p:nvPr>
            <p:ph sz="quarter" idx="37"/>
          </p:nvPr>
        </p:nvPicPr>
        <p:blipFill rotWithShape="1">
          <a:blip r:embed="rId2" cstate="print">
            <a:extLst>
              <a:ext uri="{28A0092B-C50C-407E-A947-70E740481C1C}">
                <a14:useLocalDpi xmlns:a14="http://schemas.microsoft.com/office/drawing/2010/main"/>
              </a:ext>
            </a:extLst>
          </a:blip>
          <a:srcRect l="10599" r="10599"/>
          <a:stretch/>
        </p:blipFill>
        <p:spPr>
          <a:xfrm>
            <a:off x="515938" y="3584024"/>
            <a:ext cx="2674937" cy="2545864"/>
          </a:xfrm>
        </p:spPr>
      </p:pic>
      <p:sp>
        <p:nvSpPr>
          <p:cNvPr id="10" name="Textplatzhalter 9">
            <a:extLst>
              <a:ext uri="{FF2B5EF4-FFF2-40B4-BE49-F238E27FC236}">
                <a16:creationId xmlns:a16="http://schemas.microsoft.com/office/drawing/2014/main" id="{8DD09BF5-187A-5B7D-B077-D8C017A5CCEB}"/>
              </a:ext>
            </a:extLst>
          </p:cNvPr>
          <p:cNvSpPr>
            <a:spLocks noGrp="1"/>
          </p:cNvSpPr>
          <p:nvPr>
            <p:ph type="body" sz="quarter" idx="26"/>
          </p:nvPr>
        </p:nvSpPr>
        <p:spPr>
          <a:xfrm>
            <a:off x="515936" y="2339910"/>
            <a:ext cx="2338100" cy="710552"/>
          </a:xfrm>
        </p:spPr>
        <p:txBody>
          <a:bodyPr/>
          <a:lstStyle/>
          <a:p>
            <a:r>
              <a:rPr lang="de-DE" dirty="0"/>
              <a:t>Lorem ipsum dolor sit amet.</a:t>
            </a:r>
          </a:p>
        </p:txBody>
      </p:sp>
      <p:sp>
        <p:nvSpPr>
          <p:cNvPr id="11" name="Textplatzhalter 10">
            <a:extLst>
              <a:ext uri="{FF2B5EF4-FFF2-40B4-BE49-F238E27FC236}">
                <a16:creationId xmlns:a16="http://schemas.microsoft.com/office/drawing/2014/main" id="{7B217D34-2664-C9C3-D3CA-A4B94EDF0721}"/>
              </a:ext>
            </a:extLst>
          </p:cNvPr>
          <p:cNvSpPr>
            <a:spLocks noGrp="1"/>
          </p:cNvSpPr>
          <p:nvPr>
            <p:ph type="body" sz="quarter" idx="27"/>
          </p:nvPr>
        </p:nvSpPr>
        <p:spPr>
          <a:xfrm>
            <a:off x="6172750" y="5158760"/>
            <a:ext cx="2338100" cy="710552"/>
          </a:xfrm>
        </p:spPr>
        <p:txBody>
          <a:bodyPr/>
          <a:lstStyle/>
          <a:p>
            <a:r>
              <a:rPr lang="de-DE" dirty="0"/>
              <a:t>Lorem ipsum dolor sit amet.</a:t>
            </a:r>
          </a:p>
        </p:txBody>
      </p:sp>
      <p:sp>
        <p:nvSpPr>
          <p:cNvPr id="4" name="Datumsplatzhalter 3">
            <a:extLst>
              <a:ext uri="{FF2B5EF4-FFF2-40B4-BE49-F238E27FC236}">
                <a16:creationId xmlns:a16="http://schemas.microsoft.com/office/drawing/2014/main" id="{9B9C4C0B-3628-B77D-3AD1-DEEEB12B00E8}"/>
              </a:ext>
            </a:extLst>
          </p:cNvPr>
          <p:cNvSpPr>
            <a:spLocks noGrp="1"/>
          </p:cNvSpPr>
          <p:nvPr>
            <p:ph type="dt" sz="half" idx="2"/>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20367771-4FE7-9D83-3E2A-DC3BADF0A5CF}"/>
              </a:ext>
            </a:extLst>
          </p:cNvPr>
          <p:cNvSpPr>
            <a:spLocks noGrp="1"/>
          </p:cNvSpPr>
          <p:nvPr>
            <p:ph type="ftr" sz="quarter" idx="3"/>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DC069A04-1C8A-8E87-0D62-2933AC032052}"/>
              </a:ext>
            </a:extLst>
          </p:cNvPr>
          <p:cNvSpPr>
            <a:spLocks noGrp="1"/>
          </p:cNvSpPr>
          <p:nvPr>
            <p:ph type="sldNum" sz="quarter" idx="4"/>
          </p:nvPr>
        </p:nvSpPr>
        <p:spPr/>
        <p:txBody>
          <a:bodyPr/>
          <a:lstStyle/>
          <a:p>
            <a:fld id="{E84006A6-0E15-460A-BCD4-002C20F8AC9F}" type="slidenum">
              <a:rPr lang="de-DE" smtClean="0"/>
              <a:pPr/>
              <a:t>49</a:t>
            </a:fld>
            <a:endParaRPr lang="de-DE"/>
          </a:p>
        </p:txBody>
      </p:sp>
      <p:sp>
        <p:nvSpPr>
          <p:cNvPr id="9" name="Textplatzhalter 8">
            <a:extLst>
              <a:ext uri="{FF2B5EF4-FFF2-40B4-BE49-F238E27FC236}">
                <a16:creationId xmlns:a16="http://schemas.microsoft.com/office/drawing/2014/main" id="{7C9882BE-B29A-7FDB-3303-4BCB938C0CD8}"/>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3106529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DB621D8-F209-4C89-C7AD-2A8447AC1E83}"/>
              </a:ext>
            </a:extLst>
          </p:cNvPr>
          <p:cNvSpPr>
            <a:spLocks noGrp="1"/>
          </p:cNvSpPr>
          <p:nvPr>
            <p:ph type="title"/>
          </p:nvPr>
        </p:nvSpPr>
        <p:spPr/>
        <p:txBody>
          <a:bodyPr/>
          <a:lstStyle/>
          <a:p>
            <a:r>
              <a:rPr lang="de-DE" dirty="0"/>
              <a:t>Hier steht eine Headline.</a:t>
            </a:r>
            <a:br>
              <a:rPr lang="de-DE" dirty="0"/>
            </a:br>
            <a:r>
              <a:rPr lang="de-DE" dirty="0"/>
              <a:t>Hier steht eine Headline.</a:t>
            </a:r>
          </a:p>
        </p:txBody>
      </p:sp>
      <p:sp>
        <p:nvSpPr>
          <p:cNvPr id="3" name="Datumsplatzhalter 2">
            <a:extLst>
              <a:ext uri="{FF2B5EF4-FFF2-40B4-BE49-F238E27FC236}">
                <a16:creationId xmlns:a16="http://schemas.microsoft.com/office/drawing/2014/main" id="{C87E81AA-C6F0-94B6-FA6E-4451C7A950FA}"/>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8ED1445A-524F-3C6A-1BD8-35B662594541}"/>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FE08C9E-6BC4-8EB1-1544-E33BD1C3EE19}"/>
              </a:ext>
            </a:extLst>
          </p:cNvPr>
          <p:cNvSpPr>
            <a:spLocks noGrp="1"/>
          </p:cNvSpPr>
          <p:nvPr>
            <p:ph type="sldNum" sz="quarter" idx="4"/>
          </p:nvPr>
        </p:nvSpPr>
        <p:spPr/>
        <p:txBody>
          <a:bodyPr/>
          <a:lstStyle/>
          <a:p>
            <a:fld id="{E84006A6-0E15-460A-BCD4-002C20F8AC9F}" type="slidenum">
              <a:rPr lang="de-DE" smtClean="0"/>
              <a:pPr/>
              <a:t>5</a:t>
            </a:fld>
            <a:endParaRPr lang="de-DE"/>
          </a:p>
        </p:txBody>
      </p:sp>
    </p:spTree>
    <p:extLst>
      <p:ext uri="{BB962C8B-B14F-4D97-AF65-F5344CB8AC3E}">
        <p14:creationId xmlns:p14="http://schemas.microsoft.com/office/powerpoint/2010/main" val="20688722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nhaltsplatzhalter 22">
            <a:extLst>
              <a:ext uri="{FF2B5EF4-FFF2-40B4-BE49-F238E27FC236}">
                <a16:creationId xmlns:a16="http://schemas.microsoft.com/office/drawing/2014/main" id="{A4D5E091-7AE6-7BCF-D7DF-2517555C9FF1}"/>
              </a:ext>
            </a:extLst>
          </p:cNvPr>
          <p:cNvPicPr>
            <a:picLocks noGrp="1" noChangeAspect="1"/>
          </p:cNvPicPr>
          <p:nvPr>
            <p:ph sz="quarter" idx="32"/>
          </p:nvPr>
        </p:nvPicPr>
        <p:blipFill rotWithShape="1">
          <a:blip r:embed="rId2" cstate="print">
            <a:extLst>
              <a:ext uri="{28A0092B-C50C-407E-A947-70E740481C1C}">
                <a14:useLocalDpi xmlns:a14="http://schemas.microsoft.com/office/drawing/2010/main"/>
              </a:ext>
            </a:extLst>
          </a:blip>
          <a:srcRect l="10590" r="10590"/>
          <a:stretch/>
        </p:blipFill>
        <p:spPr>
          <a:xfrm>
            <a:off x="3344863" y="765175"/>
            <a:ext cx="2674937" cy="2545312"/>
          </a:xfrm>
        </p:spPr>
      </p:pic>
      <p:pic>
        <p:nvPicPr>
          <p:cNvPr id="27" name="Inhaltsplatzhalter 26">
            <a:extLst>
              <a:ext uri="{FF2B5EF4-FFF2-40B4-BE49-F238E27FC236}">
                <a16:creationId xmlns:a16="http://schemas.microsoft.com/office/drawing/2014/main" id="{14EA5E81-C3D4-50DF-C3EC-D3287FE2976A}"/>
              </a:ext>
            </a:extLst>
          </p:cNvPr>
          <p:cNvPicPr>
            <a:picLocks noGrp="1" noChangeAspect="1"/>
          </p:cNvPicPr>
          <p:nvPr>
            <p:ph sz="quarter" idx="30"/>
          </p:nvPr>
        </p:nvPicPr>
        <p:blipFill rotWithShape="1">
          <a:blip r:embed="rId2" cstate="print">
            <a:extLst>
              <a:ext uri="{28A0092B-C50C-407E-A947-70E740481C1C}">
                <a14:useLocalDpi xmlns:a14="http://schemas.microsoft.com/office/drawing/2010/main"/>
              </a:ext>
            </a:extLst>
          </a:blip>
          <a:srcRect l="10590" r="10590"/>
          <a:stretch/>
        </p:blipFill>
        <p:spPr>
          <a:xfrm>
            <a:off x="9001125" y="765175"/>
            <a:ext cx="2674938" cy="2545312"/>
          </a:xfrm>
        </p:spPr>
      </p:pic>
      <p:pic>
        <p:nvPicPr>
          <p:cNvPr id="25" name="Inhaltsplatzhalter 24">
            <a:extLst>
              <a:ext uri="{FF2B5EF4-FFF2-40B4-BE49-F238E27FC236}">
                <a16:creationId xmlns:a16="http://schemas.microsoft.com/office/drawing/2014/main" id="{CFCA11F4-39EE-F5A0-BF79-234FEEE957F6}"/>
              </a:ext>
            </a:extLst>
          </p:cNvPr>
          <p:cNvPicPr>
            <a:picLocks noGrp="1" noChangeAspect="1"/>
          </p:cNvPicPr>
          <p:nvPr>
            <p:ph sz="quarter" idx="31"/>
          </p:nvPr>
        </p:nvPicPr>
        <p:blipFill rotWithShape="1">
          <a:blip r:embed="rId3" cstate="print">
            <a:extLst>
              <a:ext uri="{28A0092B-C50C-407E-A947-70E740481C1C}">
                <a14:useLocalDpi xmlns:a14="http://schemas.microsoft.com/office/drawing/2010/main"/>
              </a:ext>
            </a:extLst>
          </a:blip>
          <a:srcRect l="21931" r="21931"/>
          <a:stretch/>
        </p:blipFill>
        <p:spPr>
          <a:xfrm>
            <a:off x="6172200" y="765175"/>
            <a:ext cx="2674938" cy="2545312"/>
          </a:xfrm>
        </p:spPr>
      </p:pic>
      <p:pic>
        <p:nvPicPr>
          <p:cNvPr id="21" name="Inhaltsplatzhalter 20">
            <a:extLst>
              <a:ext uri="{FF2B5EF4-FFF2-40B4-BE49-F238E27FC236}">
                <a16:creationId xmlns:a16="http://schemas.microsoft.com/office/drawing/2014/main" id="{1D4E1DE0-1A11-6A8D-9FD1-8DAFFA7D0A43}"/>
              </a:ext>
            </a:extLst>
          </p:cNvPr>
          <p:cNvPicPr>
            <a:picLocks noGrp="1" noChangeAspect="1"/>
          </p:cNvPicPr>
          <p:nvPr>
            <p:ph sz="quarter" idx="33"/>
          </p:nvPr>
        </p:nvPicPr>
        <p:blipFill rotWithShape="1">
          <a:blip r:embed="rId3" cstate="print">
            <a:extLst>
              <a:ext uri="{28A0092B-C50C-407E-A947-70E740481C1C}">
                <a14:useLocalDpi xmlns:a14="http://schemas.microsoft.com/office/drawing/2010/main"/>
              </a:ext>
            </a:extLst>
          </a:blip>
          <a:srcRect l="21931" r="21931"/>
          <a:stretch/>
        </p:blipFill>
        <p:spPr>
          <a:xfrm>
            <a:off x="515938" y="765175"/>
            <a:ext cx="2674937" cy="2545312"/>
          </a:xfrm>
        </p:spPr>
      </p:pic>
      <p:pic>
        <p:nvPicPr>
          <p:cNvPr id="29" name="Inhaltsplatzhalter 28">
            <a:extLst>
              <a:ext uri="{FF2B5EF4-FFF2-40B4-BE49-F238E27FC236}">
                <a16:creationId xmlns:a16="http://schemas.microsoft.com/office/drawing/2014/main" id="{24F644C2-1EE7-D5EE-9D41-A00AF9372277}"/>
              </a:ext>
            </a:extLst>
          </p:cNvPr>
          <p:cNvPicPr>
            <a:picLocks noGrp="1" noChangeAspect="1"/>
          </p:cNvPicPr>
          <p:nvPr>
            <p:ph sz="quarter" idx="34"/>
          </p:nvPr>
        </p:nvPicPr>
        <p:blipFill rotWithShape="1">
          <a:blip r:embed="rId3" cstate="print">
            <a:extLst>
              <a:ext uri="{28A0092B-C50C-407E-A947-70E740481C1C}">
                <a14:useLocalDpi xmlns:a14="http://schemas.microsoft.com/office/drawing/2010/main"/>
              </a:ext>
            </a:extLst>
          </a:blip>
          <a:srcRect l="21937" r="21937"/>
          <a:stretch/>
        </p:blipFill>
        <p:spPr>
          <a:xfrm>
            <a:off x="9001125" y="3584027"/>
            <a:ext cx="2674938" cy="2545860"/>
          </a:xfrm>
        </p:spPr>
      </p:pic>
      <p:pic>
        <p:nvPicPr>
          <p:cNvPr id="36" name="Inhaltsplatzhalter 35">
            <a:extLst>
              <a:ext uri="{FF2B5EF4-FFF2-40B4-BE49-F238E27FC236}">
                <a16:creationId xmlns:a16="http://schemas.microsoft.com/office/drawing/2014/main" id="{01E6D10C-DA03-57C0-07EB-8022748F4A35}"/>
              </a:ext>
            </a:extLst>
          </p:cNvPr>
          <p:cNvPicPr>
            <a:picLocks noGrp="1" noChangeAspect="1"/>
          </p:cNvPicPr>
          <p:nvPr>
            <p:ph sz="quarter" idx="35"/>
          </p:nvPr>
        </p:nvPicPr>
        <p:blipFill rotWithShape="1">
          <a:blip r:embed="rId2" cstate="print">
            <a:extLst>
              <a:ext uri="{28A0092B-C50C-407E-A947-70E740481C1C}">
                <a14:useLocalDpi xmlns:a14="http://schemas.microsoft.com/office/drawing/2010/main"/>
              </a:ext>
            </a:extLst>
          </a:blip>
          <a:srcRect l="10599" r="10599"/>
          <a:stretch/>
        </p:blipFill>
        <p:spPr>
          <a:xfrm>
            <a:off x="6172200" y="3584027"/>
            <a:ext cx="2674938" cy="2545860"/>
          </a:xfrm>
        </p:spPr>
      </p:pic>
      <p:pic>
        <p:nvPicPr>
          <p:cNvPr id="31" name="Inhaltsplatzhalter 30">
            <a:extLst>
              <a:ext uri="{FF2B5EF4-FFF2-40B4-BE49-F238E27FC236}">
                <a16:creationId xmlns:a16="http://schemas.microsoft.com/office/drawing/2014/main" id="{B7E491F7-7480-0A96-A506-44BDEAADC957}"/>
              </a:ext>
            </a:extLst>
          </p:cNvPr>
          <p:cNvPicPr>
            <a:picLocks noGrp="1" noChangeAspect="1"/>
          </p:cNvPicPr>
          <p:nvPr>
            <p:ph sz="quarter" idx="36"/>
          </p:nvPr>
        </p:nvPicPr>
        <p:blipFill rotWithShape="1">
          <a:blip r:embed="rId3" cstate="print">
            <a:extLst>
              <a:ext uri="{28A0092B-C50C-407E-A947-70E740481C1C}">
                <a14:useLocalDpi xmlns:a14="http://schemas.microsoft.com/office/drawing/2010/main"/>
              </a:ext>
            </a:extLst>
          </a:blip>
          <a:srcRect l="21937" r="21937"/>
          <a:stretch/>
        </p:blipFill>
        <p:spPr>
          <a:xfrm>
            <a:off x="3344863" y="3584027"/>
            <a:ext cx="2674937" cy="2545860"/>
          </a:xfrm>
        </p:spPr>
      </p:pic>
      <p:pic>
        <p:nvPicPr>
          <p:cNvPr id="33" name="Inhaltsplatzhalter 32">
            <a:extLst>
              <a:ext uri="{FF2B5EF4-FFF2-40B4-BE49-F238E27FC236}">
                <a16:creationId xmlns:a16="http://schemas.microsoft.com/office/drawing/2014/main" id="{E048654E-8C5E-DB91-FEB2-A5EFA227B50A}"/>
              </a:ext>
            </a:extLst>
          </p:cNvPr>
          <p:cNvPicPr>
            <a:picLocks noGrp="1" noChangeAspect="1"/>
          </p:cNvPicPr>
          <p:nvPr>
            <p:ph sz="quarter" idx="37"/>
          </p:nvPr>
        </p:nvPicPr>
        <p:blipFill rotWithShape="1">
          <a:blip r:embed="rId2" cstate="print">
            <a:extLst>
              <a:ext uri="{28A0092B-C50C-407E-A947-70E740481C1C}">
                <a14:useLocalDpi xmlns:a14="http://schemas.microsoft.com/office/drawing/2010/main"/>
              </a:ext>
            </a:extLst>
          </a:blip>
          <a:srcRect l="10590" r="10590"/>
          <a:stretch/>
        </p:blipFill>
        <p:spPr>
          <a:xfrm>
            <a:off x="515938" y="3584026"/>
            <a:ext cx="2674937" cy="2545312"/>
          </a:xfrm>
        </p:spPr>
      </p:pic>
      <p:sp>
        <p:nvSpPr>
          <p:cNvPr id="10" name="Textplatzhalter 9">
            <a:extLst>
              <a:ext uri="{FF2B5EF4-FFF2-40B4-BE49-F238E27FC236}">
                <a16:creationId xmlns:a16="http://schemas.microsoft.com/office/drawing/2014/main" id="{8DD09BF5-187A-5B7D-B077-D8C017A5CCEB}"/>
              </a:ext>
            </a:extLst>
          </p:cNvPr>
          <p:cNvSpPr>
            <a:spLocks noGrp="1"/>
          </p:cNvSpPr>
          <p:nvPr>
            <p:ph type="body" sz="quarter" idx="26"/>
          </p:nvPr>
        </p:nvSpPr>
        <p:spPr>
          <a:xfrm>
            <a:off x="515936" y="2339910"/>
            <a:ext cx="2338100" cy="710552"/>
          </a:xfrm>
        </p:spPr>
        <p:txBody>
          <a:bodyPr/>
          <a:lstStyle/>
          <a:p>
            <a:r>
              <a:rPr lang="de-DE" dirty="0"/>
              <a:t>Lorem ipsum dolor sit amet.</a:t>
            </a:r>
          </a:p>
        </p:txBody>
      </p:sp>
      <p:sp>
        <p:nvSpPr>
          <p:cNvPr id="11" name="Textplatzhalter 10">
            <a:extLst>
              <a:ext uri="{FF2B5EF4-FFF2-40B4-BE49-F238E27FC236}">
                <a16:creationId xmlns:a16="http://schemas.microsoft.com/office/drawing/2014/main" id="{7B217D34-2664-C9C3-D3CA-A4B94EDF0721}"/>
              </a:ext>
            </a:extLst>
          </p:cNvPr>
          <p:cNvSpPr>
            <a:spLocks noGrp="1"/>
          </p:cNvSpPr>
          <p:nvPr>
            <p:ph type="body" sz="quarter" idx="27"/>
          </p:nvPr>
        </p:nvSpPr>
        <p:spPr>
          <a:xfrm>
            <a:off x="6172750" y="5158760"/>
            <a:ext cx="2338100" cy="710552"/>
          </a:xfrm>
        </p:spPr>
        <p:txBody>
          <a:bodyPr/>
          <a:lstStyle/>
          <a:p>
            <a:r>
              <a:rPr lang="de-DE" dirty="0"/>
              <a:t>Lorem ipsum dolor sit amet.</a:t>
            </a:r>
          </a:p>
        </p:txBody>
      </p:sp>
      <p:sp>
        <p:nvSpPr>
          <p:cNvPr id="4" name="Datumsplatzhalter 3">
            <a:extLst>
              <a:ext uri="{FF2B5EF4-FFF2-40B4-BE49-F238E27FC236}">
                <a16:creationId xmlns:a16="http://schemas.microsoft.com/office/drawing/2014/main" id="{9B9C4C0B-3628-B77D-3AD1-DEEEB12B00E8}"/>
              </a:ext>
            </a:extLst>
          </p:cNvPr>
          <p:cNvSpPr>
            <a:spLocks noGrp="1"/>
          </p:cNvSpPr>
          <p:nvPr>
            <p:ph type="dt" sz="half" idx="2"/>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20367771-4FE7-9D83-3E2A-DC3BADF0A5CF}"/>
              </a:ext>
            </a:extLst>
          </p:cNvPr>
          <p:cNvSpPr>
            <a:spLocks noGrp="1"/>
          </p:cNvSpPr>
          <p:nvPr>
            <p:ph type="ftr" sz="quarter" idx="3"/>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DC069A04-1C8A-8E87-0D62-2933AC032052}"/>
              </a:ext>
            </a:extLst>
          </p:cNvPr>
          <p:cNvSpPr>
            <a:spLocks noGrp="1"/>
          </p:cNvSpPr>
          <p:nvPr>
            <p:ph type="sldNum" sz="quarter" idx="4"/>
          </p:nvPr>
        </p:nvSpPr>
        <p:spPr/>
        <p:txBody>
          <a:bodyPr/>
          <a:lstStyle/>
          <a:p>
            <a:fld id="{E84006A6-0E15-460A-BCD4-002C20F8AC9F}" type="slidenum">
              <a:rPr lang="de-DE" smtClean="0"/>
              <a:pPr/>
              <a:t>50</a:t>
            </a:fld>
            <a:endParaRPr lang="de-DE"/>
          </a:p>
        </p:txBody>
      </p:sp>
      <p:sp>
        <p:nvSpPr>
          <p:cNvPr id="9" name="Textplatzhalter 8">
            <a:extLst>
              <a:ext uri="{FF2B5EF4-FFF2-40B4-BE49-F238E27FC236}">
                <a16:creationId xmlns:a16="http://schemas.microsoft.com/office/drawing/2014/main" id="{7C9882BE-B29A-7FDB-3303-4BCB938C0CD8}"/>
              </a:ext>
            </a:extLst>
          </p:cNvPr>
          <p:cNvSpPr>
            <a:spLocks noGrp="1"/>
          </p:cNvSpPr>
          <p:nvPr>
            <p:ph type="body" sz="quarter" idx="16"/>
          </p:nvPr>
        </p:nvSpPr>
        <p:spPr/>
        <p:txBody>
          <a:bodyPr/>
          <a:lstStyle/>
          <a:p>
            <a:r>
              <a:rPr lang="de-DE" dirty="0"/>
              <a:t>Hier steht eine Headline.</a:t>
            </a:r>
          </a:p>
        </p:txBody>
      </p:sp>
    </p:spTree>
    <p:extLst>
      <p:ext uri="{BB962C8B-B14F-4D97-AF65-F5344CB8AC3E}">
        <p14:creationId xmlns:p14="http://schemas.microsoft.com/office/powerpoint/2010/main" val="33134705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ildplatzhalter 19">
            <a:extLst>
              <a:ext uri="{FF2B5EF4-FFF2-40B4-BE49-F238E27FC236}">
                <a16:creationId xmlns:a16="http://schemas.microsoft.com/office/drawing/2014/main" id="{A3422BA3-26A4-C1DE-DE52-316725128384}"/>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l="91" r="91"/>
          <a:stretch/>
        </p:blipFill>
        <p:spPr/>
      </p:pic>
      <p:sp>
        <p:nvSpPr>
          <p:cNvPr id="16" name="Titel 15">
            <a:extLst>
              <a:ext uri="{FF2B5EF4-FFF2-40B4-BE49-F238E27FC236}">
                <a16:creationId xmlns:a16="http://schemas.microsoft.com/office/drawing/2014/main" id="{C5C16CAF-7FF3-AEED-E3E9-3EBAC2120590}"/>
              </a:ext>
            </a:extLst>
          </p:cNvPr>
          <p:cNvSpPr>
            <a:spLocks noGrp="1"/>
          </p:cNvSpPr>
          <p:nvPr>
            <p:ph type="title"/>
          </p:nvPr>
        </p:nvSpPr>
        <p:spPr/>
        <p:txBody>
          <a:bodyPr/>
          <a:lstStyle/>
          <a:p>
            <a:r>
              <a:rPr lang="de-DE" dirty="0"/>
              <a:t>Vielen Dank!</a:t>
            </a:r>
          </a:p>
        </p:txBody>
      </p:sp>
      <p:sp>
        <p:nvSpPr>
          <p:cNvPr id="23" name="Textplatzhalter 22">
            <a:extLst>
              <a:ext uri="{FF2B5EF4-FFF2-40B4-BE49-F238E27FC236}">
                <a16:creationId xmlns:a16="http://schemas.microsoft.com/office/drawing/2014/main" id="{F51EA199-BA08-AB80-00FB-610A936F95BB}"/>
              </a:ext>
            </a:extLst>
          </p:cNvPr>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31542627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19">
            <a:extLst>
              <a:ext uri="{FF2B5EF4-FFF2-40B4-BE49-F238E27FC236}">
                <a16:creationId xmlns:a16="http://schemas.microsoft.com/office/drawing/2014/main" id="{34911CBF-9994-ABE6-D1D7-8961451A26A5}"/>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l="91" r="91"/>
          <a:stretch/>
        </p:blipFill>
        <p:spPr/>
      </p:pic>
      <p:sp>
        <p:nvSpPr>
          <p:cNvPr id="16" name="Titel 15">
            <a:extLst>
              <a:ext uri="{FF2B5EF4-FFF2-40B4-BE49-F238E27FC236}">
                <a16:creationId xmlns:a16="http://schemas.microsoft.com/office/drawing/2014/main" id="{C5C16CAF-7FF3-AEED-E3E9-3EBAC2120590}"/>
              </a:ext>
            </a:extLst>
          </p:cNvPr>
          <p:cNvSpPr>
            <a:spLocks noGrp="1"/>
          </p:cNvSpPr>
          <p:nvPr>
            <p:ph type="title"/>
          </p:nvPr>
        </p:nvSpPr>
        <p:spPr/>
        <p:txBody>
          <a:bodyPr/>
          <a:lstStyle/>
          <a:p>
            <a:r>
              <a:rPr lang="de-DE" dirty="0"/>
              <a:t>Vielen Dank!</a:t>
            </a:r>
          </a:p>
        </p:txBody>
      </p:sp>
      <p:sp>
        <p:nvSpPr>
          <p:cNvPr id="11" name="Textplatzhalter 10">
            <a:extLst>
              <a:ext uri="{FF2B5EF4-FFF2-40B4-BE49-F238E27FC236}">
                <a16:creationId xmlns:a16="http://schemas.microsoft.com/office/drawing/2014/main" id="{B5C9FED0-EBAD-BB69-D46B-B355B8FAE8BC}"/>
              </a:ext>
            </a:extLst>
          </p:cNvPr>
          <p:cNvSpPr>
            <a:spLocks noGrp="1"/>
          </p:cNvSpPr>
          <p:nvPr>
            <p:ph type="body" sz="quarter" idx="17"/>
          </p:nvPr>
        </p:nvSpPr>
        <p:spPr/>
        <p:txBody>
          <a:bodyPr/>
          <a:lstStyle/>
          <a:p>
            <a:endParaRPr lang="de-DE"/>
          </a:p>
        </p:txBody>
      </p:sp>
    </p:spTree>
    <p:extLst>
      <p:ext uri="{BB962C8B-B14F-4D97-AF65-F5344CB8AC3E}">
        <p14:creationId xmlns:p14="http://schemas.microsoft.com/office/powerpoint/2010/main" val="28943333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D23960B9-709B-D6A4-9A1C-36E84C83AACB}"/>
              </a:ext>
            </a:extLst>
          </p:cNvPr>
          <p:cNvPicPr>
            <a:picLocks noGrp="1" noChangeAspect="1"/>
          </p:cNvPicPr>
          <p:nvPr>
            <p:ph type="pic" sz="quarter" idx="16"/>
          </p:nvPr>
        </p:nvPicPr>
        <p:blipFill>
          <a:blip r:embed="rId2">
            <a:extLst>
              <a:ext uri="{28A0092B-C50C-407E-A947-70E740481C1C}">
                <a14:useLocalDpi xmlns:a14="http://schemas.microsoft.com/office/drawing/2010/main"/>
              </a:ext>
            </a:extLst>
          </a:blip>
          <a:srcRect t="12509" b="12509"/>
          <a:stretch>
            <a:fillRect/>
          </a:stretch>
        </p:blipFill>
        <p:spPr/>
      </p:pic>
      <p:sp>
        <p:nvSpPr>
          <p:cNvPr id="8" name="Titel 7">
            <a:extLst>
              <a:ext uri="{FF2B5EF4-FFF2-40B4-BE49-F238E27FC236}">
                <a16:creationId xmlns:a16="http://schemas.microsoft.com/office/drawing/2014/main" id="{33E5D48B-F322-9E5A-E4B3-00DEE3A225EC}"/>
              </a:ext>
            </a:extLst>
          </p:cNvPr>
          <p:cNvSpPr>
            <a:spLocks noGrp="1"/>
          </p:cNvSpPr>
          <p:nvPr>
            <p:ph type="title"/>
          </p:nvPr>
        </p:nvSpPr>
        <p:spPr/>
        <p:txBody>
          <a:bodyPr/>
          <a:lstStyle/>
          <a:p>
            <a:r>
              <a:rPr lang="de-DE" dirty="0"/>
              <a:t>Vielen </a:t>
            </a:r>
            <a:br>
              <a:rPr lang="de-DE" dirty="0"/>
            </a:br>
            <a:r>
              <a:rPr lang="de-DE" dirty="0"/>
              <a:t>Dank!</a:t>
            </a:r>
          </a:p>
        </p:txBody>
      </p:sp>
      <p:sp>
        <p:nvSpPr>
          <p:cNvPr id="15" name="Textplatzhalter 14">
            <a:extLst>
              <a:ext uri="{FF2B5EF4-FFF2-40B4-BE49-F238E27FC236}">
                <a16:creationId xmlns:a16="http://schemas.microsoft.com/office/drawing/2014/main" id="{17C31E20-DB6A-F601-221D-C5B674B68B00}"/>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28861404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D23960B9-709B-D6A4-9A1C-36E84C83AACB}"/>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a:ext>
            </a:extLst>
          </a:blip>
          <a:srcRect t="12509" b="12509"/>
          <a:stretch/>
        </p:blipFill>
        <p:spPr/>
      </p:pic>
      <p:sp>
        <p:nvSpPr>
          <p:cNvPr id="8" name="Titel 7">
            <a:extLst>
              <a:ext uri="{FF2B5EF4-FFF2-40B4-BE49-F238E27FC236}">
                <a16:creationId xmlns:a16="http://schemas.microsoft.com/office/drawing/2014/main" id="{33E5D48B-F322-9E5A-E4B3-00DEE3A225EC}"/>
              </a:ext>
            </a:extLst>
          </p:cNvPr>
          <p:cNvSpPr>
            <a:spLocks noGrp="1"/>
          </p:cNvSpPr>
          <p:nvPr>
            <p:ph type="title"/>
          </p:nvPr>
        </p:nvSpPr>
        <p:spPr/>
        <p:txBody>
          <a:bodyPr/>
          <a:lstStyle/>
          <a:p>
            <a:r>
              <a:rPr lang="de-DE" dirty="0"/>
              <a:t>Vielen </a:t>
            </a:r>
            <a:br>
              <a:rPr lang="de-DE" dirty="0"/>
            </a:br>
            <a:r>
              <a:rPr lang="de-DE" dirty="0"/>
              <a:t>Dank!</a:t>
            </a:r>
          </a:p>
        </p:txBody>
      </p:sp>
      <p:sp>
        <p:nvSpPr>
          <p:cNvPr id="2" name="Textplatzhalter 1">
            <a:extLst>
              <a:ext uri="{FF2B5EF4-FFF2-40B4-BE49-F238E27FC236}">
                <a16:creationId xmlns:a16="http://schemas.microsoft.com/office/drawing/2014/main" id="{CFC26B1D-3697-CC80-11D7-AEEC5DF8D7E2}"/>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802519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4AFD25FE-E2B5-09CE-A4B6-BB24CA2F21A9}"/>
              </a:ext>
            </a:extLst>
          </p:cNvPr>
          <p:cNvSpPr>
            <a:spLocks noGrp="1"/>
          </p:cNvSpPr>
          <p:nvPr>
            <p:ph type="title"/>
          </p:nvPr>
        </p:nvSpPr>
        <p:spPr/>
        <p:txBody>
          <a:bodyPr/>
          <a:lstStyle/>
          <a:p>
            <a:r>
              <a:rPr lang="de-DE" dirty="0"/>
              <a:t>Folienbibliothek</a:t>
            </a:r>
          </a:p>
        </p:txBody>
      </p:sp>
      <p:sp>
        <p:nvSpPr>
          <p:cNvPr id="4" name="Datumsplatzhalter 3">
            <a:extLst>
              <a:ext uri="{FF2B5EF4-FFF2-40B4-BE49-F238E27FC236}">
                <a16:creationId xmlns:a16="http://schemas.microsoft.com/office/drawing/2014/main" id="{A4C76ABF-E82F-071C-A6E3-C27C73CFE97D}"/>
              </a:ext>
            </a:extLst>
          </p:cNvPr>
          <p:cNvSpPr>
            <a:spLocks noGrp="1"/>
          </p:cNvSpPr>
          <p:nvPr>
            <p:ph type="dt" sz="half" idx="10"/>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4355A2A2-23D8-57D0-420A-AC89527D4B89}"/>
              </a:ext>
            </a:extLst>
          </p:cNvPr>
          <p:cNvSpPr>
            <a:spLocks noGrp="1"/>
          </p:cNvSpPr>
          <p:nvPr>
            <p:ph type="ftr" sz="quarter" idx="11"/>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960DD980-E4CA-9289-7D8E-D850DBFD71B3}"/>
              </a:ext>
            </a:extLst>
          </p:cNvPr>
          <p:cNvSpPr>
            <a:spLocks noGrp="1"/>
          </p:cNvSpPr>
          <p:nvPr>
            <p:ph type="sldNum" sz="quarter" idx="12"/>
          </p:nvPr>
        </p:nvSpPr>
        <p:spPr/>
        <p:txBody>
          <a:bodyPr/>
          <a:lstStyle/>
          <a:p>
            <a:fld id="{E84006A6-0E15-460A-BCD4-002C20F8AC9F}" type="slidenum">
              <a:rPr lang="de-DE" smtClean="0"/>
              <a:pPr/>
              <a:t>55</a:t>
            </a:fld>
            <a:endParaRPr lang="de-DE"/>
          </a:p>
        </p:txBody>
      </p:sp>
      <p:sp>
        <p:nvSpPr>
          <p:cNvPr id="20" name="Inhaltsplatzhalter 19">
            <a:extLst>
              <a:ext uri="{FF2B5EF4-FFF2-40B4-BE49-F238E27FC236}">
                <a16:creationId xmlns:a16="http://schemas.microsoft.com/office/drawing/2014/main" id="{CEC9E129-8697-328E-2483-EC5A1FB83F4A}"/>
              </a:ext>
            </a:extLst>
          </p:cNvPr>
          <p:cNvSpPr>
            <a:spLocks noGrp="1"/>
          </p:cNvSpPr>
          <p:nvPr>
            <p:ph sz="quarter" idx="16"/>
          </p:nvPr>
        </p:nvSpPr>
        <p:spPr/>
        <p:txBody>
          <a:bodyPr/>
          <a:lstStyle/>
          <a:p>
            <a:pPr marL="0" indent="0">
              <a:buNone/>
            </a:pPr>
            <a:r>
              <a:rPr lang="de-DE" dirty="0"/>
              <a:t>Tabellen, Diagramme, Prozess- </a:t>
            </a:r>
            <a:br>
              <a:rPr lang="de-DE" dirty="0"/>
            </a:br>
            <a:r>
              <a:rPr lang="de-DE" dirty="0"/>
              <a:t>und </a:t>
            </a:r>
            <a:r>
              <a:rPr lang="de-DE" dirty="0" err="1"/>
              <a:t>Timelinedarstellung</a:t>
            </a:r>
            <a:r>
              <a:rPr lang="de-DE" dirty="0"/>
              <a:t>.</a:t>
            </a:r>
          </a:p>
        </p:txBody>
      </p:sp>
      <p:pic>
        <p:nvPicPr>
          <p:cNvPr id="21" name="Inhaltsplatzhalter 25">
            <a:extLst>
              <a:ext uri="{FF2B5EF4-FFF2-40B4-BE49-F238E27FC236}">
                <a16:creationId xmlns:a16="http://schemas.microsoft.com/office/drawing/2014/main" id="{1A0D87C4-22D1-7623-1973-0FCC83A87283}"/>
              </a:ext>
            </a:extLst>
          </p:cNvPr>
          <p:cNvPicPr>
            <a:picLocks noGrp="1" noChangeAspect="1"/>
          </p:cNvPicPr>
          <p:nvPr>
            <p:ph sz="quarter" idx="17"/>
          </p:nvPr>
        </p:nvPicPr>
        <p:blipFill rotWithShape="1">
          <a:blip r:embed="rId2">
            <a:extLst>
              <a:ext uri="{28A0092B-C50C-407E-A947-70E740481C1C}">
                <a14:useLocalDpi xmlns:a14="http://schemas.microsoft.com/office/drawing/2010/main"/>
              </a:ext>
            </a:extLst>
          </a:blip>
          <a:srcRect l="22216" r="22216"/>
          <a:stretch/>
        </p:blipFill>
        <p:spPr>
          <a:xfrm>
            <a:off x="6096000" y="765175"/>
            <a:ext cx="5580063" cy="5364159"/>
          </a:xfrm>
        </p:spPr>
      </p:pic>
    </p:spTree>
    <p:extLst>
      <p:ext uri="{BB962C8B-B14F-4D97-AF65-F5344CB8AC3E}">
        <p14:creationId xmlns:p14="http://schemas.microsoft.com/office/powerpoint/2010/main" val="42533173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4AAB15E5-0A79-3DCA-2335-2D8E3779C13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7962" b="7962"/>
          <a:stretch/>
        </p:blipFill>
        <p:spPr>
          <a:xfrm>
            <a:off x="-20" y="-3878"/>
            <a:ext cx="12192020" cy="6861878"/>
          </a:xfrm>
          <a:prstGeom prst="rect">
            <a:avLst/>
          </a:prstGeom>
        </p:spPr>
      </p:pic>
      <p:sp>
        <p:nvSpPr>
          <p:cNvPr id="10" name="Rechteck 9">
            <a:extLst>
              <a:ext uri="{FF2B5EF4-FFF2-40B4-BE49-F238E27FC236}">
                <a16:creationId xmlns:a16="http://schemas.microsoft.com/office/drawing/2014/main" id="{9859EB82-EE50-3456-74E9-07ADC0877BE8}"/>
              </a:ext>
            </a:extLst>
          </p:cNvPr>
          <p:cNvSpPr/>
          <p:nvPr/>
        </p:nvSpPr>
        <p:spPr>
          <a:xfrm>
            <a:off x="-20" y="-3878"/>
            <a:ext cx="8106052" cy="6858000"/>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itel 1">
            <a:extLst>
              <a:ext uri="{FF2B5EF4-FFF2-40B4-BE49-F238E27FC236}">
                <a16:creationId xmlns:a16="http://schemas.microsoft.com/office/drawing/2014/main" id="{43260E43-F948-CF04-185D-06CE01C94275}"/>
              </a:ext>
            </a:extLst>
          </p:cNvPr>
          <p:cNvSpPr txBox="1">
            <a:spLocks/>
          </p:cNvSpPr>
          <p:nvPr/>
        </p:nvSpPr>
        <p:spPr>
          <a:xfrm>
            <a:off x="515918" y="2299054"/>
            <a:ext cx="5574124" cy="2238935"/>
          </a:xfrm>
          <a:prstGeom prst="rect">
            <a:avLst/>
          </a:prstGeom>
        </p:spPr>
        <p:txBody>
          <a:bodyPr vert="horz" wrap="square" lIns="0" tIns="0" rIns="0" bIns="0" rtlCol="0" anchor="b" anchorCtr="0">
            <a:noAutofit/>
          </a:bodyPr>
          <a:lstStyle>
            <a:lvl1pPr algn="l" defTabSz="914400" rtl="0" eaLnBrk="1" latinLnBrk="0" hangingPunct="1">
              <a:spcBef>
                <a:spcPts val="0"/>
              </a:spcBef>
              <a:spcAft>
                <a:spcPts val="500"/>
              </a:spcAft>
              <a:buNone/>
              <a:defRPr sz="4400" b="1" kern="1200">
                <a:solidFill>
                  <a:schemeClr val="bg1"/>
                </a:solidFill>
                <a:latin typeface="+mj-lt"/>
                <a:ea typeface="+mj-ea"/>
                <a:cs typeface="+mj-cs"/>
              </a:defRPr>
            </a:lvl1pPr>
          </a:lstStyle>
          <a:p>
            <a:r>
              <a:rPr lang="de-DE" dirty="0"/>
              <a:t>Titelfolie</a:t>
            </a:r>
          </a:p>
        </p:txBody>
      </p:sp>
      <p:sp>
        <p:nvSpPr>
          <p:cNvPr id="12" name="Textplatzhalter 17">
            <a:extLst>
              <a:ext uri="{FF2B5EF4-FFF2-40B4-BE49-F238E27FC236}">
                <a16:creationId xmlns:a16="http://schemas.microsoft.com/office/drawing/2014/main" id="{E58C2096-54C1-47F2-AAF4-57D94EAF63C0}"/>
              </a:ext>
            </a:extLst>
          </p:cNvPr>
          <p:cNvSpPr txBox="1">
            <a:spLocks/>
          </p:cNvSpPr>
          <p:nvPr/>
        </p:nvSpPr>
        <p:spPr>
          <a:xfrm>
            <a:off x="515917" y="4626055"/>
            <a:ext cx="5580063" cy="1499400"/>
          </a:xfrm>
          <a:prstGeom prst="rect">
            <a:avLst/>
          </a:prstGeom>
        </p:spPr>
        <p:txBody>
          <a:bodyPr wrap="square" lIns="0" tIns="0" rIns="0" bIns="0">
            <a:noAutofit/>
          </a:bodyPr>
          <a:lstStyle>
            <a:lvl1pPr marL="0" indent="0" algn="l" defTabSz="914400" rtl="0" eaLnBrk="1" latinLnBrk="0" hangingPunct="1">
              <a:spcBef>
                <a:spcPts val="0"/>
              </a:spcBef>
              <a:spcAft>
                <a:spcPts val="500"/>
              </a:spcAft>
              <a:buFont typeface="Arial" panose="020B0604020202020204" pitchFamily="34" charset="0"/>
              <a:buNone/>
              <a:tabLst/>
              <a:defRPr sz="2000" kern="1200">
                <a:solidFill>
                  <a:schemeClr val="bg1"/>
                </a:solidFill>
                <a:latin typeface="+mn-lt"/>
                <a:ea typeface="+mn-ea"/>
                <a:cs typeface="+mn-cs"/>
              </a:defRPr>
            </a:lvl1pPr>
            <a:lvl2pPr marL="342000" indent="0" algn="l" defTabSz="914400" rtl="0" eaLnBrk="1" latinLnBrk="0" hangingPunct="1">
              <a:spcBef>
                <a:spcPts val="0"/>
              </a:spcBef>
              <a:spcAft>
                <a:spcPts val="500"/>
              </a:spcAft>
              <a:buFont typeface="Arial" panose="020B0604020202020204" pitchFamily="34" charset="0"/>
              <a:buNone/>
              <a:tabLst/>
              <a:defRPr sz="1400" kern="1200">
                <a:solidFill>
                  <a:schemeClr val="accent3"/>
                </a:solidFill>
                <a:latin typeface="+mn-lt"/>
                <a:ea typeface="+mn-ea"/>
                <a:cs typeface="+mn-cs"/>
              </a:defRPr>
            </a:lvl2pPr>
            <a:lvl3pPr marL="702000" indent="0" algn="l" defTabSz="914400" rtl="0" eaLnBrk="1" latinLnBrk="0" hangingPunct="1">
              <a:spcBef>
                <a:spcPts val="0"/>
              </a:spcBef>
              <a:spcAft>
                <a:spcPts val="500"/>
              </a:spcAft>
              <a:buFont typeface="Arial" panose="020B0604020202020204" pitchFamily="34" charset="0"/>
              <a:buNone/>
              <a:tabLst/>
              <a:defRPr sz="1400" kern="1200">
                <a:solidFill>
                  <a:schemeClr val="accent3"/>
                </a:solidFill>
                <a:latin typeface="+mn-lt"/>
                <a:ea typeface="+mn-ea"/>
                <a:cs typeface="+mn-cs"/>
              </a:defRPr>
            </a:lvl3pPr>
            <a:lvl4pPr marL="1062000" indent="0" algn="l" defTabSz="914400" rtl="0" eaLnBrk="1" latinLnBrk="0" hangingPunct="1">
              <a:spcBef>
                <a:spcPts val="0"/>
              </a:spcBef>
              <a:spcAft>
                <a:spcPts val="500"/>
              </a:spcAft>
              <a:buFont typeface="Arial" panose="020B0604020202020204" pitchFamily="34" charset="0"/>
              <a:buNone/>
              <a:tabLst/>
              <a:defRPr sz="1400" kern="1200">
                <a:solidFill>
                  <a:schemeClr val="accent3"/>
                </a:solidFill>
                <a:latin typeface="+mn-lt"/>
                <a:ea typeface="+mn-ea"/>
                <a:cs typeface="+mn-cs"/>
              </a:defRPr>
            </a:lvl4pPr>
            <a:lvl5pPr marL="1422000" indent="0" algn="l" defTabSz="914400" rtl="0" eaLnBrk="1" latinLnBrk="0" hangingPunct="1">
              <a:spcBef>
                <a:spcPts val="0"/>
              </a:spcBef>
              <a:spcAft>
                <a:spcPts val="500"/>
              </a:spcAft>
              <a:buFont typeface="Arial" panose="020B0604020202020204" pitchFamily="34" charset="0"/>
              <a:buNone/>
              <a:tabLst/>
              <a:defRPr sz="1400" kern="1200">
                <a:solidFill>
                  <a:schemeClr val="accent3"/>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Untertitel einfügen</a:t>
            </a:r>
          </a:p>
        </p:txBody>
      </p:sp>
      <p:cxnSp>
        <p:nvCxnSpPr>
          <p:cNvPr id="13" name="Gerade Verbindung 12">
            <a:extLst>
              <a:ext uri="{FF2B5EF4-FFF2-40B4-BE49-F238E27FC236}">
                <a16:creationId xmlns:a16="http://schemas.microsoft.com/office/drawing/2014/main" id="{DCA7BD12-EB17-DE3D-6818-BD172EFEC899}"/>
              </a:ext>
            </a:extLst>
          </p:cNvPr>
          <p:cNvCxnSpPr>
            <a:cxnSpLocks/>
          </p:cNvCxnSpPr>
          <p:nvPr/>
        </p:nvCxnSpPr>
        <p:spPr>
          <a:xfrm>
            <a:off x="515918" y="6339350"/>
            <a:ext cx="111601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8F9D8E4E-B08C-7091-8FF2-A3BF98A12E7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856" y="255692"/>
            <a:ext cx="1015670" cy="253918"/>
          </a:xfrm>
          <a:prstGeom prst="rect">
            <a:avLst/>
          </a:prstGeom>
        </p:spPr>
      </p:pic>
      <p:pic>
        <p:nvPicPr>
          <p:cNvPr id="15" name="Grafik 14">
            <a:extLst>
              <a:ext uri="{FF2B5EF4-FFF2-40B4-BE49-F238E27FC236}">
                <a16:creationId xmlns:a16="http://schemas.microsoft.com/office/drawing/2014/main" id="{06118FD6-E13C-A5DE-3C86-89B42681B5F6}"/>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7506" y="6466686"/>
            <a:ext cx="1263592" cy="137847"/>
          </a:xfrm>
          <a:prstGeom prst="rect">
            <a:avLst/>
          </a:prstGeom>
        </p:spPr>
      </p:pic>
      <p:sp>
        <p:nvSpPr>
          <p:cNvPr id="2" name="Datumsplatzhalter 1">
            <a:extLst>
              <a:ext uri="{FF2B5EF4-FFF2-40B4-BE49-F238E27FC236}">
                <a16:creationId xmlns:a16="http://schemas.microsoft.com/office/drawing/2014/main" id="{AF1A0F10-D6FF-AB60-EF5E-B5015326987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C75D09F1-BED9-252A-5D86-2CD08666AB47}"/>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9B0EF2F-DE6D-8BAD-DA65-E93973BB140A}"/>
              </a:ext>
            </a:extLst>
          </p:cNvPr>
          <p:cNvSpPr>
            <a:spLocks noGrp="1"/>
          </p:cNvSpPr>
          <p:nvPr>
            <p:ph type="sldNum" sz="quarter" idx="12"/>
          </p:nvPr>
        </p:nvSpPr>
        <p:spPr/>
        <p:txBody>
          <a:bodyPr/>
          <a:lstStyle/>
          <a:p>
            <a:fld id="{E84006A6-0E15-460A-BCD4-002C20F8AC9F}" type="slidenum">
              <a:rPr lang="de-DE" smtClean="0"/>
              <a:pPr/>
              <a:t>56</a:t>
            </a:fld>
            <a:endParaRPr lang="de-DE"/>
          </a:p>
        </p:txBody>
      </p:sp>
    </p:spTree>
    <p:extLst>
      <p:ext uri="{BB962C8B-B14F-4D97-AF65-F5344CB8AC3E}">
        <p14:creationId xmlns:p14="http://schemas.microsoft.com/office/powerpoint/2010/main" val="40183998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001D4DF-2DAE-F5E5-1C1E-E7EB90D11F1C}"/>
              </a:ext>
            </a:extLst>
          </p:cNvPr>
          <p:cNvSpPr/>
          <p:nvPr/>
        </p:nvSpPr>
        <p:spPr>
          <a:xfrm>
            <a:off x="5556250" y="0"/>
            <a:ext cx="6635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7">
            <a:extLst>
              <a:ext uri="{FF2B5EF4-FFF2-40B4-BE49-F238E27FC236}">
                <a16:creationId xmlns:a16="http://schemas.microsoft.com/office/drawing/2014/main" id="{AFB263BB-EE76-A363-2D43-A4C4A0E319CA}"/>
              </a:ext>
            </a:extLst>
          </p:cNvPr>
          <p:cNvCxnSpPr>
            <a:cxnSpLocks/>
          </p:cNvCxnSpPr>
          <p:nvPr/>
        </p:nvCxnSpPr>
        <p:spPr>
          <a:xfrm>
            <a:off x="5556250"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7B9103B7-2D8E-48F9-4291-F41D382DBB73}"/>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3D3B61E5-830F-509B-D6C4-19BFE266CB51}"/>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1C686F7E-4FF8-73C4-0FDF-AA09218C1ACC}"/>
              </a:ext>
            </a:extLst>
          </p:cNvPr>
          <p:cNvSpPr>
            <a:spLocks noGrp="1"/>
          </p:cNvSpPr>
          <p:nvPr>
            <p:ph type="sldNum" sz="quarter" idx="12"/>
          </p:nvPr>
        </p:nvSpPr>
        <p:spPr/>
        <p:txBody>
          <a:bodyPr/>
          <a:lstStyle/>
          <a:p>
            <a:fld id="{E84006A6-0E15-460A-BCD4-002C20F8AC9F}" type="slidenum">
              <a:rPr lang="de-DE" smtClean="0">
                <a:solidFill>
                  <a:schemeClr val="bg1"/>
                </a:solidFill>
              </a:rPr>
              <a:pPr/>
              <a:t>57</a:t>
            </a:fld>
            <a:endParaRPr lang="de-DE">
              <a:solidFill>
                <a:schemeClr val="bg1"/>
              </a:solidFill>
            </a:endParaRPr>
          </a:p>
        </p:txBody>
      </p:sp>
      <p:pic>
        <p:nvPicPr>
          <p:cNvPr id="9" name="Inhaltsplatzhalter 25">
            <a:extLst>
              <a:ext uri="{FF2B5EF4-FFF2-40B4-BE49-F238E27FC236}">
                <a16:creationId xmlns:a16="http://schemas.microsoft.com/office/drawing/2014/main" id="{52D9E260-10E0-498A-F07F-18EAE9D35C71}"/>
              </a:ext>
            </a:extLst>
          </p:cNvPr>
          <p:cNvPicPr>
            <a:picLocks noChangeAspect="1"/>
          </p:cNvPicPr>
          <p:nvPr/>
        </p:nvPicPr>
        <p:blipFill rotWithShape="1">
          <a:blip r:embed="rId2">
            <a:extLst>
              <a:ext uri="{28A0092B-C50C-407E-A947-70E740481C1C}">
                <a14:useLocalDpi xmlns:a14="http://schemas.microsoft.com/office/drawing/2010/main"/>
              </a:ext>
            </a:extLst>
          </a:blip>
          <a:srcRect l="19529" r="19529"/>
          <a:stretch/>
        </p:blipFill>
        <p:spPr>
          <a:xfrm>
            <a:off x="515938" y="765179"/>
            <a:ext cx="6119813" cy="5364159"/>
          </a:xfrm>
          <a:prstGeom prst="rect">
            <a:avLst/>
          </a:prstGeom>
        </p:spPr>
      </p:pic>
      <p:grpSp>
        <p:nvGrpSpPr>
          <p:cNvPr id="10" name="Gruppieren 9">
            <a:extLst>
              <a:ext uri="{FF2B5EF4-FFF2-40B4-BE49-F238E27FC236}">
                <a16:creationId xmlns:a16="http://schemas.microsoft.com/office/drawing/2014/main" id="{5AE1E179-5371-41E9-DC9B-E05FF8B250CE}"/>
              </a:ext>
            </a:extLst>
          </p:cNvPr>
          <p:cNvGrpSpPr/>
          <p:nvPr/>
        </p:nvGrpSpPr>
        <p:grpSpPr>
          <a:xfrm>
            <a:off x="7175500" y="765179"/>
            <a:ext cx="4500563" cy="5364158"/>
            <a:chOff x="777196" y="2605714"/>
            <a:chExt cx="2819829" cy="5364158"/>
          </a:xfrm>
        </p:grpSpPr>
        <p:sp>
          <p:nvSpPr>
            <p:cNvPr id="11" name="Textfeld 10">
              <a:extLst>
                <a:ext uri="{FF2B5EF4-FFF2-40B4-BE49-F238E27FC236}">
                  <a16:creationId xmlns:a16="http://schemas.microsoft.com/office/drawing/2014/main" id="{E7753E31-3537-D9F6-DFE6-8890A0ADDF94}"/>
                </a:ext>
              </a:extLst>
            </p:cNvPr>
            <p:cNvSpPr txBox="1"/>
            <p:nvPr/>
          </p:nvSpPr>
          <p:spPr>
            <a:xfrm>
              <a:off x="777196" y="2605714"/>
              <a:ext cx="2819829" cy="1107996"/>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arbige Text- und </a:t>
              </a:r>
              <a:b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b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Bildvorlage.</a:t>
              </a:r>
            </a:p>
          </p:txBody>
        </p:sp>
        <p:sp>
          <p:nvSpPr>
            <p:cNvPr id="12" name="Textfeld 11">
              <a:extLst>
                <a:ext uri="{FF2B5EF4-FFF2-40B4-BE49-F238E27FC236}">
                  <a16:creationId xmlns:a16="http://schemas.microsoft.com/office/drawing/2014/main" id="{42DC946C-8678-F06F-D1BC-5EBC290C673B}"/>
                </a:ext>
              </a:extLst>
            </p:cNvPr>
            <p:cNvSpPr txBox="1"/>
            <p:nvPr/>
          </p:nvSpPr>
          <p:spPr>
            <a:xfrm>
              <a:off x="777196" y="3832167"/>
              <a:ext cx="2819829" cy="4137705"/>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chemeClr val="bg1"/>
                </a:solidFill>
                <a:latin typeface="NeueHaasGroteskText Pro" panose="020B0504020202020204" pitchFamily="34" charset="77"/>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usce posuere, magna sed pulvinar ultricies, purus lectus malesuada libero, sit amet commodo magna eros quis urna. Nunc viverra imperdiet enim. Fusce est. Vivamus a tell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Pellentesque habitant morbi tristique senectus et netus et malesuada fames ac turpis egestas. Proin pharetra nonummy pede. Mauris et orci.</a:t>
              </a:r>
            </a:p>
          </p:txBody>
        </p:sp>
      </p:grpSp>
    </p:spTree>
    <p:extLst>
      <p:ext uri="{BB962C8B-B14F-4D97-AF65-F5344CB8AC3E}">
        <p14:creationId xmlns:p14="http://schemas.microsoft.com/office/powerpoint/2010/main" val="8463669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001D4DF-2DAE-F5E5-1C1E-E7EB90D11F1C}"/>
              </a:ext>
            </a:extLst>
          </p:cNvPr>
          <p:cNvSpPr/>
          <p:nvPr/>
        </p:nvSpPr>
        <p:spPr>
          <a:xfrm>
            <a:off x="5556250" y="0"/>
            <a:ext cx="66357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7">
            <a:extLst>
              <a:ext uri="{FF2B5EF4-FFF2-40B4-BE49-F238E27FC236}">
                <a16:creationId xmlns:a16="http://schemas.microsoft.com/office/drawing/2014/main" id="{AFB263BB-EE76-A363-2D43-A4C4A0E319CA}"/>
              </a:ext>
            </a:extLst>
          </p:cNvPr>
          <p:cNvCxnSpPr>
            <a:cxnSpLocks/>
          </p:cNvCxnSpPr>
          <p:nvPr/>
        </p:nvCxnSpPr>
        <p:spPr>
          <a:xfrm>
            <a:off x="5556250"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7B9103B7-2D8E-48F9-4291-F41D382DBB73}"/>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3D3B61E5-830F-509B-D6C4-19BFE266CB51}"/>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1C686F7E-4FF8-73C4-0FDF-AA09218C1ACC}"/>
              </a:ext>
            </a:extLst>
          </p:cNvPr>
          <p:cNvSpPr>
            <a:spLocks noGrp="1"/>
          </p:cNvSpPr>
          <p:nvPr>
            <p:ph type="sldNum" sz="quarter" idx="12"/>
          </p:nvPr>
        </p:nvSpPr>
        <p:spPr/>
        <p:txBody>
          <a:bodyPr/>
          <a:lstStyle/>
          <a:p>
            <a:fld id="{E84006A6-0E15-460A-BCD4-002C20F8AC9F}" type="slidenum">
              <a:rPr lang="de-DE" smtClean="0">
                <a:solidFill>
                  <a:schemeClr val="bg1"/>
                </a:solidFill>
              </a:rPr>
              <a:pPr/>
              <a:t>58</a:t>
            </a:fld>
            <a:endParaRPr lang="de-DE">
              <a:solidFill>
                <a:schemeClr val="bg1"/>
              </a:solidFill>
            </a:endParaRPr>
          </a:p>
        </p:txBody>
      </p:sp>
      <p:pic>
        <p:nvPicPr>
          <p:cNvPr id="9" name="Inhaltsplatzhalter 25">
            <a:extLst>
              <a:ext uri="{FF2B5EF4-FFF2-40B4-BE49-F238E27FC236}">
                <a16:creationId xmlns:a16="http://schemas.microsoft.com/office/drawing/2014/main" id="{52D9E260-10E0-498A-F07F-18EAE9D35C71}"/>
              </a:ext>
            </a:extLst>
          </p:cNvPr>
          <p:cNvPicPr>
            <a:picLocks noChangeAspect="1"/>
          </p:cNvPicPr>
          <p:nvPr/>
        </p:nvPicPr>
        <p:blipFill rotWithShape="1">
          <a:blip r:embed="rId2">
            <a:extLst>
              <a:ext uri="{28A0092B-C50C-407E-A947-70E740481C1C}">
                <a14:useLocalDpi xmlns:a14="http://schemas.microsoft.com/office/drawing/2010/main"/>
              </a:ext>
            </a:extLst>
          </a:blip>
          <a:srcRect l="19529" r="19529"/>
          <a:stretch/>
        </p:blipFill>
        <p:spPr>
          <a:xfrm>
            <a:off x="515938" y="765179"/>
            <a:ext cx="6119813" cy="5364159"/>
          </a:xfrm>
          <a:prstGeom prst="rect">
            <a:avLst/>
          </a:prstGeom>
        </p:spPr>
      </p:pic>
      <p:grpSp>
        <p:nvGrpSpPr>
          <p:cNvPr id="10" name="Gruppieren 9">
            <a:extLst>
              <a:ext uri="{FF2B5EF4-FFF2-40B4-BE49-F238E27FC236}">
                <a16:creationId xmlns:a16="http://schemas.microsoft.com/office/drawing/2014/main" id="{5AE1E179-5371-41E9-DC9B-E05FF8B250CE}"/>
              </a:ext>
            </a:extLst>
          </p:cNvPr>
          <p:cNvGrpSpPr/>
          <p:nvPr/>
        </p:nvGrpSpPr>
        <p:grpSpPr>
          <a:xfrm>
            <a:off x="7175500" y="765179"/>
            <a:ext cx="4500563" cy="5364158"/>
            <a:chOff x="777196" y="2605714"/>
            <a:chExt cx="2819829" cy="5364158"/>
          </a:xfrm>
        </p:grpSpPr>
        <p:sp>
          <p:nvSpPr>
            <p:cNvPr id="11" name="Textfeld 10">
              <a:extLst>
                <a:ext uri="{FF2B5EF4-FFF2-40B4-BE49-F238E27FC236}">
                  <a16:creationId xmlns:a16="http://schemas.microsoft.com/office/drawing/2014/main" id="{E7753E31-3537-D9F6-DFE6-8890A0ADDF94}"/>
                </a:ext>
              </a:extLst>
            </p:cNvPr>
            <p:cNvSpPr txBox="1"/>
            <p:nvPr/>
          </p:nvSpPr>
          <p:spPr>
            <a:xfrm>
              <a:off x="777196" y="2605714"/>
              <a:ext cx="2819829" cy="1107996"/>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arbige Text- und </a:t>
              </a:r>
              <a:b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b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Bildvorlage.</a:t>
              </a:r>
            </a:p>
          </p:txBody>
        </p:sp>
        <p:sp>
          <p:nvSpPr>
            <p:cNvPr id="12" name="Textfeld 11">
              <a:extLst>
                <a:ext uri="{FF2B5EF4-FFF2-40B4-BE49-F238E27FC236}">
                  <a16:creationId xmlns:a16="http://schemas.microsoft.com/office/drawing/2014/main" id="{42DC946C-8678-F06F-D1BC-5EBC290C673B}"/>
                </a:ext>
              </a:extLst>
            </p:cNvPr>
            <p:cNvSpPr txBox="1"/>
            <p:nvPr/>
          </p:nvSpPr>
          <p:spPr>
            <a:xfrm>
              <a:off x="777196" y="3832167"/>
              <a:ext cx="2819829" cy="4137705"/>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chemeClr val="bg1"/>
                </a:solidFill>
                <a:latin typeface="NeueHaasGroteskText Pro" panose="020B0504020202020204" pitchFamily="34" charset="77"/>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usce posuere, magna sed pulvinar ultricies, purus lectus malesuada libero, sit amet commodo magna eros quis urna. Nunc viverra imperdiet enim. Fusce est. Vivamus a tell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Pellentesque habitant morbi tristique senectus et netus et malesuada fames ac turpis egestas. Proin pharetra nonummy pede. Mauris et orci.</a:t>
              </a:r>
            </a:p>
          </p:txBody>
        </p:sp>
      </p:grpSp>
    </p:spTree>
    <p:extLst>
      <p:ext uri="{BB962C8B-B14F-4D97-AF65-F5344CB8AC3E}">
        <p14:creationId xmlns:p14="http://schemas.microsoft.com/office/powerpoint/2010/main" val="42710274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001D4DF-2DAE-F5E5-1C1E-E7EB90D11F1C}"/>
              </a:ext>
            </a:extLst>
          </p:cNvPr>
          <p:cNvSpPr/>
          <p:nvPr/>
        </p:nvSpPr>
        <p:spPr>
          <a:xfrm>
            <a:off x="5556250" y="0"/>
            <a:ext cx="66357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 name="Gerade Verbindung 7">
            <a:extLst>
              <a:ext uri="{FF2B5EF4-FFF2-40B4-BE49-F238E27FC236}">
                <a16:creationId xmlns:a16="http://schemas.microsoft.com/office/drawing/2014/main" id="{AFB263BB-EE76-A363-2D43-A4C4A0E319CA}"/>
              </a:ext>
            </a:extLst>
          </p:cNvPr>
          <p:cNvCxnSpPr>
            <a:cxnSpLocks/>
          </p:cNvCxnSpPr>
          <p:nvPr/>
        </p:nvCxnSpPr>
        <p:spPr>
          <a:xfrm>
            <a:off x="5556250" y="6343228"/>
            <a:ext cx="611981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7B9103B7-2D8E-48F9-4291-F41D382DBB73}"/>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3D3B61E5-830F-509B-D6C4-19BFE266CB51}"/>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1C686F7E-4FF8-73C4-0FDF-AA09218C1ACC}"/>
              </a:ext>
            </a:extLst>
          </p:cNvPr>
          <p:cNvSpPr>
            <a:spLocks noGrp="1"/>
          </p:cNvSpPr>
          <p:nvPr>
            <p:ph type="sldNum" sz="quarter" idx="12"/>
          </p:nvPr>
        </p:nvSpPr>
        <p:spPr/>
        <p:txBody>
          <a:bodyPr/>
          <a:lstStyle/>
          <a:p>
            <a:fld id="{E84006A6-0E15-460A-BCD4-002C20F8AC9F}" type="slidenum">
              <a:rPr lang="de-DE" smtClean="0">
                <a:solidFill>
                  <a:schemeClr val="bg1"/>
                </a:solidFill>
              </a:rPr>
              <a:pPr/>
              <a:t>59</a:t>
            </a:fld>
            <a:endParaRPr lang="de-DE">
              <a:solidFill>
                <a:schemeClr val="bg1"/>
              </a:solidFill>
            </a:endParaRPr>
          </a:p>
        </p:txBody>
      </p:sp>
      <p:pic>
        <p:nvPicPr>
          <p:cNvPr id="9" name="Inhaltsplatzhalter 25">
            <a:extLst>
              <a:ext uri="{FF2B5EF4-FFF2-40B4-BE49-F238E27FC236}">
                <a16:creationId xmlns:a16="http://schemas.microsoft.com/office/drawing/2014/main" id="{52D9E260-10E0-498A-F07F-18EAE9D35C71}"/>
              </a:ext>
            </a:extLst>
          </p:cNvPr>
          <p:cNvPicPr>
            <a:picLocks noChangeAspect="1"/>
          </p:cNvPicPr>
          <p:nvPr/>
        </p:nvPicPr>
        <p:blipFill rotWithShape="1">
          <a:blip r:embed="rId2">
            <a:extLst>
              <a:ext uri="{28A0092B-C50C-407E-A947-70E740481C1C}">
                <a14:useLocalDpi xmlns:a14="http://schemas.microsoft.com/office/drawing/2010/main"/>
              </a:ext>
            </a:extLst>
          </a:blip>
          <a:srcRect l="19529" r="19529"/>
          <a:stretch/>
        </p:blipFill>
        <p:spPr>
          <a:xfrm>
            <a:off x="515938" y="765179"/>
            <a:ext cx="6119813" cy="5364159"/>
          </a:xfrm>
          <a:prstGeom prst="rect">
            <a:avLst/>
          </a:prstGeom>
        </p:spPr>
      </p:pic>
      <p:grpSp>
        <p:nvGrpSpPr>
          <p:cNvPr id="10" name="Gruppieren 9">
            <a:extLst>
              <a:ext uri="{FF2B5EF4-FFF2-40B4-BE49-F238E27FC236}">
                <a16:creationId xmlns:a16="http://schemas.microsoft.com/office/drawing/2014/main" id="{5AE1E179-5371-41E9-DC9B-E05FF8B250CE}"/>
              </a:ext>
            </a:extLst>
          </p:cNvPr>
          <p:cNvGrpSpPr/>
          <p:nvPr/>
        </p:nvGrpSpPr>
        <p:grpSpPr>
          <a:xfrm>
            <a:off x="7175500" y="765179"/>
            <a:ext cx="4500563" cy="5364158"/>
            <a:chOff x="777196" y="2605714"/>
            <a:chExt cx="2819829" cy="5364158"/>
          </a:xfrm>
        </p:grpSpPr>
        <p:sp>
          <p:nvSpPr>
            <p:cNvPr id="11" name="Textfeld 10">
              <a:extLst>
                <a:ext uri="{FF2B5EF4-FFF2-40B4-BE49-F238E27FC236}">
                  <a16:creationId xmlns:a16="http://schemas.microsoft.com/office/drawing/2014/main" id="{E7753E31-3537-D9F6-DFE6-8890A0ADDF94}"/>
                </a:ext>
              </a:extLst>
            </p:cNvPr>
            <p:cNvSpPr txBox="1"/>
            <p:nvPr/>
          </p:nvSpPr>
          <p:spPr>
            <a:xfrm>
              <a:off x="777196" y="2605714"/>
              <a:ext cx="2819829" cy="1107996"/>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arbige Text- und </a:t>
              </a:r>
              <a:b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b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Bildvorlage.</a:t>
              </a:r>
            </a:p>
          </p:txBody>
        </p:sp>
        <p:sp>
          <p:nvSpPr>
            <p:cNvPr id="12" name="Textfeld 11">
              <a:extLst>
                <a:ext uri="{FF2B5EF4-FFF2-40B4-BE49-F238E27FC236}">
                  <a16:creationId xmlns:a16="http://schemas.microsoft.com/office/drawing/2014/main" id="{42DC946C-8678-F06F-D1BC-5EBC290C673B}"/>
                </a:ext>
              </a:extLst>
            </p:cNvPr>
            <p:cNvSpPr txBox="1"/>
            <p:nvPr/>
          </p:nvSpPr>
          <p:spPr>
            <a:xfrm>
              <a:off x="777196" y="3832167"/>
              <a:ext cx="2819829" cy="4137705"/>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chemeClr val="bg1"/>
                </a:solidFill>
                <a:latin typeface="NeueHaasGroteskText Pro" panose="020B0504020202020204" pitchFamily="34" charset="77"/>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Fusce posuere, magna sed pulvinar ultricies, purus lectus malesuada libero, sit amet commodo magna eros quis urna. Nunc viverra imperdiet enim. Fusce est. Vivamus a tell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Pellentesque habitant morbi tristique senectus et netus et malesuada fames ac turpis egestas. Proin pharetra nonummy pede. Mauris et orci.</a:t>
              </a:r>
            </a:p>
          </p:txBody>
        </p:sp>
      </p:grpSp>
    </p:spTree>
    <p:extLst>
      <p:ext uri="{BB962C8B-B14F-4D97-AF65-F5344CB8AC3E}">
        <p14:creationId xmlns:p14="http://schemas.microsoft.com/office/powerpoint/2010/main" val="223115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87E81AA-C6F0-94B6-FA6E-4451C7A950FA}"/>
              </a:ext>
            </a:extLst>
          </p:cNvPr>
          <p:cNvSpPr>
            <a:spLocks noGrp="1"/>
          </p:cNvSpPr>
          <p:nvPr>
            <p:ph type="dt" sz="half" idx="10"/>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8ED1445A-524F-3C6A-1BD8-35B662594541}"/>
              </a:ext>
            </a:extLst>
          </p:cNvPr>
          <p:cNvSpPr>
            <a:spLocks noGrp="1"/>
          </p:cNvSpPr>
          <p:nvPr>
            <p:ph type="ftr" sz="quarter" idx="11"/>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FE08C9E-6BC4-8EB1-1544-E33BD1C3EE19}"/>
              </a:ext>
            </a:extLst>
          </p:cNvPr>
          <p:cNvSpPr>
            <a:spLocks noGrp="1"/>
          </p:cNvSpPr>
          <p:nvPr>
            <p:ph type="sldNum" sz="quarter" idx="12"/>
          </p:nvPr>
        </p:nvSpPr>
        <p:spPr/>
        <p:txBody>
          <a:bodyPr/>
          <a:lstStyle/>
          <a:p>
            <a:fld id="{E84006A6-0E15-460A-BCD4-002C20F8AC9F}" type="slidenum">
              <a:rPr lang="de-DE" smtClean="0"/>
              <a:pPr/>
              <a:t>6</a:t>
            </a:fld>
            <a:endParaRPr lang="de-DE"/>
          </a:p>
        </p:txBody>
      </p:sp>
      <p:sp>
        <p:nvSpPr>
          <p:cNvPr id="7" name="Titel 6">
            <a:extLst>
              <a:ext uri="{FF2B5EF4-FFF2-40B4-BE49-F238E27FC236}">
                <a16:creationId xmlns:a16="http://schemas.microsoft.com/office/drawing/2014/main" id="{CDB621D8-F209-4C89-C7AD-2A8447AC1E83}"/>
              </a:ext>
            </a:extLst>
          </p:cNvPr>
          <p:cNvSpPr>
            <a:spLocks noGrp="1"/>
          </p:cNvSpPr>
          <p:nvPr>
            <p:ph type="title"/>
          </p:nvPr>
        </p:nvSpPr>
        <p:spPr/>
        <p:txBody>
          <a:bodyPr/>
          <a:lstStyle/>
          <a:p>
            <a:r>
              <a:rPr lang="de-DE" dirty="0"/>
              <a:t>Hier steht eine Headline.</a:t>
            </a:r>
            <a:br>
              <a:rPr lang="de-DE" dirty="0"/>
            </a:br>
            <a:r>
              <a:rPr lang="de-DE" dirty="0"/>
              <a:t>Hier steht eine Headline.</a:t>
            </a:r>
          </a:p>
        </p:txBody>
      </p:sp>
      <p:sp>
        <p:nvSpPr>
          <p:cNvPr id="2" name="Textplatzhalter 1">
            <a:extLst>
              <a:ext uri="{FF2B5EF4-FFF2-40B4-BE49-F238E27FC236}">
                <a16:creationId xmlns:a16="http://schemas.microsoft.com/office/drawing/2014/main" id="{B5F1F9E1-F816-1048-C1BC-44BF445B7A44}"/>
              </a:ext>
            </a:extLst>
          </p:cNvPr>
          <p:cNvSpPr>
            <a:spLocks noGrp="1"/>
          </p:cNvSpPr>
          <p:nvPr>
            <p:ph type="body" sz="quarter" idx="16"/>
          </p:nvPr>
        </p:nvSpPr>
        <p:spPr/>
        <p:txBody>
          <a:bodyPr/>
          <a:lstStyle/>
          <a:p>
            <a:r>
              <a:rPr lang="de-DE" dirty="0"/>
              <a:t>Hier steht eine optionale Headline.</a:t>
            </a:r>
          </a:p>
        </p:txBody>
      </p:sp>
    </p:spTree>
    <p:extLst>
      <p:ext uri="{BB962C8B-B14F-4D97-AF65-F5344CB8AC3E}">
        <p14:creationId xmlns:p14="http://schemas.microsoft.com/office/powerpoint/2010/main" val="41379475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7F02C594-6954-F3DA-C1D8-93D5278E7617}"/>
              </a:ext>
            </a:extLst>
          </p:cNvPr>
          <p:cNvSpPr/>
          <p:nvPr/>
        </p:nvSpPr>
        <p:spPr>
          <a:xfrm>
            <a:off x="0" y="0"/>
            <a:ext cx="6635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a:extLst>
              <a:ext uri="{FF2B5EF4-FFF2-40B4-BE49-F238E27FC236}">
                <a16:creationId xmlns:a16="http://schemas.microsoft.com/office/drawing/2014/main" id="{652CF2D3-694B-E23B-CA09-891DAAA93403}"/>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3E914A1A-CB15-AFDA-26B7-AFA35D600B4B}"/>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83F8C38D-67DD-7686-3EFA-786F7AD0AD21}"/>
              </a:ext>
            </a:extLst>
          </p:cNvPr>
          <p:cNvSpPr>
            <a:spLocks noGrp="1"/>
          </p:cNvSpPr>
          <p:nvPr>
            <p:ph type="sldNum" sz="quarter" idx="12"/>
          </p:nvPr>
        </p:nvSpPr>
        <p:spPr/>
        <p:txBody>
          <a:bodyPr/>
          <a:lstStyle/>
          <a:p>
            <a:fld id="{E84006A6-0E15-460A-BCD4-002C20F8AC9F}" type="slidenum">
              <a:rPr lang="de-DE" smtClean="0"/>
              <a:pPr/>
              <a:t>60</a:t>
            </a:fld>
            <a:endParaRPr lang="de-DE"/>
          </a:p>
        </p:txBody>
      </p:sp>
      <p:sp>
        <p:nvSpPr>
          <p:cNvPr id="6" name="Titel 4">
            <a:extLst>
              <a:ext uri="{FF2B5EF4-FFF2-40B4-BE49-F238E27FC236}">
                <a16:creationId xmlns:a16="http://schemas.microsoft.com/office/drawing/2014/main" id="{B92ABC71-C3C9-78B0-C64E-295C58F445F3}"/>
              </a:ext>
            </a:extLst>
          </p:cNvPr>
          <p:cNvSpPr txBox="1">
            <a:spLocks/>
          </p:cNvSpPr>
          <p:nvPr/>
        </p:nvSpPr>
        <p:spPr>
          <a:xfrm>
            <a:off x="527843" y="765175"/>
            <a:ext cx="5568157" cy="1243577"/>
          </a:xfrm>
          <a:prstGeom prst="rect">
            <a:avLst/>
          </a:prstGeom>
        </p:spPr>
        <p:txBody>
          <a:bodyPr vert="horz" wrap="square" lIns="0" tIns="0" rIns="0" bIns="0" rtlCol="0" anchor="b" anchorCtr="0">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de-DE" dirty="0"/>
              <a:t>Farbige Text- und Bildvorlage.</a:t>
            </a:r>
          </a:p>
        </p:txBody>
      </p:sp>
      <p:sp>
        <p:nvSpPr>
          <p:cNvPr id="7" name="Textplatzhalter 6">
            <a:extLst>
              <a:ext uri="{FF2B5EF4-FFF2-40B4-BE49-F238E27FC236}">
                <a16:creationId xmlns:a16="http://schemas.microsoft.com/office/drawing/2014/main" id="{E416C5A1-E59C-C1F8-C725-FE74435CA651}"/>
              </a:ext>
            </a:extLst>
          </p:cNvPr>
          <p:cNvSpPr txBox="1">
            <a:spLocks/>
          </p:cNvSpPr>
          <p:nvPr/>
        </p:nvSpPr>
        <p:spPr>
          <a:xfrm>
            <a:off x="7175500" y="1016862"/>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8" name="Textplatzhalter 17">
            <a:extLst>
              <a:ext uri="{FF2B5EF4-FFF2-40B4-BE49-F238E27FC236}">
                <a16:creationId xmlns:a16="http://schemas.microsoft.com/office/drawing/2014/main" id="{2032262F-1C0F-4D3A-9055-0B5C0164EBD3}"/>
              </a:ext>
            </a:extLst>
          </p:cNvPr>
          <p:cNvSpPr txBox="1">
            <a:spLocks/>
          </p:cNvSpPr>
          <p:nvPr/>
        </p:nvSpPr>
        <p:spPr>
          <a:xfrm>
            <a:off x="7175500" y="2294934"/>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9" name="Textplatzhalter 18">
            <a:extLst>
              <a:ext uri="{FF2B5EF4-FFF2-40B4-BE49-F238E27FC236}">
                <a16:creationId xmlns:a16="http://schemas.microsoft.com/office/drawing/2014/main" id="{527B6CD4-EAA4-4F5C-DB38-9F978BA6F665}"/>
              </a:ext>
            </a:extLst>
          </p:cNvPr>
          <p:cNvSpPr txBox="1">
            <a:spLocks/>
          </p:cNvSpPr>
          <p:nvPr/>
        </p:nvSpPr>
        <p:spPr>
          <a:xfrm>
            <a:off x="7175500" y="3573006"/>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10" name="Textplatzhalter 19">
            <a:extLst>
              <a:ext uri="{FF2B5EF4-FFF2-40B4-BE49-F238E27FC236}">
                <a16:creationId xmlns:a16="http://schemas.microsoft.com/office/drawing/2014/main" id="{486C217E-EB41-E279-F00F-990EC8B2E509}"/>
              </a:ext>
            </a:extLst>
          </p:cNvPr>
          <p:cNvSpPr txBox="1">
            <a:spLocks/>
          </p:cNvSpPr>
          <p:nvPr/>
        </p:nvSpPr>
        <p:spPr>
          <a:xfrm>
            <a:off x="7175500" y="4851077"/>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dirty="0">
                <a:solidFill>
                  <a:schemeClr val="tx1"/>
                </a:solidFill>
              </a:rPr>
              <a:t>Lorem ipsum dolor sit amet, consectetuer adipiscing elit. </a:t>
            </a:r>
          </a:p>
          <a:p>
            <a:pPr marL="0" indent="0">
              <a:buFont typeface="Arial" panose="020B0604020202020204" pitchFamily="34" charset="0"/>
              <a:buNone/>
            </a:pPr>
            <a:r>
              <a:rPr lang="de-DE" dirty="0"/>
              <a:t>Maecenas porttitor congue massa. Fusce posuere, magna sed pulvinar ultricies, purus lectus.</a:t>
            </a:r>
          </a:p>
        </p:txBody>
      </p:sp>
      <p:pic>
        <p:nvPicPr>
          <p:cNvPr id="11" name="Bildplatzhalter 11">
            <a:extLst>
              <a:ext uri="{FF2B5EF4-FFF2-40B4-BE49-F238E27FC236}">
                <a16:creationId xmlns:a16="http://schemas.microsoft.com/office/drawing/2014/main" id="{0BCD9DF1-288B-C9BF-8756-3C39B468F7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019" b="3019"/>
          <a:stretch/>
        </p:blipFill>
        <p:spPr>
          <a:xfrm>
            <a:off x="0" y="2294934"/>
            <a:ext cx="6096000" cy="3834404"/>
          </a:xfrm>
          <a:prstGeom prst="rect">
            <a:avLst/>
          </a:prstGeom>
        </p:spPr>
      </p:pic>
      <p:pic>
        <p:nvPicPr>
          <p:cNvPr id="13" name="Grafik 12">
            <a:extLst>
              <a:ext uri="{FF2B5EF4-FFF2-40B4-BE49-F238E27FC236}">
                <a16:creationId xmlns:a16="http://schemas.microsoft.com/office/drawing/2014/main" id="{2C414721-E3CB-3A93-BD91-65202651C35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876" y="259570"/>
            <a:ext cx="1015670" cy="253918"/>
          </a:xfrm>
          <a:prstGeom prst="rect">
            <a:avLst/>
          </a:prstGeom>
        </p:spPr>
      </p:pic>
    </p:spTree>
    <p:extLst>
      <p:ext uri="{BB962C8B-B14F-4D97-AF65-F5344CB8AC3E}">
        <p14:creationId xmlns:p14="http://schemas.microsoft.com/office/powerpoint/2010/main" val="27281097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7F02C594-6954-F3DA-C1D8-93D5278E7617}"/>
              </a:ext>
            </a:extLst>
          </p:cNvPr>
          <p:cNvSpPr/>
          <p:nvPr/>
        </p:nvSpPr>
        <p:spPr>
          <a:xfrm>
            <a:off x="0" y="0"/>
            <a:ext cx="663575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a:extLst>
              <a:ext uri="{FF2B5EF4-FFF2-40B4-BE49-F238E27FC236}">
                <a16:creationId xmlns:a16="http://schemas.microsoft.com/office/drawing/2014/main" id="{652CF2D3-694B-E23B-CA09-891DAAA93403}"/>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3E914A1A-CB15-AFDA-26B7-AFA35D600B4B}"/>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83F8C38D-67DD-7686-3EFA-786F7AD0AD21}"/>
              </a:ext>
            </a:extLst>
          </p:cNvPr>
          <p:cNvSpPr>
            <a:spLocks noGrp="1"/>
          </p:cNvSpPr>
          <p:nvPr>
            <p:ph type="sldNum" sz="quarter" idx="12"/>
          </p:nvPr>
        </p:nvSpPr>
        <p:spPr/>
        <p:txBody>
          <a:bodyPr/>
          <a:lstStyle/>
          <a:p>
            <a:fld id="{E84006A6-0E15-460A-BCD4-002C20F8AC9F}" type="slidenum">
              <a:rPr lang="de-DE" smtClean="0"/>
              <a:pPr/>
              <a:t>61</a:t>
            </a:fld>
            <a:endParaRPr lang="de-DE"/>
          </a:p>
        </p:txBody>
      </p:sp>
      <p:sp>
        <p:nvSpPr>
          <p:cNvPr id="6" name="Titel 4">
            <a:extLst>
              <a:ext uri="{FF2B5EF4-FFF2-40B4-BE49-F238E27FC236}">
                <a16:creationId xmlns:a16="http://schemas.microsoft.com/office/drawing/2014/main" id="{B92ABC71-C3C9-78B0-C64E-295C58F445F3}"/>
              </a:ext>
            </a:extLst>
          </p:cNvPr>
          <p:cNvSpPr txBox="1">
            <a:spLocks/>
          </p:cNvSpPr>
          <p:nvPr/>
        </p:nvSpPr>
        <p:spPr>
          <a:xfrm>
            <a:off x="527843" y="765175"/>
            <a:ext cx="5568157" cy="1243577"/>
          </a:xfrm>
          <a:prstGeom prst="rect">
            <a:avLst/>
          </a:prstGeom>
        </p:spPr>
        <p:txBody>
          <a:bodyPr vert="horz" wrap="square" lIns="0" tIns="0" rIns="0" bIns="0" rtlCol="0" anchor="b" anchorCtr="0">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de-DE" dirty="0"/>
              <a:t>Farbige Text- und Bildvorlage.</a:t>
            </a:r>
          </a:p>
        </p:txBody>
      </p:sp>
      <p:sp>
        <p:nvSpPr>
          <p:cNvPr id="7" name="Textplatzhalter 6">
            <a:extLst>
              <a:ext uri="{FF2B5EF4-FFF2-40B4-BE49-F238E27FC236}">
                <a16:creationId xmlns:a16="http://schemas.microsoft.com/office/drawing/2014/main" id="{E416C5A1-E59C-C1F8-C725-FE74435CA651}"/>
              </a:ext>
            </a:extLst>
          </p:cNvPr>
          <p:cNvSpPr txBox="1">
            <a:spLocks/>
          </p:cNvSpPr>
          <p:nvPr/>
        </p:nvSpPr>
        <p:spPr>
          <a:xfrm>
            <a:off x="7175500" y="1016862"/>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dirty="0">
                <a:solidFill>
                  <a:schemeClr val="tx1"/>
                </a:solidFill>
              </a:rPr>
              <a:t>Lorem ipsum dolor sit amet, consectetuer adipiscing elit. </a:t>
            </a:r>
          </a:p>
          <a:p>
            <a:pPr marL="0" indent="0">
              <a:buFont typeface="Arial" panose="020B0604020202020204" pitchFamily="34" charset="0"/>
              <a:buNone/>
            </a:pPr>
            <a:r>
              <a:rPr lang="de-DE" dirty="0"/>
              <a:t>Maecenas porttitor congue massa. Fusce posuere, magna sed pulvinar ultricies, purus lectus.</a:t>
            </a:r>
          </a:p>
        </p:txBody>
      </p:sp>
      <p:sp>
        <p:nvSpPr>
          <p:cNvPr id="8" name="Textplatzhalter 17">
            <a:extLst>
              <a:ext uri="{FF2B5EF4-FFF2-40B4-BE49-F238E27FC236}">
                <a16:creationId xmlns:a16="http://schemas.microsoft.com/office/drawing/2014/main" id="{2032262F-1C0F-4D3A-9055-0B5C0164EBD3}"/>
              </a:ext>
            </a:extLst>
          </p:cNvPr>
          <p:cNvSpPr txBox="1">
            <a:spLocks/>
          </p:cNvSpPr>
          <p:nvPr/>
        </p:nvSpPr>
        <p:spPr>
          <a:xfrm>
            <a:off x="7175500" y="2294934"/>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9" name="Textplatzhalter 18">
            <a:extLst>
              <a:ext uri="{FF2B5EF4-FFF2-40B4-BE49-F238E27FC236}">
                <a16:creationId xmlns:a16="http://schemas.microsoft.com/office/drawing/2014/main" id="{527B6CD4-EAA4-4F5C-DB38-9F978BA6F665}"/>
              </a:ext>
            </a:extLst>
          </p:cNvPr>
          <p:cNvSpPr txBox="1">
            <a:spLocks/>
          </p:cNvSpPr>
          <p:nvPr/>
        </p:nvSpPr>
        <p:spPr>
          <a:xfrm>
            <a:off x="7175500" y="3573006"/>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10" name="Textplatzhalter 19">
            <a:extLst>
              <a:ext uri="{FF2B5EF4-FFF2-40B4-BE49-F238E27FC236}">
                <a16:creationId xmlns:a16="http://schemas.microsoft.com/office/drawing/2014/main" id="{486C217E-EB41-E279-F00F-990EC8B2E509}"/>
              </a:ext>
            </a:extLst>
          </p:cNvPr>
          <p:cNvSpPr txBox="1">
            <a:spLocks/>
          </p:cNvSpPr>
          <p:nvPr/>
        </p:nvSpPr>
        <p:spPr>
          <a:xfrm>
            <a:off x="7175500" y="4851077"/>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dirty="0">
                <a:solidFill>
                  <a:schemeClr val="tx1"/>
                </a:solidFill>
              </a:rPr>
              <a:t>Lorem ipsum dolor sit amet, consectetuer adipiscing elit. </a:t>
            </a:r>
          </a:p>
          <a:p>
            <a:pPr marL="0" indent="0">
              <a:buFont typeface="Arial" panose="020B0604020202020204" pitchFamily="34" charset="0"/>
              <a:buNone/>
            </a:pPr>
            <a:r>
              <a:rPr lang="de-DE" dirty="0"/>
              <a:t>Maecenas porttitor congue massa. Fusce posuere, magna sed pulvinar ultricies, purus lectus.</a:t>
            </a:r>
          </a:p>
        </p:txBody>
      </p:sp>
      <p:pic>
        <p:nvPicPr>
          <p:cNvPr id="11" name="Bildplatzhalter 11">
            <a:extLst>
              <a:ext uri="{FF2B5EF4-FFF2-40B4-BE49-F238E27FC236}">
                <a16:creationId xmlns:a16="http://schemas.microsoft.com/office/drawing/2014/main" id="{0BCD9DF1-288B-C9BF-8756-3C39B468F7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019" b="3019"/>
          <a:stretch/>
        </p:blipFill>
        <p:spPr>
          <a:xfrm>
            <a:off x="0" y="2294934"/>
            <a:ext cx="6096000" cy="3834404"/>
          </a:xfrm>
          <a:prstGeom prst="rect">
            <a:avLst/>
          </a:prstGeom>
        </p:spPr>
      </p:pic>
      <p:pic>
        <p:nvPicPr>
          <p:cNvPr id="13" name="Grafik 12">
            <a:extLst>
              <a:ext uri="{FF2B5EF4-FFF2-40B4-BE49-F238E27FC236}">
                <a16:creationId xmlns:a16="http://schemas.microsoft.com/office/drawing/2014/main" id="{2C414721-E3CB-3A93-BD91-65202651C35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876" y="259570"/>
            <a:ext cx="1015670" cy="253918"/>
          </a:xfrm>
          <a:prstGeom prst="rect">
            <a:avLst/>
          </a:prstGeom>
        </p:spPr>
      </p:pic>
    </p:spTree>
    <p:extLst>
      <p:ext uri="{BB962C8B-B14F-4D97-AF65-F5344CB8AC3E}">
        <p14:creationId xmlns:p14="http://schemas.microsoft.com/office/powerpoint/2010/main" val="34920978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7F02C594-6954-F3DA-C1D8-93D5278E7617}"/>
              </a:ext>
            </a:extLst>
          </p:cNvPr>
          <p:cNvSpPr/>
          <p:nvPr/>
        </p:nvSpPr>
        <p:spPr>
          <a:xfrm>
            <a:off x="0" y="0"/>
            <a:ext cx="663575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a:extLst>
              <a:ext uri="{FF2B5EF4-FFF2-40B4-BE49-F238E27FC236}">
                <a16:creationId xmlns:a16="http://schemas.microsoft.com/office/drawing/2014/main" id="{652CF2D3-694B-E23B-CA09-891DAAA93403}"/>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3E914A1A-CB15-AFDA-26B7-AFA35D600B4B}"/>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83F8C38D-67DD-7686-3EFA-786F7AD0AD21}"/>
              </a:ext>
            </a:extLst>
          </p:cNvPr>
          <p:cNvSpPr>
            <a:spLocks noGrp="1"/>
          </p:cNvSpPr>
          <p:nvPr>
            <p:ph type="sldNum" sz="quarter" idx="12"/>
          </p:nvPr>
        </p:nvSpPr>
        <p:spPr/>
        <p:txBody>
          <a:bodyPr/>
          <a:lstStyle/>
          <a:p>
            <a:fld id="{E84006A6-0E15-460A-BCD4-002C20F8AC9F}" type="slidenum">
              <a:rPr lang="de-DE" smtClean="0"/>
              <a:pPr/>
              <a:t>62</a:t>
            </a:fld>
            <a:endParaRPr lang="de-DE"/>
          </a:p>
        </p:txBody>
      </p:sp>
      <p:sp>
        <p:nvSpPr>
          <p:cNvPr id="6" name="Titel 4">
            <a:extLst>
              <a:ext uri="{FF2B5EF4-FFF2-40B4-BE49-F238E27FC236}">
                <a16:creationId xmlns:a16="http://schemas.microsoft.com/office/drawing/2014/main" id="{B92ABC71-C3C9-78B0-C64E-295C58F445F3}"/>
              </a:ext>
            </a:extLst>
          </p:cNvPr>
          <p:cNvSpPr txBox="1">
            <a:spLocks/>
          </p:cNvSpPr>
          <p:nvPr/>
        </p:nvSpPr>
        <p:spPr>
          <a:xfrm>
            <a:off x="527843" y="765175"/>
            <a:ext cx="5568157" cy="1243577"/>
          </a:xfrm>
          <a:prstGeom prst="rect">
            <a:avLst/>
          </a:prstGeom>
        </p:spPr>
        <p:txBody>
          <a:bodyPr vert="horz" wrap="square" lIns="0" tIns="0" rIns="0" bIns="0" rtlCol="0" anchor="b" anchorCtr="0">
            <a:noAutofit/>
          </a:bodyPr>
          <a:lstStyle>
            <a:lvl1pPr algn="l" defTabSz="914400" rtl="0" eaLnBrk="1" latinLnBrk="0" hangingPunct="1">
              <a:spcBef>
                <a:spcPct val="0"/>
              </a:spcBef>
              <a:buNone/>
              <a:defRPr sz="2400" b="1" kern="1200">
                <a:solidFill>
                  <a:schemeClr val="bg1"/>
                </a:solidFill>
                <a:latin typeface="+mj-lt"/>
                <a:ea typeface="+mj-ea"/>
                <a:cs typeface="+mj-cs"/>
              </a:defRPr>
            </a:lvl1pPr>
          </a:lstStyle>
          <a:p>
            <a:r>
              <a:rPr lang="de-DE" dirty="0"/>
              <a:t>Farbige Text- und Bildvorlage.</a:t>
            </a:r>
          </a:p>
        </p:txBody>
      </p:sp>
      <p:sp>
        <p:nvSpPr>
          <p:cNvPr id="7" name="Textplatzhalter 6">
            <a:extLst>
              <a:ext uri="{FF2B5EF4-FFF2-40B4-BE49-F238E27FC236}">
                <a16:creationId xmlns:a16="http://schemas.microsoft.com/office/drawing/2014/main" id="{E416C5A1-E59C-C1F8-C725-FE74435CA651}"/>
              </a:ext>
            </a:extLst>
          </p:cNvPr>
          <p:cNvSpPr txBox="1">
            <a:spLocks/>
          </p:cNvSpPr>
          <p:nvPr/>
        </p:nvSpPr>
        <p:spPr>
          <a:xfrm>
            <a:off x="7175500" y="1016862"/>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8" name="Textplatzhalter 17">
            <a:extLst>
              <a:ext uri="{FF2B5EF4-FFF2-40B4-BE49-F238E27FC236}">
                <a16:creationId xmlns:a16="http://schemas.microsoft.com/office/drawing/2014/main" id="{2032262F-1C0F-4D3A-9055-0B5C0164EBD3}"/>
              </a:ext>
            </a:extLst>
          </p:cNvPr>
          <p:cNvSpPr txBox="1">
            <a:spLocks/>
          </p:cNvSpPr>
          <p:nvPr/>
        </p:nvSpPr>
        <p:spPr>
          <a:xfrm>
            <a:off x="7175500" y="2294934"/>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9" name="Textplatzhalter 18">
            <a:extLst>
              <a:ext uri="{FF2B5EF4-FFF2-40B4-BE49-F238E27FC236}">
                <a16:creationId xmlns:a16="http://schemas.microsoft.com/office/drawing/2014/main" id="{527B6CD4-EAA4-4F5C-DB38-9F978BA6F665}"/>
              </a:ext>
            </a:extLst>
          </p:cNvPr>
          <p:cNvSpPr txBox="1">
            <a:spLocks/>
          </p:cNvSpPr>
          <p:nvPr/>
        </p:nvSpPr>
        <p:spPr>
          <a:xfrm>
            <a:off x="7175500" y="3573006"/>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a:solidFill>
                  <a:schemeClr val="tx1"/>
                </a:solidFill>
              </a:rPr>
              <a:t>Lorem ipsum dolor sit amet, consectetuer adipiscing elit. </a:t>
            </a:r>
          </a:p>
          <a:p>
            <a:pPr marL="0" indent="0">
              <a:buFont typeface="Arial" panose="020B0604020202020204" pitchFamily="34" charset="0"/>
              <a:buNone/>
            </a:pPr>
            <a:r>
              <a:rPr lang="de-DE"/>
              <a:t>Maecenas porttitor congue massa. Fusce posuere, magna sed pulvinar ultricies, purus lectus.</a:t>
            </a:r>
            <a:endParaRPr lang="de-DE" dirty="0"/>
          </a:p>
        </p:txBody>
      </p:sp>
      <p:sp>
        <p:nvSpPr>
          <p:cNvPr id="10" name="Textplatzhalter 19">
            <a:extLst>
              <a:ext uri="{FF2B5EF4-FFF2-40B4-BE49-F238E27FC236}">
                <a16:creationId xmlns:a16="http://schemas.microsoft.com/office/drawing/2014/main" id="{486C217E-EB41-E279-F00F-990EC8B2E509}"/>
              </a:ext>
            </a:extLst>
          </p:cNvPr>
          <p:cNvSpPr txBox="1">
            <a:spLocks/>
          </p:cNvSpPr>
          <p:nvPr/>
        </p:nvSpPr>
        <p:spPr>
          <a:xfrm>
            <a:off x="7175500" y="4851077"/>
            <a:ext cx="4500563" cy="1020500"/>
          </a:xfrm>
          <a:prstGeom prst="rect">
            <a:avLst/>
          </a:prstGeom>
        </p:spPr>
        <p:txBody>
          <a:bodyPr vert="horz" lIns="0" tIns="0" rIns="0" bIns="0" rtlCol="0" anchor="t" anchorCtr="0">
            <a:no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de-DE" b="1" dirty="0">
                <a:solidFill>
                  <a:schemeClr val="tx1"/>
                </a:solidFill>
              </a:rPr>
              <a:t>Lorem ipsum dolor sit amet, consectetuer adipiscing elit. </a:t>
            </a:r>
          </a:p>
          <a:p>
            <a:pPr marL="0" indent="0">
              <a:buFont typeface="Arial" panose="020B0604020202020204" pitchFamily="34" charset="0"/>
              <a:buNone/>
            </a:pPr>
            <a:r>
              <a:rPr lang="de-DE" dirty="0"/>
              <a:t>Maecenas porttitor congue massa. Fusce posuere, magna sed pulvinar ultricies, purus lectus.</a:t>
            </a:r>
          </a:p>
        </p:txBody>
      </p:sp>
      <p:pic>
        <p:nvPicPr>
          <p:cNvPr id="11" name="Bildplatzhalter 11">
            <a:extLst>
              <a:ext uri="{FF2B5EF4-FFF2-40B4-BE49-F238E27FC236}">
                <a16:creationId xmlns:a16="http://schemas.microsoft.com/office/drawing/2014/main" id="{0BCD9DF1-288B-C9BF-8756-3C39B468F72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019" b="3019"/>
          <a:stretch/>
        </p:blipFill>
        <p:spPr>
          <a:xfrm>
            <a:off x="0" y="2294934"/>
            <a:ext cx="6096000" cy="3834404"/>
          </a:xfrm>
          <a:prstGeom prst="rect">
            <a:avLst/>
          </a:prstGeom>
        </p:spPr>
      </p:pic>
      <p:pic>
        <p:nvPicPr>
          <p:cNvPr id="13" name="Grafik 12">
            <a:extLst>
              <a:ext uri="{FF2B5EF4-FFF2-40B4-BE49-F238E27FC236}">
                <a16:creationId xmlns:a16="http://schemas.microsoft.com/office/drawing/2014/main" id="{2C414721-E3CB-3A93-BD91-65202651C35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876" y="259570"/>
            <a:ext cx="1015670" cy="253918"/>
          </a:xfrm>
          <a:prstGeom prst="rect">
            <a:avLst/>
          </a:prstGeom>
        </p:spPr>
      </p:pic>
    </p:spTree>
    <p:extLst>
      <p:ext uri="{BB962C8B-B14F-4D97-AF65-F5344CB8AC3E}">
        <p14:creationId xmlns:p14="http://schemas.microsoft.com/office/powerpoint/2010/main" val="11735193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2497387-45D8-CC59-FAD9-25261B12BCA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DAF20B9-76A3-66C8-E038-09703BCA0A60}"/>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E473D338-0DC9-B9E6-1BC5-DCCA1E67449A}"/>
              </a:ext>
            </a:extLst>
          </p:cNvPr>
          <p:cNvSpPr>
            <a:spLocks noGrp="1"/>
          </p:cNvSpPr>
          <p:nvPr>
            <p:ph type="sldNum" sz="quarter" idx="12"/>
          </p:nvPr>
        </p:nvSpPr>
        <p:spPr/>
        <p:txBody>
          <a:bodyPr/>
          <a:lstStyle/>
          <a:p>
            <a:fld id="{E84006A6-0E15-460A-BCD4-002C20F8AC9F}" type="slidenum">
              <a:rPr lang="de-DE" smtClean="0"/>
              <a:pPr/>
              <a:t>63</a:t>
            </a:fld>
            <a:endParaRPr lang="de-DE"/>
          </a:p>
        </p:txBody>
      </p:sp>
      <p:sp>
        <p:nvSpPr>
          <p:cNvPr id="5" name="Titel 4">
            <a:extLst>
              <a:ext uri="{FF2B5EF4-FFF2-40B4-BE49-F238E27FC236}">
                <a16:creationId xmlns:a16="http://schemas.microsoft.com/office/drawing/2014/main" id="{E003CA30-1B55-F563-F5B7-7C03AC4C3200}"/>
              </a:ext>
            </a:extLst>
          </p:cNvPr>
          <p:cNvSpPr>
            <a:spLocks noGrp="1"/>
          </p:cNvSpPr>
          <p:nvPr>
            <p:ph type="title"/>
          </p:nvPr>
        </p:nvSpPr>
        <p:spPr/>
        <p:txBody>
          <a:bodyPr/>
          <a:lstStyle/>
          <a:p>
            <a:r>
              <a:rPr lang="de-DE" dirty="0"/>
              <a:t>Tabelle / Roadmap</a:t>
            </a:r>
          </a:p>
        </p:txBody>
      </p:sp>
      <p:graphicFrame>
        <p:nvGraphicFramePr>
          <p:cNvPr id="6" name="Tabelle 5">
            <a:extLst>
              <a:ext uri="{FF2B5EF4-FFF2-40B4-BE49-F238E27FC236}">
                <a16:creationId xmlns:a16="http://schemas.microsoft.com/office/drawing/2014/main" id="{DC34702D-7637-C018-7BCF-F87AC86CD18F}"/>
              </a:ext>
            </a:extLst>
          </p:cNvPr>
          <p:cNvGraphicFramePr>
            <a:graphicFrameLocks noGrp="1"/>
          </p:cNvGraphicFramePr>
          <p:nvPr>
            <p:extLst>
              <p:ext uri="{D42A27DB-BD31-4B8C-83A1-F6EECF244321}">
                <p14:modId xmlns:p14="http://schemas.microsoft.com/office/powerpoint/2010/main" val="1466793082"/>
              </p:ext>
            </p:extLst>
          </p:nvPr>
        </p:nvGraphicFramePr>
        <p:xfrm>
          <a:off x="515938" y="2060574"/>
          <a:ext cx="11160035" cy="4068764"/>
        </p:xfrm>
        <a:graphic>
          <a:graphicData uri="http://schemas.openxmlformats.org/drawingml/2006/table">
            <a:tbl>
              <a:tblPr firstRow="1" bandRow="1">
                <a:tableStyleId>{5C22544A-7EE6-4342-B048-85BDC9FD1C3A}</a:tableStyleId>
              </a:tblPr>
              <a:tblGrid>
                <a:gridCol w="2015525">
                  <a:extLst>
                    <a:ext uri="{9D8B030D-6E8A-4147-A177-3AD203B41FA5}">
                      <a16:colId xmlns:a16="http://schemas.microsoft.com/office/drawing/2014/main" val="1988524863"/>
                    </a:ext>
                  </a:extLst>
                </a:gridCol>
                <a:gridCol w="1828902">
                  <a:extLst>
                    <a:ext uri="{9D8B030D-6E8A-4147-A177-3AD203B41FA5}">
                      <a16:colId xmlns:a16="http://schemas.microsoft.com/office/drawing/2014/main" val="4046739158"/>
                    </a:ext>
                  </a:extLst>
                </a:gridCol>
                <a:gridCol w="1828902">
                  <a:extLst>
                    <a:ext uri="{9D8B030D-6E8A-4147-A177-3AD203B41FA5}">
                      <a16:colId xmlns:a16="http://schemas.microsoft.com/office/drawing/2014/main" val="2599051929"/>
                    </a:ext>
                  </a:extLst>
                </a:gridCol>
                <a:gridCol w="1828902">
                  <a:extLst>
                    <a:ext uri="{9D8B030D-6E8A-4147-A177-3AD203B41FA5}">
                      <a16:colId xmlns:a16="http://schemas.microsoft.com/office/drawing/2014/main" val="1739179415"/>
                    </a:ext>
                  </a:extLst>
                </a:gridCol>
                <a:gridCol w="1828902">
                  <a:extLst>
                    <a:ext uri="{9D8B030D-6E8A-4147-A177-3AD203B41FA5}">
                      <a16:colId xmlns:a16="http://schemas.microsoft.com/office/drawing/2014/main" val="3480441564"/>
                    </a:ext>
                  </a:extLst>
                </a:gridCol>
                <a:gridCol w="1828902">
                  <a:extLst>
                    <a:ext uri="{9D8B030D-6E8A-4147-A177-3AD203B41FA5}">
                      <a16:colId xmlns:a16="http://schemas.microsoft.com/office/drawing/2014/main" val="2674847201"/>
                    </a:ext>
                  </a:extLst>
                </a:gridCol>
              </a:tblGrid>
              <a:tr h="369558">
                <a:tc rowSpan="2">
                  <a:txBody>
                    <a:bodyPr/>
                    <a:lstStyle/>
                    <a:p>
                      <a:pPr algn="l"/>
                      <a:endParaRPr lang="de-DE" sz="1400" b="0" i="0" dirty="0">
                        <a:solidFill>
                          <a:schemeClr val="tx1"/>
                        </a:solidFill>
                        <a:latin typeface="+mn-lt"/>
                      </a:endParaRPr>
                    </a:p>
                  </a:txBody>
                  <a:tcPr marL="144000" marR="0" marT="0" marB="0"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a:r>
                        <a:rPr lang="de-DE" sz="1400" b="1" i="0" dirty="0">
                          <a:solidFill>
                            <a:schemeClr val="bg1"/>
                          </a:solidFill>
                          <a:latin typeface="+mn-lt"/>
                        </a:rPr>
                        <a:t>Monat/Jahr</a:t>
                      </a:r>
                    </a:p>
                  </a:txBody>
                  <a:tcPr marL="72000" marR="0" marT="0" marB="0"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pPr algn="ctr"/>
                      <a:endParaRPr lang="de-DE" sz="1400"/>
                    </a:p>
                  </a:txBody>
                  <a:tcPr anchor="ctr"/>
                </a:tc>
                <a:extLst>
                  <a:ext uri="{0D108BD9-81ED-4DB2-BD59-A6C34878D82A}">
                    <a16:rowId xmlns:a16="http://schemas.microsoft.com/office/drawing/2014/main" val="3627836370"/>
                  </a:ext>
                </a:extLst>
              </a:tr>
              <a:tr h="369558">
                <a:tc vMerge="1">
                  <a:txBody>
                    <a:bodyPr/>
                    <a:lstStyle/>
                    <a:p>
                      <a:endParaRPr lang="de-DE"/>
                    </a:p>
                  </a:txBody>
                  <a:tcPr/>
                </a:tc>
                <a:tc>
                  <a:txBody>
                    <a:bodyPr/>
                    <a:lstStyle/>
                    <a:p>
                      <a:pPr algn="ctr"/>
                      <a:r>
                        <a:rPr lang="de-DE" sz="1400" b="1" i="0" dirty="0">
                          <a:solidFill>
                            <a:schemeClr val="tx1"/>
                          </a:solidFill>
                          <a:latin typeface="+mn-lt"/>
                        </a:rPr>
                        <a:t>Datum</a:t>
                      </a:r>
                    </a:p>
                  </a:txBody>
                  <a:tcPr marL="0" marR="0" marT="0" marB="0" anchor="b">
                    <a:lnL w="381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400" b="1" i="0" dirty="0">
                          <a:solidFill>
                            <a:schemeClr val="tx1"/>
                          </a:solidFill>
                          <a:latin typeface="+mn-lt"/>
                        </a:rPr>
                        <a:t>Datum</a:t>
                      </a:r>
                    </a:p>
                  </a:txBody>
                  <a:tcPr marL="0" marR="0" marT="0" marB="0" anchor="b">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400" b="1" i="0" dirty="0">
                          <a:solidFill>
                            <a:schemeClr val="tx1"/>
                          </a:solidFill>
                          <a:latin typeface="+mn-lt"/>
                        </a:rPr>
                        <a:t>Datum</a:t>
                      </a:r>
                    </a:p>
                  </a:txBody>
                  <a:tcPr marL="0" marR="0" marT="0" marB="0" anchor="b">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400" b="1" i="0" dirty="0">
                          <a:solidFill>
                            <a:schemeClr val="tx1"/>
                          </a:solidFill>
                          <a:latin typeface="+mn-lt"/>
                        </a:rPr>
                        <a:t>Datum</a:t>
                      </a:r>
                    </a:p>
                  </a:txBody>
                  <a:tcPr marL="0" marR="0" marT="0" marB="0" anchor="b">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400" b="1" i="0" dirty="0">
                          <a:solidFill>
                            <a:schemeClr val="tx1"/>
                          </a:solidFill>
                          <a:latin typeface="+mn-lt"/>
                        </a:rPr>
                        <a:t>Datum</a:t>
                      </a:r>
                    </a:p>
                  </a:txBody>
                  <a:tcPr marL="0" marR="0" marT="0" marB="0" anchor="b">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433588"/>
                  </a:ext>
                </a:extLst>
              </a:tr>
              <a:tr h="6357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solidFill>
                            <a:schemeClr val="tx1"/>
                          </a:solidFill>
                          <a:latin typeface="+mn-lt"/>
                        </a:rPr>
                        <a:t>Information</a:t>
                      </a:r>
                    </a:p>
                  </a:txBody>
                  <a:tcPr marL="14400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mn-lt"/>
                        </a:rPr>
                        <a:t>Information</a:t>
                      </a:r>
                    </a:p>
                  </a:txBody>
                  <a:tcPr marL="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mn-lt"/>
                        </a:rPr>
                        <a:t>Information</a:t>
                      </a:r>
                    </a:p>
                  </a:txBody>
                  <a:tcPr marL="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mn-lt"/>
                        </a:rPr>
                        <a:t>Information</a:t>
                      </a:r>
                    </a:p>
                  </a:txBody>
                  <a:tcPr marL="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mn-lt"/>
                        </a:rPr>
                        <a:t>Information</a:t>
                      </a:r>
                    </a:p>
                  </a:txBody>
                  <a:tcPr marL="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mn-lt"/>
                        </a:rPr>
                        <a:t>Information</a:t>
                      </a:r>
                    </a:p>
                  </a:txBody>
                  <a:tcPr marL="0" marR="0" marT="36000" marB="0"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3396838"/>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accent1"/>
                          </a:solidFill>
                          <a:latin typeface="NeueHaasGroteskText Pro" panose="020B0504020202020204" pitchFamily="34" charset="77"/>
                        </a:rPr>
                        <a:t>●</a:t>
                      </a:r>
                    </a:p>
                  </a:txBody>
                  <a:tcPr marL="0" marR="0" marT="0" marB="2520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accent1"/>
                          </a:solidFill>
                          <a:latin typeface="NeueHaasGroteskText Pro" panose="020B0504020202020204" pitchFamily="34" charset="77"/>
                        </a:rPr>
                        <a:t>●</a:t>
                      </a:r>
                    </a:p>
                  </a:txBody>
                  <a:tcPr marL="0" marR="0" marT="0" marB="2520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952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2126820"/>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64854616"/>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accent1"/>
                        </a:solidFill>
                        <a:latin typeface="NeueHaasGroteskText Pro" panose="020B0504020202020204" pitchFamily="34" charset="77"/>
                      </a:endParaRP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accent1"/>
                        </a:solidFill>
                        <a:latin typeface="NeueHaasGroteskText Pro" panose="020B0504020202020204" pitchFamily="34" charset="77"/>
                      </a:endParaRP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9258680"/>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accent1"/>
                        </a:solidFill>
                        <a:latin typeface="NeueHaasGroteskText Pro" panose="020B0504020202020204" pitchFamily="34" charset="77"/>
                      </a:endParaRP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accent1"/>
                        </a:solidFill>
                        <a:latin typeface="NeueHaasGroteskText Pro" panose="020B0504020202020204" pitchFamily="34" charset="77"/>
                      </a:endParaRP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solidFill>
                            <a:schemeClr val="accent1"/>
                          </a:solidFill>
                          <a:latin typeface="NeueHaasGroteskText Pro" panose="020B0504020202020204" pitchFamily="34" charset="77"/>
                        </a:rPr>
                        <a:t>13</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2046596"/>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1080627"/>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9608294"/>
                  </a:ext>
                </a:extLst>
              </a:tr>
              <a:tr h="384836">
                <a:tc>
                  <a:txBody>
                    <a:bodyPr/>
                    <a:lstStyle/>
                    <a:p>
                      <a:pPr algn="l"/>
                      <a:r>
                        <a:rPr lang="en-US" sz="1400" b="1" i="0" dirty="0">
                          <a:solidFill>
                            <a:schemeClr val="tx1"/>
                          </a:solidFill>
                          <a:latin typeface="+mn-lt"/>
                        </a:rPr>
                        <a:t>Details</a:t>
                      </a:r>
                    </a:p>
                  </a:txBody>
                  <a:tcPr marL="144000"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a:solidFill>
                            <a:schemeClr val="accent1"/>
                          </a:solidFill>
                          <a:latin typeface="NeueHaasGroteskText Pro" panose="020B0504020202020204" pitchFamily="34" charset="77"/>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a:t>
                      </a:r>
                    </a:p>
                  </a:txBody>
                  <a:tcPr marL="0" marR="0" marT="0" marB="2520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5953690"/>
                  </a:ext>
                </a:extLst>
              </a:tr>
            </a:tbl>
          </a:graphicData>
        </a:graphic>
      </p:graphicFrame>
    </p:spTree>
    <p:extLst>
      <p:ext uri="{BB962C8B-B14F-4D97-AF65-F5344CB8AC3E}">
        <p14:creationId xmlns:p14="http://schemas.microsoft.com/office/powerpoint/2010/main" val="37775163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2497387-45D8-CC59-FAD9-25261B12BCA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DAF20B9-76A3-66C8-E038-09703BCA0A60}"/>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E473D338-0DC9-B9E6-1BC5-DCCA1E67449A}"/>
              </a:ext>
            </a:extLst>
          </p:cNvPr>
          <p:cNvSpPr>
            <a:spLocks noGrp="1"/>
          </p:cNvSpPr>
          <p:nvPr>
            <p:ph type="sldNum" sz="quarter" idx="12"/>
          </p:nvPr>
        </p:nvSpPr>
        <p:spPr/>
        <p:txBody>
          <a:bodyPr/>
          <a:lstStyle/>
          <a:p>
            <a:fld id="{E84006A6-0E15-460A-BCD4-002C20F8AC9F}" type="slidenum">
              <a:rPr lang="de-DE" smtClean="0"/>
              <a:pPr/>
              <a:t>64</a:t>
            </a:fld>
            <a:endParaRPr lang="de-DE"/>
          </a:p>
        </p:txBody>
      </p:sp>
      <p:sp>
        <p:nvSpPr>
          <p:cNvPr id="5" name="Titel 4">
            <a:extLst>
              <a:ext uri="{FF2B5EF4-FFF2-40B4-BE49-F238E27FC236}">
                <a16:creationId xmlns:a16="http://schemas.microsoft.com/office/drawing/2014/main" id="{E003CA30-1B55-F563-F5B7-7C03AC4C3200}"/>
              </a:ext>
            </a:extLst>
          </p:cNvPr>
          <p:cNvSpPr>
            <a:spLocks noGrp="1"/>
          </p:cNvSpPr>
          <p:nvPr>
            <p:ph type="title"/>
          </p:nvPr>
        </p:nvSpPr>
        <p:spPr/>
        <p:txBody>
          <a:bodyPr/>
          <a:lstStyle/>
          <a:p>
            <a:r>
              <a:rPr lang="de-DE" dirty="0"/>
              <a:t>Tabelle / Roadmap</a:t>
            </a:r>
          </a:p>
        </p:txBody>
      </p:sp>
      <p:graphicFrame>
        <p:nvGraphicFramePr>
          <p:cNvPr id="7" name="Tabelle 6">
            <a:extLst>
              <a:ext uri="{FF2B5EF4-FFF2-40B4-BE49-F238E27FC236}">
                <a16:creationId xmlns:a16="http://schemas.microsoft.com/office/drawing/2014/main" id="{458EA54B-EE9D-387E-61BD-DAE0CD60392F}"/>
              </a:ext>
            </a:extLst>
          </p:cNvPr>
          <p:cNvGraphicFramePr>
            <a:graphicFrameLocks noGrp="1"/>
          </p:cNvGraphicFramePr>
          <p:nvPr>
            <p:extLst>
              <p:ext uri="{D42A27DB-BD31-4B8C-83A1-F6EECF244321}">
                <p14:modId xmlns:p14="http://schemas.microsoft.com/office/powerpoint/2010/main" val="1616283777"/>
              </p:ext>
            </p:extLst>
          </p:nvPr>
        </p:nvGraphicFramePr>
        <p:xfrm>
          <a:off x="515938" y="1773238"/>
          <a:ext cx="11160034" cy="4356096"/>
        </p:xfrm>
        <a:graphic>
          <a:graphicData uri="http://schemas.openxmlformats.org/drawingml/2006/table">
            <a:tbl>
              <a:tblPr firstRow="1" bandRow="1">
                <a:tableStyleId>{5C22544A-7EE6-4342-B048-85BDC9FD1C3A}</a:tableStyleId>
              </a:tblPr>
              <a:tblGrid>
                <a:gridCol w="1731730">
                  <a:extLst>
                    <a:ext uri="{9D8B030D-6E8A-4147-A177-3AD203B41FA5}">
                      <a16:colId xmlns:a16="http://schemas.microsoft.com/office/drawing/2014/main" val="1988524863"/>
                    </a:ext>
                  </a:extLst>
                </a:gridCol>
                <a:gridCol w="1571384">
                  <a:extLst>
                    <a:ext uri="{9D8B030D-6E8A-4147-A177-3AD203B41FA5}">
                      <a16:colId xmlns:a16="http://schemas.microsoft.com/office/drawing/2014/main" val="4046739158"/>
                    </a:ext>
                  </a:extLst>
                </a:gridCol>
                <a:gridCol w="1571384">
                  <a:extLst>
                    <a:ext uri="{9D8B030D-6E8A-4147-A177-3AD203B41FA5}">
                      <a16:colId xmlns:a16="http://schemas.microsoft.com/office/drawing/2014/main" val="2599051929"/>
                    </a:ext>
                  </a:extLst>
                </a:gridCol>
                <a:gridCol w="1571384">
                  <a:extLst>
                    <a:ext uri="{9D8B030D-6E8A-4147-A177-3AD203B41FA5}">
                      <a16:colId xmlns:a16="http://schemas.microsoft.com/office/drawing/2014/main" val="1739179415"/>
                    </a:ext>
                  </a:extLst>
                </a:gridCol>
                <a:gridCol w="1571384">
                  <a:extLst>
                    <a:ext uri="{9D8B030D-6E8A-4147-A177-3AD203B41FA5}">
                      <a16:colId xmlns:a16="http://schemas.microsoft.com/office/drawing/2014/main" val="3480441564"/>
                    </a:ext>
                  </a:extLst>
                </a:gridCol>
                <a:gridCol w="1571384">
                  <a:extLst>
                    <a:ext uri="{9D8B030D-6E8A-4147-A177-3AD203B41FA5}">
                      <a16:colId xmlns:a16="http://schemas.microsoft.com/office/drawing/2014/main" val="2490715504"/>
                    </a:ext>
                  </a:extLst>
                </a:gridCol>
                <a:gridCol w="1571384">
                  <a:extLst>
                    <a:ext uri="{9D8B030D-6E8A-4147-A177-3AD203B41FA5}">
                      <a16:colId xmlns:a16="http://schemas.microsoft.com/office/drawing/2014/main" val="2674847201"/>
                    </a:ext>
                  </a:extLst>
                </a:gridCol>
              </a:tblGrid>
              <a:tr h="420976">
                <a:tc>
                  <a:txBody>
                    <a:bodyPr/>
                    <a:lstStyle/>
                    <a:p>
                      <a:endParaRPr lang="de-DE"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e-DE" sz="1400" b="1" i="0" dirty="0">
                          <a:solidFill>
                            <a:schemeClr val="bg1"/>
                          </a:solidFill>
                          <a:latin typeface="+mn-lt"/>
                        </a:rPr>
                        <a:t>Monat</a:t>
                      </a:r>
                    </a:p>
                  </a:txBody>
                  <a:tcPr marL="0" marR="0" marT="0" marB="0" anchor="ctr">
                    <a:lnL w="12700" cmpd="sng">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de-DE" sz="1400" b="1" i="0" dirty="0">
                          <a:solidFill>
                            <a:schemeClr val="bg1"/>
                          </a:solidFill>
                          <a:latin typeface="+mn-lt"/>
                        </a:rPr>
                        <a:t>Mon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de-DE" sz="1400" b="1" i="0" dirty="0">
                          <a:solidFill>
                            <a:schemeClr val="bg1"/>
                          </a:solidFill>
                          <a:latin typeface="+mn-lt"/>
                        </a:rPr>
                        <a:t>Mon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de-DE" sz="1400" b="1" i="0" dirty="0">
                          <a:solidFill>
                            <a:schemeClr val="bg1"/>
                          </a:solidFill>
                          <a:latin typeface="+mn-lt"/>
                        </a:rPr>
                        <a:t>Mon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de-DE" sz="1400" b="1" i="0" dirty="0">
                          <a:solidFill>
                            <a:schemeClr val="bg1"/>
                          </a:solidFill>
                          <a:latin typeface="+mn-lt"/>
                        </a:rPr>
                        <a:t>Mon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de-DE" sz="1400" b="1" i="0" dirty="0">
                          <a:solidFill>
                            <a:schemeClr val="bg1"/>
                          </a:solidFill>
                          <a:latin typeface="+mn-lt"/>
                        </a:rPr>
                        <a:t>Monat</a:t>
                      </a:r>
                    </a:p>
                  </a:txBody>
                  <a:tcPr marL="0" marR="0" marT="0" marB="0" anchor="ctr">
                    <a:lnL w="12700"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674433588"/>
                  </a:ext>
                </a:extLst>
              </a:tr>
              <a:tr h="393512">
                <a:tc>
                  <a:txBody>
                    <a:bodyPr/>
                    <a:lstStyle/>
                    <a:p>
                      <a:pPr algn="l"/>
                      <a:endParaRPr lang="en-US" sz="1400" b="1" i="0" dirty="0">
                        <a:solidFill>
                          <a:schemeClr val="tx1"/>
                        </a:solidFill>
                        <a:latin typeface="+mn-lt"/>
                      </a:endParaRPr>
                    </a:p>
                  </a:txBody>
                  <a:tcPr marL="144000" marR="0" marT="0" marB="0" anchor="ctr">
                    <a:lnL w="12700" cmpd="sng">
                      <a:noFill/>
                    </a:lnL>
                    <a:lnR w="9525" cap="flat" cmpd="sng" algn="ctr">
                      <a:no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Information</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Information</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latin typeface="NeueHaasGroteskText Pro" panose="020B0504020202020204" pitchFamily="34" charset="77"/>
                        </a:rPr>
                        <a:t>Informatio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latin typeface="NeueHaasGroteskText Pro" panose="020B0504020202020204" pitchFamily="34" charset="77"/>
                        </a:rPr>
                        <a:t>Informatio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latin typeface="NeueHaasGroteskText Pro" panose="020B0504020202020204" pitchFamily="34" charset="77"/>
                        </a:rPr>
                        <a:t>Informatio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solidFill>
                            <a:schemeClr val="tx1"/>
                          </a:solidFill>
                          <a:latin typeface="NeueHaasGroteskText Pro" panose="020B0504020202020204" pitchFamily="34" charset="77"/>
                        </a:rPr>
                        <a:t>Informatio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212682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Ja</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err="1">
                          <a:solidFill>
                            <a:schemeClr val="tx1"/>
                          </a:solidFill>
                          <a:latin typeface="NeueHaasGroteskText Pro" panose="020B0504020202020204" pitchFamily="34" charset="77"/>
                        </a:rPr>
                        <a:t>Nein</a:t>
                      </a: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Nei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64854616"/>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k.A</a:t>
                      </a: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2925868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62046596"/>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1080627"/>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15%</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10%</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5%</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23%</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22%</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k.A</a:t>
                      </a: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9608294"/>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595369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19869117"/>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Instagram</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Facebook</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Website</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Website</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Instagram</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5611501"/>
                  </a:ext>
                </a:extLst>
              </a:tr>
              <a:tr h="3935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101</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32</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12</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500</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420</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i="0" dirty="0">
                          <a:solidFill>
                            <a:schemeClr val="tx1"/>
                          </a:solidFill>
                          <a:latin typeface="NeueHaasGroteskText Pro" panose="020B0504020202020204" pitchFamily="34" charset="77"/>
                        </a:rPr>
                        <a:t>247</a:t>
                      </a:r>
                    </a:p>
                  </a:txBody>
                  <a:tcPr marL="0" marR="0" marT="0" marB="252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88076185"/>
                  </a:ext>
                </a:extLst>
              </a:tr>
            </a:tbl>
          </a:graphicData>
        </a:graphic>
      </p:graphicFrame>
    </p:spTree>
    <p:extLst>
      <p:ext uri="{BB962C8B-B14F-4D97-AF65-F5344CB8AC3E}">
        <p14:creationId xmlns:p14="http://schemas.microsoft.com/office/powerpoint/2010/main" val="31482682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2497387-45D8-CC59-FAD9-25261B12BCA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DAF20B9-76A3-66C8-E038-09703BCA0A60}"/>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E473D338-0DC9-B9E6-1BC5-DCCA1E67449A}"/>
              </a:ext>
            </a:extLst>
          </p:cNvPr>
          <p:cNvSpPr>
            <a:spLocks noGrp="1"/>
          </p:cNvSpPr>
          <p:nvPr>
            <p:ph type="sldNum" sz="quarter" idx="12"/>
          </p:nvPr>
        </p:nvSpPr>
        <p:spPr/>
        <p:txBody>
          <a:bodyPr/>
          <a:lstStyle/>
          <a:p>
            <a:fld id="{E84006A6-0E15-460A-BCD4-002C20F8AC9F}" type="slidenum">
              <a:rPr lang="de-DE" smtClean="0"/>
              <a:pPr/>
              <a:t>65</a:t>
            </a:fld>
            <a:endParaRPr lang="de-DE"/>
          </a:p>
        </p:txBody>
      </p:sp>
      <p:sp>
        <p:nvSpPr>
          <p:cNvPr id="5" name="Titel 4">
            <a:extLst>
              <a:ext uri="{FF2B5EF4-FFF2-40B4-BE49-F238E27FC236}">
                <a16:creationId xmlns:a16="http://schemas.microsoft.com/office/drawing/2014/main" id="{E003CA30-1B55-F563-F5B7-7C03AC4C3200}"/>
              </a:ext>
            </a:extLst>
          </p:cNvPr>
          <p:cNvSpPr>
            <a:spLocks noGrp="1"/>
          </p:cNvSpPr>
          <p:nvPr>
            <p:ph type="title"/>
          </p:nvPr>
        </p:nvSpPr>
        <p:spPr/>
        <p:txBody>
          <a:bodyPr/>
          <a:lstStyle/>
          <a:p>
            <a:r>
              <a:rPr lang="de-DE" dirty="0"/>
              <a:t>Tabelle / Roadmap</a:t>
            </a:r>
          </a:p>
        </p:txBody>
      </p:sp>
      <p:graphicFrame>
        <p:nvGraphicFramePr>
          <p:cNvPr id="6" name="Tabelle 5">
            <a:extLst>
              <a:ext uri="{FF2B5EF4-FFF2-40B4-BE49-F238E27FC236}">
                <a16:creationId xmlns:a16="http://schemas.microsoft.com/office/drawing/2014/main" id="{6EE870C5-0486-CF8D-47A2-5FD78C8985FC}"/>
              </a:ext>
            </a:extLst>
          </p:cNvPr>
          <p:cNvGraphicFramePr>
            <a:graphicFrameLocks noGrp="1"/>
          </p:cNvGraphicFramePr>
          <p:nvPr>
            <p:extLst>
              <p:ext uri="{D42A27DB-BD31-4B8C-83A1-F6EECF244321}">
                <p14:modId xmlns:p14="http://schemas.microsoft.com/office/powerpoint/2010/main" val="2215314365"/>
              </p:ext>
            </p:extLst>
          </p:nvPr>
        </p:nvGraphicFramePr>
        <p:xfrm>
          <a:off x="515938" y="1773238"/>
          <a:ext cx="11160034" cy="4356096"/>
        </p:xfrm>
        <a:graphic>
          <a:graphicData uri="http://schemas.openxmlformats.org/drawingml/2006/table">
            <a:tbl>
              <a:tblPr firstRow="1" bandRow="1">
                <a:tableStyleId>{5C22544A-7EE6-4342-B048-85BDC9FD1C3A}</a:tableStyleId>
              </a:tblPr>
              <a:tblGrid>
                <a:gridCol w="1731730">
                  <a:extLst>
                    <a:ext uri="{9D8B030D-6E8A-4147-A177-3AD203B41FA5}">
                      <a16:colId xmlns:a16="http://schemas.microsoft.com/office/drawing/2014/main" val="1988524863"/>
                    </a:ext>
                  </a:extLst>
                </a:gridCol>
                <a:gridCol w="1571384">
                  <a:extLst>
                    <a:ext uri="{9D8B030D-6E8A-4147-A177-3AD203B41FA5}">
                      <a16:colId xmlns:a16="http://schemas.microsoft.com/office/drawing/2014/main" val="4046739158"/>
                    </a:ext>
                  </a:extLst>
                </a:gridCol>
                <a:gridCol w="1571384">
                  <a:extLst>
                    <a:ext uri="{9D8B030D-6E8A-4147-A177-3AD203B41FA5}">
                      <a16:colId xmlns:a16="http://schemas.microsoft.com/office/drawing/2014/main" val="2599051929"/>
                    </a:ext>
                  </a:extLst>
                </a:gridCol>
                <a:gridCol w="1571384">
                  <a:extLst>
                    <a:ext uri="{9D8B030D-6E8A-4147-A177-3AD203B41FA5}">
                      <a16:colId xmlns:a16="http://schemas.microsoft.com/office/drawing/2014/main" val="1739179415"/>
                    </a:ext>
                  </a:extLst>
                </a:gridCol>
                <a:gridCol w="1571384">
                  <a:extLst>
                    <a:ext uri="{9D8B030D-6E8A-4147-A177-3AD203B41FA5}">
                      <a16:colId xmlns:a16="http://schemas.microsoft.com/office/drawing/2014/main" val="3480441564"/>
                    </a:ext>
                  </a:extLst>
                </a:gridCol>
                <a:gridCol w="1571384">
                  <a:extLst>
                    <a:ext uri="{9D8B030D-6E8A-4147-A177-3AD203B41FA5}">
                      <a16:colId xmlns:a16="http://schemas.microsoft.com/office/drawing/2014/main" val="2490715504"/>
                    </a:ext>
                  </a:extLst>
                </a:gridCol>
                <a:gridCol w="1571384">
                  <a:extLst>
                    <a:ext uri="{9D8B030D-6E8A-4147-A177-3AD203B41FA5}">
                      <a16:colId xmlns:a16="http://schemas.microsoft.com/office/drawing/2014/main" val="2674847201"/>
                    </a:ext>
                  </a:extLst>
                </a:gridCol>
              </a:tblGrid>
              <a:tr h="420976">
                <a:tc>
                  <a:txBody>
                    <a:bodyPr/>
                    <a:lstStyle/>
                    <a:p>
                      <a:endParaRPr lang="de-DE" sz="1400"/>
                    </a:p>
                  </a:txBody>
                  <a:tcPr anchor="ctr">
                    <a:no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de-DE" sz="1400" b="1" i="0" dirty="0" err="1">
                          <a:solidFill>
                            <a:schemeClr val="bg1"/>
                          </a:solidFill>
                          <a:latin typeface="+mn-lt"/>
                        </a:rPr>
                        <a:t>Lorem</a:t>
                      </a:r>
                      <a:endParaRPr lang="de-DE" sz="1400" b="1" i="0" dirty="0">
                        <a:solidFill>
                          <a:schemeClr val="bg1"/>
                        </a:solidFill>
                        <a:latin typeface="+mn-lt"/>
                      </a:endParaRPr>
                    </a:p>
                  </a:txBody>
                  <a:tcPr marL="0" marR="0" marT="0" marB="0" anchor="ctr">
                    <a:lnL w="12700" cap="flat" cmpd="sng" algn="ctr">
                      <a:solidFill>
                        <a:schemeClr val="bg1"/>
                      </a:solid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74433588"/>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23</a:t>
                      </a: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22</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12</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15</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34</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22</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212682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Ja</a:t>
                      </a: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err="1">
                          <a:solidFill>
                            <a:schemeClr val="tx1"/>
                          </a:solidFill>
                          <a:latin typeface="NeueHaasGroteskText Pro" panose="020B0504020202020204" pitchFamily="34" charset="77"/>
                        </a:rPr>
                        <a:t>Nein</a:t>
                      </a: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Nein</a:t>
                      </a: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Ja</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4854616"/>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k.A</a:t>
                      </a: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25868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2046596"/>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1080627"/>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5%</a:t>
                      </a: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0%</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5%</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23%</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22%</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chemeClr val="tx1"/>
                          </a:solidFill>
                          <a:effectLst/>
                          <a:uLnTx/>
                          <a:uFillTx/>
                          <a:latin typeface="NeueHaasGroteskText Pro" panose="020B0504020202020204" pitchFamily="34" charset="77"/>
                          <a:ea typeface="+mn-ea"/>
                          <a:cs typeface="Arial"/>
                        </a:rPr>
                        <a:t>k.A</a:t>
                      </a:r>
                      <a:r>
                        <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rPr>
                        <a:t>.</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608294"/>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5953690"/>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i="0" dirty="0">
                        <a:solidFill>
                          <a:schemeClr val="tx1"/>
                        </a:solidFill>
                        <a:latin typeface="NeueHaasGroteskText Pro" panose="020B0504020202020204" pitchFamily="34" charset="77"/>
                      </a:endParaRP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NeueHaasGroteskText Pro" panose="020B0504020202020204" pitchFamily="34" charset="77"/>
                        <a:ea typeface="+mn-ea"/>
                        <a:cs typeface="Arial"/>
                      </a:endParaRP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9869117"/>
                  </a:ext>
                </a:extLst>
              </a:tr>
              <a:tr h="393512">
                <a:tc>
                  <a:txBody>
                    <a:bodyPr/>
                    <a:lstStyle/>
                    <a:p>
                      <a:pPr algn="l"/>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Instagram</a:t>
                      </a: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err="1">
                          <a:solidFill>
                            <a:schemeClr val="tx1"/>
                          </a:solidFill>
                          <a:latin typeface="NeueHaasGroteskText Pro" panose="020B0504020202020204" pitchFamily="34" charset="77"/>
                        </a:rPr>
                        <a:t>k.A</a:t>
                      </a:r>
                      <a:r>
                        <a:rPr lang="en-US" sz="1400" b="0" i="0" dirty="0">
                          <a:solidFill>
                            <a:schemeClr val="tx1"/>
                          </a:solidFill>
                          <a:latin typeface="NeueHaasGroteskText Pro" panose="020B0504020202020204" pitchFamily="34" charset="77"/>
                        </a:rPr>
                        <a:t>.</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Facebook</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Website</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Website</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Instagram</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611501"/>
                  </a:ext>
                </a:extLst>
              </a:tr>
              <a:tr h="3935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solidFill>
                            <a:schemeClr val="tx1"/>
                          </a:solidFill>
                          <a:latin typeface="+mn-lt"/>
                        </a:rPr>
                        <a:t>Details</a:t>
                      </a:r>
                    </a:p>
                  </a:txBody>
                  <a:tcPr marL="144000" marR="0" marT="0" marB="0" anchor="ctr">
                    <a:lnL w="12700" cmpd="sng">
                      <a:noFill/>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01</a:t>
                      </a:r>
                    </a:p>
                  </a:txBody>
                  <a:tcPr marL="0" marR="0" marT="0" marB="25200" anchor="ctr">
                    <a:lnL w="9525" cap="flat" cmpd="sng" algn="ctr">
                      <a:no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32</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12</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500</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420</a:t>
                      </a:r>
                    </a:p>
                  </a:txBody>
                  <a:tcPr marL="0" marR="0" marT="0" marB="25200" anchor="ctr">
                    <a:lnL w="9525" cap="flat" cmpd="sng" algn="ctr">
                      <a:solidFill>
                        <a:srgbClr val="EEEDED"/>
                      </a:solidFill>
                      <a:prstDash val="solid"/>
                      <a:round/>
                      <a:headEnd type="none" w="med" len="med"/>
                      <a:tailEnd type="none" w="med" len="med"/>
                    </a:lnL>
                    <a:lnR w="9525" cap="flat" cmpd="sng" algn="ctr">
                      <a:solidFill>
                        <a:srgbClr val="EEEDED"/>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i="0" dirty="0">
                          <a:solidFill>
                            <a:schemeClr val="tx1"/>
                          </a:solidFill>
                          <a:latin typeface="NeueHaasGroteskText Pro" panose="020B0504020202020204" pitchFamily="34" charset="77"/>
                        </a:rPr>
                        <a:t>247</a:t>
                      </a:r>
                    </a:p>
                  </a:txBody>
                  <a:tcPr marL="0" marR="0" marT="0" marB="25200" anchor="ctr">
                    <a:lnL w="9525" cap="flat" cmpd="sng" algn="ctr">
                      <a:solidFill>
                        <a:srgbClr val="EEEDED"/>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8076185"/>
                  </a:ext>
                </a:extLst>
              </a:tr>
            </a:tbl>
          </a:graphicData>
        </a:graphic>
      </p:graphicFrame>
    </p:spTree>
    <p:extLst>
      <p:ext uri="{BB962C8B-B14F-4D97-AF65-F5344CB8AC3E}">
        <p14:creationId xmlns:p14="http://schemas.microsoft.com/office/powerpoint/2010/main" val="26146512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2497387-45D8-CC59-FAD9-25261B12BCA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7DAF20B9-76A3-66C8-E038-09703BCA0A60}"/>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E473D338-0DC9-B9E6-1BC5-DCCA1E67449A}"/>
              </a:ext>
            </a:extLst>
          </p:cNvPr>
          <p:cNvSpPr>
            <a:spLocks noGrp="1"/>
          </p:cNvSpPr>
          <p:nvPr>
            <p:ph type="sldNum" sz="quarter" idx="12"/>
          </p:nvPr>
        </p:nvSpPr>
        <p:spPr/>
        <p:txBody>
          <a:bodyPr/>
          <a:lstStyle/>
          <a:p>
            <a:fld id="{E84006A6-0E15-460A-BCD4-002C20F8AC9F}" type="slidenum">
              <a:rPr lang="de-DE" smtClean="0"/>
              <a:pPr/>
              <a:t>66</a:t>
            </a:fld>
            <a:endParaRPr lang="de-DE"/>
          </a:p>
        </p:txBody>
      </p:sp>
      <p:sp>
        <p:nvSpPr>
          <p:cNvPr id="5" name="Titel 4">
            <a:extLst>
              <a:ext uri="{FF2B5EF4-FFF2-40B4-BE49-F238E27FC236}">
                <a16:creationId xmlns:a16="http://schemas.microsoft.com/office/drawing/2014/main" id="{E003CA30-1B55-F563-F5B7-7C03AC4C3200}"/>
              </a:ext>
            </a:extLst>
          </p:cNvPr>
          <p:cNvSpPr>
            <a:spLocks noGrp="1"/>
          </p:cNvSpPr>
          <p:nvPr>
            <p:ph type="title"/>
          </p:nvPr>
        </p:nvSpPr>
        <p:spPr/>
        <p:txBody>
          <a:bodyPr/>
          <a:lstStyle/>
          <a:p>
            <a:r>
              <a:rPr lang="de-DE" dirty="0"/>
              <a:t>Tabelle</a:t>
            </a:r>
          </a:p>
        </p:txBody>
      </p:sp>
      <p:graphicFrame>
        <p:nvGraphicFramePr>
          <p:cNvPr id="7" name="Tabelle 8">
            <a:extLst>
              <a:ext uri="{FF2B5EF4-FFF2-40B4-BE49-F238E27FC236}">
                <a16:creationId xmlns:a16="http://schemas.microsoft.com/office/drawing/2014/main" id="{FBBA86E8-CD61-9C42-920B-17ED6824E9DE}"/>
              </a:ext>
            </a:extLst>
          </p:cNvPr>
          <p:cNvGraphicFramePr>
            <a:graphicFrameLocks noGrp="1"/>
          </p:cNvGraphicFramePr>
          <p:nvPr>
            <p:extLst>
              <p:ext uri="{D42A27DB-BD31-4B8C-83A1-F6EECF244321}">
                <p14:modId xmlns:p14="http://schemas.microsoft.com/office/powerpoint/2010/main" val="1549215269"/>
              </p:ext>
            </p:extLst>
          </p:nvPr>
        </p:nvGraphicFramePr>
        <p:xfrm>
          <a:off x="515938" y="1773237"/>
          <a:ext cx="11160125" cy="4354513"/>
        </p:xfrm>
        <a:graphic>
          <a:graphicData uri="http://schemas.openxmlformats.org/drawingml/2006/table">
            <a:tbl>
              <a:tblPr firstRow="1" bandRow="1">
                <a:tableStyleId>{5C22544A-7EE6-4342-B048-85BDC9FD1C3A}</a:tableStyleId>
              </a:tblPr>
              <a:tblGrid>
                <a:gridCol w="5587979">
                  <a:extLst>
                    <a:ext uri="{9D8B030D-6E8A-4147-A177-3AD203B41FA5}">
                      <a16:colId xmlns:a16="http://schemas.microsoft.com/office/drawing/2014/main" val="859182442"/>
                    </a:ext>
                  </a:extLst>
                </a:gridCol>
                <a:gridCol w="5572146">
                  <a:extLst>
                    <a:ext uri="{9D8B030D-6E8A-4147-A177-3AD203B41FA5}">
                      <a16:colId xmlns:a16="http://schemas.microsoft.com/office/drawing/2014/main" val="2401466258"/>
                    </a:ext>
                  </a:extLst>
                </a:gridCol>
              </a:tblGrid>
              <a:tr h="407731">
                <a:tc>
                  <a:txBody>
                    <a:bodyPr/>
                    <a:lstStyle/>
                    <a:p>
                      <a:r>
                        <a:rPr lang="de-DE" sz="1600" dirty="0" err="1">
                          <a:solidFill>
                            <a:schemeClr val="bg1"/>
                          </a:solidFill>
                          <a:latin typeface="+mn-lt"/>
                        </a:rPr>
                        <a:t>Lorem</a:t>
                      </a:r>
                      <a:r>
                        <a:rPr lang="de-DE" sz="1600" dirty="0">
                          <a:solidFill>
                            <a:schemeClr val="bg1"/>
                          </a:solidFill>
                          <a:latin typeface="+mn-lt"/>
                        </a:rPr>
                        <a:t> </a:t>
                      </a:r>
                      <a:r>
                        <a:rPr lang="de-DE" sz="1600" dirty="0" err="1">
                          <a:solidFill>
                            <a:schemeClr val="bg1"/>
                          </a:solidFill>
                          <a:latin typeface="+mn-lt"/>
                        </a:rPr>
                        <a:t>ipsum</a:t>
                      </a:r>
                      <a:endParaRPr lang="de-DE" sz="1600" dirty="0">
                        <a:solidFill>
                          <a:schemeClr val="bg1"/>
                        </a:solidFill>
                        <a:latin typeface="+mn-lt"/>
                      </a:endParaRPr>
                    </a:p>
                  </a:txBody>
                  <a:tcPr marL="108000" marR="108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de-DE" sz="1600" dirty="0" err="1">
                          <a:solidFill>
                            <a:schemeClr val="bg1"/>
                          </a:solidFill>
                          <a:latin typeface="+mn-lt"/>
                        </a:rPr>
                        <a:t>Lorem</a:t>
                      </a:r>
                      <a:r>
                        <a:rPr lang="de-DE" sz="1600" dirty="0">
                          <a:solidFill>
                            <a:schemeClr val="bg1"/>
                          </a:solidFill>
                          <a:latin typeface="+mn-lt"/>
                        </a:rPr>
                        <a:t> </a:t>
                      </a:r>
                      <a:r>
                        <a:rPr lang="de-DE" sz="1600" dirty="0" err="1">
                          <a:solidFill>
                            <a:schemeClr val="bg1"/>
                          </a:solidFill>
                          <a:latin typeface="+mn-lt"/>
                        </a:rPr>
                        <a:t>ipsum</a:t>
                      </a:r>
                      <a:endParaRPr lang="de-DE" sz="1600" dirty="0">
                        <a:solidFill>
                          <a:schemeClr val="bg1"/>
                        </a:solidFill>
                        <a:latin typeface="+mn-lt"/>
                      </a:endParaRPr>
                    </a:p>
                  </a:txBody>
                  <a:tcPr marL="108000" marR="10800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77711545"/>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NeueHaasGroteskText Pro"/>
                          <a:ea typeface="+mn-ea"/>
                          <a:cs typeface="Arial"/>
                        </a:rPr>
                        <a:t>Lorem ipsum dolor sit amet, consetetur sadipscing litr</a:t>
                      </a:r>
                      <a:endParaRPr kumimoji="0" lang="de-DE" sz="1400" b="0" i="0" u="none" strike="noStrike" kern="1200" cap="none" spc="0" normalizeH="0" baseline="0" noProof="0" dirty="0">
                        <a:ln>
                          <a:noFill/>
                        </a:ln>
                        <a:solidFill>
                          <a:srgbClr val="000000"/>
                        </a:solidFill>
                        <a:effectLst/>
                        <a:uLnTx/>
                        <a:uFillTx/>
                        <a:latin typeface="NeueHaasGroteskText Pro"/>
                        <a:ea typeface="+mn-ea"/>
                        <a:cs typeface="Arial"/>
                      </a:endParaRPr>
                    </a:p>
                  </a:txBody>
                  <a:tcPr marL="108000" marR="108000" marT="0" marB="0" anchor="ctr">
                    <a:lnL w="12700" cap="flat" cmpd="sng" algn="ctr">
                      <a:no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6364620"/>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NeueHaasGroteskText Pro"/>
                          <a:ea typeface="+mn-ea"/>
                          <a:cs typeface="Arial"/>
                        </a:rPr>
                        <a:t>Lorem ipsum dolor sit amet, consetetur sadipscing litr</a:t>
                      </a:r>
                      <a:endParaRPr kumimoji="0" lang="de-DE" sz="1400" b="0" i="0" u="none" strike="noStrike" kern="1200" cap="none" spc="0" normalizeH="0" baseline="0" noProof="0" dirty="0">
                        <a:ln>
                          <a:noFill/>
                        </a:ln>
                        <a:solidFill>
                          <a:srgbClr val="000000"/>
                        </a:solidFill>
                        <a:effectLst/>
                        <a:uLnTx/>
                        <a:uFillTx/>
                        <a:latin typeface="NeueHaasGroteskText Pro"/>
                        <a:ea typeface="+mn-ea"/>
                        <a:cs typeface="Arial"/>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3280476"/>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Lorem ipsum dolor sit ame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consetetur</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sadipscing</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litr</a:t>
                      </a:r>
                      <a:endParaRPr kumimoji="0" lang="de-DE" sz="1400" b="0" i="0" u="none" strike="noStrike" kern="1200" cap="none" spc="0" normalizeH="0" baseline="0" noProof="0" dirty="0">
                        <a:ln>
                          <a:noFill/>
                        </a:ln>
                        <a:solidFill>
                          <a:srgbClr val="000000"/>
                        </a:solidFill>
                        <a:effectLst/>
                        <a:uLnTx/>
                        <a:uFillTx/>
                        <a:latin typeface="NeueHaasGroteskText Pro"/>
                        <a:ea typeface="+mn-ea"/>
                        <a:cs typeface="Arial"/>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225075"/>
                  </a:ext>
                </a:extLst>
              </a:tr>
              <a:tr h="5638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Lorem</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ipsum</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dolor</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sit</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amet</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consetetur</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sadipscing</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litr</a:t>
                      </a:r>
                      <a:endParaRPr kumimoji="0" lang="de-DE" sz="1400" b="0" i="0" u="none" strike="noStrike" kern="1200" cap="none" spc="0" normalizeH="0" baseline="0" noProof="0" dirty="0">
                        <a:ln>
                          <a:noFill/>
                        </a:ln>
                        <a:solidFill>
                          <a:srgbClr val="000000"/>
                        </a:solidFill>
                        <a:effectLst/>
                        <a:uLnTx/>
                        <a:uFillTx/>
                        <a:latin typeface="NeueHaasGroteskText Pro"/>
                        <a:ea typeface="+mn-ea"/>
                        <a:cs typeface="Arial"/>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Lorem ipsum dolor sit ame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consetetur</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sadipscing</a:t>
                      </a:r>
                      <a:r>
                        <a:rPr kumimoji="0" lang="de-DE" sz="1400" b="0" i="0" u="none" strike="noStrike" kern="1200" cap="none" spc="0" normalizeH="0" baseline="0" noProof="0" dirty="0">
                          <a:ln>
                            <a:noFill/>
                          </a:ln>
                          <a:solidFill>
                            <a:srgbClr val="000000"/>
                          </a:solidFill>
                          <a:effectLst/>
                          <a:uLnTx/>
                          <a:uFillTx/>
                          <a:latin typeface="NeueHaasGroteskText Pro"/>
                          <a:ea typeface="+mn-ea"/>
                          <a:cs typeface="Arial"/>
                        </a:rPr>
                        <a:t> </a:t>
                      </a:r>
                      <a:r>
                        <a:rPr kumimoji="0" lang="de-DE" sz="1400" b="0" i="0" u="none" strike="noStrike" kern="1200" cap="none" spc="0" normalizeH="0" baseline="0" noProof="0" dirty="0" err="1">
                          <a:ln>
                            <a:noFill/>
                          </a:ln>
                          <a:solidFill>
                            <a:srgbClr val="000000"/>
                          </a:solidFill>
                          <a:effectLst/>
                          <a:uLnTx/>
                          <a:uFillTx/>
                          <a:latin typeface="NeueHaasGroteskText Pro"/>
                          <a:ea typeface="+mn-ea"/>
                          <a:cs typeface="Arial"/>
                        </a:rPr>
                        <a:t>litr</a:t>
                      </a:r>
                      <a:endParaRPr kumimoji="0" lang="de-DE" sz="1400" b="0" i="0" u="none" strike="noStrike" kern="1200" cap="none" spc="0" normalizeH="0" baseline="0" noProof="0" dirty="0">
                        <a:ln>
                          <a:noFill/>
                        </a:ln>
                        <a:solidFill>
                          <a:srgbClr val="000000"/>
                        </a:solidFill>
                        <a:effectLst/>
                        <a:uLnTx/>
                        <a:uFillTx/>
                        <a:latin typeface="NeueHaasGroteskText Pro"/>
                        <a:ea typeface="+mn-ea"/>
                        <a:cs typeface="Arial"/>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18844007"/>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1430965"/>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662476"/>
                  </a:ext>
                </a:extLst>
              </a:tr>
              <a:tr h="563826">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mpd="sng">
                      <a:noFill/>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de-DE" sz="1400" dirty="0">
                          <a:solidFill>
                            <a:schemeClr val="tx1"/>
                          </a:solidFill>
                          <a:latin typeface="+mn-lt"/>
                        </a:rPr>
                        <a:t>Lorem ipsum dolor sit amet, </a:t>
                      </a:r>
                      <a:r>
                        <a:rPr lang="de-DE" sz="1400" dirty="0" err="1">
                          <a:solidFill>
                            <a:schemeClr val="tx1"/>
                          </a:solidFill>
                          <a:latin typeface="+mn-lt"/>
                        </a:rPr>
                        <a:t>consetetur</a:t>
                      </a:r>
                      <a:r>
                        <a:rPr lang="de-DE" sz="1400" dirty="0">
                          <a:solidFill>
                            <a:schemeClr val="tx1"/>
                          </a:solidFill>
                          <a:latin typeface="+mn-lt"/>
                        </a:rPr>
                        <a:t> </a:t>
                      </a:r>
                      <a:r>
                        <a:rPr lang="de-DE" sz="1400" dirty="0" err="1">
                          <a:solidFill>
                            <a:schemeClr val="tx1"/>
                          </a:solidFill>
                          <a:latin typeface="+mn-lt"/>
                        </a:rPr>
                        <a:t>sadipscing</a:t>
                      </a:r>
                      <a:r>
                        <a:rPr lang="de-DE" sz="1400" dirty="0">
                          <a:solidFill>
                            <a:schemeClr val="tx1"/>
                          </a:solidFill>
                          <a:latin typeface="+mn-lt"/>
                        </a:rPr>
                        <a:t> </a:t>
                      </a:r>
                      <a:r>
                        <a:rPr lang="de-DE" sz="1400" dirty="0" err="1">
                          <a:solidFill>
                            <a:schemeClr val="tx1"/>
                          </a:solidFill>
                          <a:latin typeface="+mn-lt"/>
                        </a:rPr>
                        <a:t>litr</a:t>
                      </a:r>
                      <a:endParaRPr lang="de-DE" sz="1400" dirty="0">
                        <a:solidFill>
                          <a:schemeClr val="tx1"/>
                        </a:solidFill>
                        <a:latin typeface="+mn-lt"/>
                      </a:endParaRPr>
                    </a:p>
                  </a:txBody>
                  <a:tcPr marL="108000" marR="108000" marT="0" marB="0" anchor="ctr">
                    <a:lnL w="1270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0827630"/>
                  </a:ext>
                </a:extLst>
              </a:tr>
            </a:tbl>
          </a:graphicData>
        </a:graphic>
      </p:graphicFrame>
    </p:spTree>
    <p:extLst>
      <p:ext uri="{BB962C8B-B14F-4D97-AF65-F5344CB8AC3E}">
        <p14:creationId xmlns:p14="http://schemas.microsoft.com/office/powerpoint/2010/main" val="434024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65D78FB3-44BB-B3D8-D710-55CBB5373928}"/>
              </a:ext>
            </a:extLst>
          </p:cNvPr>
          <p:cNvSpPr/>
          <p:nvPr/>
        </p:nvSpPr>
        <p:spPr>
          <a:xfrm>
            <a:off x="7481840" y="0"/>
            <a:ext cx="47101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sp>
        <p:nvSpPr>
          <p:cNvPr id="2" name="Datumsplatzhalter 1">
            <a:extLst>
              <a:ext uri="{FF2B5EF4-FFF2-40B4-BE49-F238E27FC236}">
                <a16:creationId xmlns:a16="http://schemas.microsoft.com/office/drawing/2014/main" id="{12497387-45D8-CC59-FAD9-25261B12BCA2}"/>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7DAF20B9-76A3-66C8-E038-09703BCA0A60}"/>
              </a:ext>
            </a:extLst>
          </p:cNvPr>
          <p:cNvSpPr>
            <a:spLocks noGrp="1"/>
          </p:cNvSpPr>
          <p:nvPr>
            <p:ph type="ftr" sz="quarter" idx="11"/>
          </p:nvPr>
        </p:nvSpPr>
        <p:spPr/>
        <p:txBody>
          <a:bodyPr/>
          <a:lstStyle/>
          <a:p>
            <a:r>
              <a:rPr lang="de-DE" dirty="0">
                <a:solidFill>
                  <a:schemeClr val="bg1"/>
                </a:solidFill>
              </a:rPr>
              <a:t>PowerPoint Folienmaster</a:t>
            </a:r>
          </a:p>
        </p:txBody>
      </p:sp>
      <p:sp>
        <p:nvSpPr>
          <p:cNvPr id="4" name="Foliennummernplatzhalter 3">
            <a:extLst>
              <a:ext uri="{FF2B5EF4-FFF2-40B4-BE49-F238E27FC236}">
                <a16:creationId xmlns:a16="http://schemas.microsoft.com/office/drawing/2014/main" id="{E473D338-0DC9-B9E6-1BC5-DCCA1E67449A}"/>
              </a:ext>
            </a:extLst>
          </p:cNvPr>
          <p:cNvSpPr>
            <a:spLocks noGrp="1"/>
          </p:cNvSpPr>
          <p:nvPr>
            <p:ph type="sldNum" sz="quarter" idx="12"/>
          </p:nvPr>
        </p:nvSpPr>
        <p:spPr/>
        <p:txBody>
          <a:bodyPr/>
          <a:lstStyle/>
          <a:p>
            <a:fld id="{E84006A6-0E15-460A-BCD4-002C20F8AC9F}" type="slidenum">
              <a:rPr lang="de-DE" smtClean="0">
                <a:solidFill>
                  <a:schemeClr val="bg1"/>
                </a:solidFill>
              </a:rPr>
              <a:pPr/>
              <a:t>67</a:t>
            </a:fld>
            <a:endParaRPr lang="de-DE">
              <a:solidFill>
                <a:schemeClr val="bg1"/>
              </a:solidFill>
            </a:endParaRPr>
          </a:p>
        </p:txBody>
      </p:sp>
      <p:sp>
        <p:nvSpPr>
          <p:cNvPr id="5" name="Titel 4">
            <a:extLst>
              <a:ext uri="{FF2B5EF4-FFF2-40B4-BE49-F238E27FC236}">
                <a16:creationId xmlns:a16="http://schemas.microsoft.com/office/drawing/2014/main" id="{E003CA30-1B55-F563-F5B7-7C03AC4C3200}"/>
              </a:ext>
            </a:extLst>
          </p:cNvPr>
          <p:cNvSpPr>
            <a:spLocks noGrp="1"/>
          </p:cNvSpPr>
          <p:nvPr>
            <p:ph type="title"/>
          </p:nvPr>
        </p:nvSpPr>
        <p:spPr/>
        <p:txBody>
          <a:bodyPr/>
          <a:lstStyle/>
          <a:p>
            <a:r>
              <a:rPr lang="de-DE" dirty="0"/>
              <a:t>Tabelle</a:t>
            </a:r>
          </a:p>
        </p:txBody>
      </p:sp>
      <p:pic>
        <p:nvPicPr>
          <p:cNvPr id="8" name="Grafik 7">
            <a:extLst>
              <a:ext uri="{FF2B5EF4-FFF2-40B4-BE49-F238E27FC236}">
                <a16:creationId xmlns:a16="http://schemas.microsoft.com/office/drawing/2014/main" id="{A6C8A92A-14CB-9C5B-DB04-3778303C7742}"/>
              </a:ext>
            </a:extLst>
          </p:cNvPr>
          <p:cNvPicPr>
            <a:picLocks noChangeAspect="1"/>
          </p:cNvPicPr>
          <p:nvPr/>
        </p:nvPicPr>
        <p:blipFill rotWithShape="1">
          <a:blip r:embed="rId2">
            <a:extLst>
              <a:ext uri="{28A0092B-C50C-407E-A947-70E740481C1C}">
                <a14:useLocalDpi xmlns:a14="http://schemas.microsoft.com/office/drawing/2010/main"/>
              </a:ext>
            </a:extLst>
          </a:blip>
          <a:srcRect l="30414" r="30414"/>
          <a:stretch/>
        </p:blipFill>
        <p:spPr>
          <a:xfrm>
            <a:off x="8300998" y="1334543"/>
            <a:ext cx="3071845" cy="4188916"/>
          </a:xfrm>
          <a:prstGeom prst="rect">
            <a:avLst/>
          </a:prstGeom>
          <a:ln>
            <a:noFill/>
          </a:ln>
        </p:spPr>
      </p:pic>
      <p:graphicFrame>
        <p:nvGraphicFramePr>
          <p:cNvPr id="9" name="Tabelle 4">
            <a:extLst>
              <a:ext uri="{FF2B5EF4-FFF2-40B4-BE49-F238E27FC236}">
                <a16:creationId xmlns:a16="http://schemas.microsoft.com/office/drawing/2014/main" id="{462A8CC0-BF6D-6984-BA43-A7049FAE6843}"/>
              </a:ext>
            </a:extLst>
          </p:cNvPr>
          <p:cNvGraphicFramePr>
            <a:graphicFrameLocks noGrp="1"/>
          </p:cNvGraphicFramePr>
          <p:nvPr>
            <p:extLst>
              <p:ext uri="{D42A27DB-BD31-4B8C-83A1-F6EECF244321}">
                <p14:modId xmlns:p14="http://schemas.microsoft.com/office/powerpoint/2010/main" val="982147120"/>
              </p:ext>
            </p:extLst>
          </p:nvPr>
        </p:nvGraphicFramePr>
        <p:xfrm>
          <a:off x="515937" y="1934381"/>
          <a:ext cx="6646864" cy="4194958"/>
        </p:xfrm>
        <a:graphic>
          <a:graphicData uri="http://schemas.openxmlformats.org/drawingml/2006/table">
            <a:tbl>
              <a:tblPr firstRow="1" bandRow="1">
                <a:tableStyleId>{2D5ABB26-0587-4C30-8999-92F81FD0307C}</a:tableStyleId>
              </a:tblPr>
              <a:tblGrid>
                <a:gridCol w="1661716">
                  <a:extLst>
                    <a:ext uri="{9D8B030D-6E8A-4147-A177-3AD203B41FA5}">
                      <a16:colId xmlns:a16="http://schemas.microsoft.com/office/drawing/2014/main" val="267807942"/>
                    </a:ext>
                  </a:extLst>
                </a:gridCol>
                <a:gridCol w="1661716">
                  <a:extLst>
                    <a:ext uri="{9D8B030D-6E8A-4147-A177-3AD203B41FA5}">
                      <a16:colId xmlns:a16="http://schemas.microsoft.com/office/drawing/2014/main" val="1633625253"/>
                    </a:ext>
                  </a:extLst>
                </a:gridCol>
                <a:gridCol w="1661716">
                  <a:extLst>
                    <a:ext uri="{9D8B030D-6E8A-4147-A177-3AD203B41FA5}">
                      <a16:colId xmlns:a16="http://schemas.microsoft.com/office/drawing/2014/main" val="3877533974"/>
                    </a:ext>
                  </a:extLst>
                </a:gridCol>
                <a:gridCol w="1661716">
                  <a:extLst>
                    <a:ext uri="{9D8B030D-6E8A-4147-A177-3AD203B41FA5}">
                      <a16:colId xmlns:a16="http://schemas.microsoft.com/office/drawing/2014/main" val="3080257173"/>
                    </a:ext>
                  </a:extLst>
                </a:gridCol>
              </a:tblGrid>
              <a:tr h="541420">
                <a:tc>
                  <a:txBody>
                    <a:bodyPr/>
                    <a:lstStyle/>
                    <a:p>
                      <a:pPr algn="l"/>
                      <a:endParaRPr lang="de-DE" sz="1400" b="1" i="0">
                        <a:solidFill>
                          <a:schemeClr val="tx1"/>
                        </a:solidFill>
                        <a:latin typeface="+mn-lt"/>
                        <a:cs typeface="Arial" panose="020B0604020202020204" pitchFamily="34" charset="0"/>
                      </a:endParaRPr>
                    </a:p>
                  </a:txBody>
                  <a:tcPr marL="0" marR="0" marT="90000" marB="90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dirty="0">
                          <a:solidFill>
                            <a:schemeClr val="tx1"/>
                          </a:solidFill>
                          <a:latin typeface="+mn-lt"/>
                          <a:cs typeface="Arial" panose="020B0604020202020204" pitchFamily="34" charset="0"/>
                        </a:rPr>
                        <a:t>Lorem ipsum</a:t>
                      </a:r>
                    </a:p>
                  </a:txBody>
                  <a:tcPr marL="0" marR="0" marT="90000" marB="90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dirty="0">
                          <a:solidFill>
                            <a:schemeClr val="tx1"/>
                          </a:solidFill>
                          <a:latin typeface="+mn-lt"/>
                          <a:cs typeface="Arial" panose="020B0604020202020204" pitchFamily="34" charset="0"/>
                        </a:rPr>
                        <a:t>Lorem ipsum</a:t>
                      </a:r>
                    </a:p>
                  </a:txBody>
                  <a:tcPr marL="0" marR="0" marT="90000" marB="90000"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dirty="0">
                          <a:solidFill>
                            <a:schemeClr val="tx1"/>
                          </a:solidFill>
                          <a:latin typeface="+mn-lt"/>
                          <a:cs typeface="Arial" panose="020B0604020202020204" pitchFamily="34" charset="0"/>
                        </a:rPr>
                        <a:t>Lorem ipsum</a:t>
                      </a:r>
                    </a:p>
                  </a:txBody>
                  <a:tcPr marL="0" marR="0" marT="90000" marB="90000" anchor="ctr">
                    <a:noFill/>
                  </a:tcPr>
                </a:tc>
                <a:extLst>
                  <a:ext uri="{0D108BD9-81ED-4DB2-BD59-A6C34878D82A}">
                    <a16:rowId xmlns:a16="http://schemas.microsoft.com/office/drawing/2014/main" val="2736678867"/>
                  </a:ext>
                </a:extLst>
              </a:tr>
              <a:tr h="608923">
                <a:tc>
                  <a:txBody>
                    <a:bodyPr/>
                    <a:lstStyle/>
                    <a:p>
                      <a:r>
                        <a:rPr lang="de-DE" sz="1400" b="1" i="0" dirty="0">
                          <a:solidFill>
                            <a:schemeClr val="tx1"/>
                          </a:solidFill>
                          <a:latin typeface="+mn-lt"/>
                          <a:cs typeface="Arial" panose="020B0604020202020204" pitchFamily="34" charset="0"/>
                        </a:rPr>
                        <a:t>Lorem ipsum</a:t>
                      </a:r>
                    </a:p>
                  </a:txBody>
                  <a:tcPr marL="0" marR="0" anchor="ctr">
                    <a:lnR w="6350" cap="flat" cmpd="sng" algn="ctr">
                      <a:noFill/>
                      <a:prstDash val="solid"/>
                      <a:round/>
                      <a:headEnd type="none" w="med" len="med"/>
                      <a:tailEnd type="none" w="med" len="med"/>
                    </a:lnR>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593</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857</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accent1"/>
                      </a:solidFill>
                      <a:prstDash val="solid"/>
                      <a:round/>
                      <a:headEnd type="none" w="med" len="med"/>
                      <a:tailEnd type="none" w="med" len="med"/>
                    </a:lnB>
                  </a:tcPr>
                </a:tc>
                <a:tc>
                  <a:txBody>
                    <a:bodyPr/>
                    <a:lstStyle/>
                    <a:p>
                      <a:pPr algn="ctr"/>
                      <a:r>
                        <a:rPr lang="de-DE" sz="1400" b="0" i="0" dirty="0">
                          <a:solidFill>
                            <a:schemeClr val="tx1"/>
                          </a:solidFill>
                          <a:latin typeface="+mn-lt"/>
                          <a:cs typeface="Arial" panose="020B0604020202020204" pitchFamily="34" charset="0"/>
                        </a:rPr>
                        <a:t>355</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28612647"/>
                  </a:ext>
                </a:extLst>
              </a:tr>
              <a:tr h="608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i="0" err="1">
                          <a:solidFill>
                            <a:schemeClr val="tx1"/>
                          </a:solidFill>
                          <a:latin typeface="+mn-lt"/>
                          <a:cs typeface="Arial" panose="020B0604020202020204" pitchFamily="34" charset="0"/>
                        </a:rPr>
                        <a:t>Lorem</a:t>
                      </a:r>
                      <a:r>
                        <a:rPr lang="de-DE" sz="1400" b="1" i="0">
                          <a:solidFill>
                            <a:schemeClr val="tx1"/>
                          </a:solidFill>
                          <a:latin typeface="+mn-lt"/>
                          <a:cs typeface="Arial" panose="020B0604020202020204" pitchFamily="34" charset="0"/>
                        </a:rPr>
                        <a:t> </a:t>
                      </a:r>
                      <a:r>
                        <a:rPr lang="de-DE" sz="1400" b="1" i="0" err="1">
                          <a:solidFill>
                            <a:schemeClr val="tx1"/>
                          </a:solidFill>
                          <a:latin typeface="+mn-lt"/>
                          <a:cs typeface="Arial" panose="020B0604020202020204" pitchFamily="34" charset="0"/>
                        </a:rPr>
                        <a:t>ipsum</a:t>
                      </a:r>
                      <a:endParaRPr lang="de-DE" sz="1400" b="1" i="0">
                        <a:solidFill>
                          <a:schemeClr val="tx1"/>
                        </a:solidFill>
                        <a:latin typeface="+mn-lt"/>
                        <a:cs typeface="Arial" panose="020B0604020202020204" pitchFamily="34" charset="0"/>
                      </a:endParaRPr>
                    </a:p>
                  </a:txBody>
                  <a:tcPr marL="0" marR="0" anchor="ctr">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dirty="0">
                          <a:solidFill>
                            <a:schemeClr val="tx1"/>
                          </a:solidFill>
                          <a:latin typeface="+mn-lt"/>
                          <a:cs typeface="Arial" panose="020B0604020202020204" pitchFamily="34" charset="0"/>
                        </a:rPr>
                        <a:t>778</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dirty="0">
                          <a:solidFill>
                            <a:schemeClr val="tx1"/>
                          </a:solidFill>
                          <a:latin typeface="+mn-lt"/>
                          <a:cs typeface="Arial" panose="020B0604020202020204" pitchFamily="34" charset="0"/>
                        </a:rPr>
                        <a:t>7.474</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289</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552279984"/>
                  </a:ext>
                </a:extLst>
              </a:tr>
              <a:tr h="608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i="0" err="1">
                          <a:solidFill>
                            <a:schemeClr val="tx1"/>
                          </a:solidFill>
                          <a:latin typeface="+mn-lt"/>
                          <a:cs typeface="Arial" panose="020B0604020202020204" pitchFamily="34" charset="0"/>
                        </a:rPr>
                        <a:t>Lorem</a:t>
                      </a:r>
                      <a:r>
                        <a:rPr lang="de-DE" sz="1400" b="1" i="0">
                          <a:solidFill>
                            <a:schemeClr val="tx1"/>
                          </a:solidFill>
                          <a:latin typeface="+mn-lt"/>
                          <a:cs typeface="Arial" panose="020B0604020202020204" pitchFamily="34" charset="0"/>
                        </a:rPr>
                        <a:t> </a:t>
                      </a:r>
                      <a:r>
                        <a:rPr lang="de-DE" sz="1400" b="1" i="0" err="1">
                          <a:solidFill>
                            <a:schemeClr val="tx1"/>
                          </a:solidFill>
                          <a:latin typeface="+mn-lt"/>
                          <a:cs typeface="Arial" panose="020B0604020202020204" pitchFamily="34" charset="0"/>
                        </a:rPr>
                        <a:t>ipsum</a:t>
                      </a:r>
                      <a:endParaRPr lang="de-DE" sz="1400" b="1" i="0">
                        <a:solidFill>
                          <a:schemeClr val="tx1"/>
                        </a:solidFill>
                        <a:latin typeface="+mn-lt"/>
                        <a:cs typeface="Arial" panose="020B0604020202020204" pitchFamily="34" charset="0"/>
                      </a:endParaRPr>
                    </a:p>
                  </a:txBody>
                  <a:tcPr marL="0" marR="0" anchor="ctr">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766</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8.387</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dirty="0">
                          <a:solidFill>
                            <a:schemeClr val="tx1"/>
                          </a:solidFill>
                          <a:latin typeface="+mn-lt"/>
                          <a:cs typeface="Arial" panose="020B0604020202020204" pitchFamily="34" charset="0"/>
                        </a:rPr>
                        <a:t>912</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6981002"/>
                  </a:ext>
                </a:extLst>
              </a:tr>
              <a:tr h="608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i="0" dirty="0">
                          <a:solidFill>
                            <a:schemeClr val="tx1"/>
                          </a:solidFill>
                          <a:latin typeface="+mn-lt"/>
                          <a:cs typeface="Arial" panose="020B0604020202020204" pitchFamily="34" charset="0"/>
                        </a:rPr>
                        <a:t>Lorem ipsum</a:t>
                      </a:r>
                    </a:p>
                  </a:txBody>
                  <a:tcPr marL="0" marR="0" anchor="ctr">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778</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332</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134</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79582569"/>
                  </a:ext>
                </a:extLst>
              </a:tr>
              <a:tr h="608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i="0" err="1">
                          <a:solidFill>
                            <a:schemeClr val="tx1"/>
                          </a:solidFill>
                          <a:latin typeface="+mn-lt"/>
                          <a:cs typeface="Arial" panose="020B0604020202020204" pitchFamily="34" charset="0"/>
                        </a:rPr>
                        <a:t>Lorem</a:t>
                      </a:r>
                      <a:r>
                        <a:rPr lang="de-DE" sz="1400" b="1" i="0">
                          <a:solidFill>
                            <a:schemeClr val="tx1"/>
                          </a:solidFill>
                          <a:latin typeface="+mn-lt"/>
                          <a:cs typeface="Arial" panose="020B0604020202020204" pitchFamily="34" charset="0"/>
                        </a:rPr>
                        <a:t> </a:t>
                      </a:r>
                      <a:r>
                        <a:rPr lang="de-DE" sz="1400" b="1" i="0" err="1">
                          <a:solidFill>
                            <a:schemeClr val="tx1"/>
                          </a:solidFill>
                          <a:latin typeface="+mn-lt"/>
                          <a:cs typeface="Arial" panose="020B0604020202020204" pitchFamily="34" charset="0"/>
                        </a:rPr>
                        <a:t>ipsum</a:t>
                      </a:r>
                      <a:endParaRPr lang="de-DE" sz="1400" b="1" i="0">
                        <a:solidFill>
                          <a:schemeClr val="tx1"/>
                        </a:solidFill>
                        <a:latin typeface="+mn-lt"/>
                        <a:cs typeface="Arial" panose="020B0604020202020204" pitchFamily="34" charset="0"/>
                      </a:endParaRPr>
                    </a:p>
                  </a:txBody>
                  <a:tcPr marL="0" marR="0" anchor="ctr">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123</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a:solidFill>
                            <a:schemeClr val="tx1"/>
                          </a:solidFill>
                          <a:latin typeface="+mn-lt"/>
                          <a:cs typeface="Arial" panose="020B0604020202020204" pitchFamily="34" charset="0"/>
                        </a:rPr>
                        <a:t>2.020</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400" b="0" i="0" dirty="0">
                          <a:solidFill>
                            <a:schemeClr val="tx1"/>
                          </a:solidFill>
                          <a:latin typeface="+mn-lt"/>
                          <a:cs typeface="Arial" panose="020B0604020202020204" pitchFamily="34" charset="0"/>
                        </a:rPr>
                        <a:t>8.333</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46087727"/>
                  </a:ext>
                </a:extLst>
              </a:tr>
              <a:tr h="6089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i="0" err="1">
                          <a:solidFill>
                            <a:schemeClr val="tx1"/>
                          </a:solidFill>
                          <a:latin typeface="+mn-lt"/>
                          <a:cs typeface="Arial" panose="020B0604020202020204" pitchFamily="34" charset="0"/>
                        </a:rPr>
                        <a:t>Lorem</a:t>
                      </a:r>
                      <a:r>
                        <a:rPr lang="de-DE" sz="1400" b="1" i="0">
                          <a:solidFill>
                            <a:schemeClr val="tx1"/>
                          </a:solidFill>
                          <a:latin typeface="+mn-lt"/>
                          <a:cs typeface="Arial" panose="020B0604020202020204" pitchFamily="34" charset="0"/>
                        </a:rPr>
                        <a:t> </a:t>
                      </a:r>
                      <a:r>
                        <a:rPr lang="de-DE" sz="1400" b="1" i="0" err="1">
                          <a:solidFill>
                            <a:schemeClr val="tx1"/>
                          </a:solidFill>
                          <a:latin typeface="+mn-lt"/>
                          <a:cs typeface="Arial" panose="020B0604020202020204" pitchFamily="34" charset="0"/>
                        </a:rPr>
                        <a:t>ipsum</a:t>
                      </a:r>
                      <a:endParaRPr lang="de-DE" sz="1400" b="1" i="0">
                        <a:solidFill>
                          <a:schemeClr val="tx1"/>
                        </a:solidFill>
                        <a:latin typeface="+mn-lt"/>
                        <a:cs typeface="Arial" panose="020B0604020202020204" pitchFamily="34" charset="0"/>
                      </a:endParaRPr>
                    </a:p>
                  </a:txBody>
                  <a:tcPr marL="0" marR="0" anchor="ctr">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tcPr>
                </a:tc>
                <a:tc>
                  <a:txBody>
                    <a:bodyPr/>
                    <a:lstStyle/>
                    <a:p>
                      <a:pPr algn="ctr"/>
                      <a:r>
                        <a:rPr lang="de-DE" sz="1400" b="0" i="0">
                          <a:solidFill>
                            <a:schemeClr val="tx1"/>
                          </a:solidFill>
                          <a:latin typeface="+mn-lt"/>
                          <a:cs typeface="Arial" panose="020B0604020202020204" pitchFamily="34" charset="0"/>
                        </a:rPr>
                        <a:t>546</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tcPr>
                </a:tc>
                <a:tc>
                  <a:txBody>
                    <a:bodyPr/>
                    <a:lstStyle/>
                    <a:p>
                      <a:pPr algn="ctr"/>
                      <a:r>
                        <a:rPr lang="de-DE" sz="1400" b="0" i="0">
                          <a:solidFill>
                            <a:schemeClr val="tx1"/>
                          </a:solidFill>
                          <a:latin typeface="+mn-lt"/>
                          <a:cs typeface="Arial" panose="020B0604020202020204" pitchFamily="34" charset="0"/>
                        </a:rPr>
                        <a:t>128</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tcPr>
                </a:tc>
                <a:tc>
                  <a:txBody>
                    <a:bodyPr/>
                    <a:lstStyle/>
                    <a:p>
                      <a:pPr algn="ctr"/>
                      <a:r>
                        <a:rPr lang="de-DE" sz="1400" b="0" i="0" dirty="0">
                          <a:solidFill>
                            <a:schemeClr val="tx1"/>
                          </a:solidFill>
                          <a:latin typeface="+mn-lt"/>
                          <a:cs typeface="Arial" panose="020B0604020202020204" pitchFamily="34" charset="0"/>
                        </a:rPr>
                        <a:t>9.534</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067485258"/>
                  </a:ext>
                </a:extLst>
              </a:tr>
            </a:tbl>
          </a:graphicData>
        </a:graphic>
      </p:graphicFrame>
      <p:cxnSp>
        <p:nvCxnSpPr>
          <p:cNvPr id="10" name="Gerade Verbindung 9">
            <a:extLst>
              <a:ext uri="{FF2B5EF4-FFF2-40B4-BE49-F238E27FC236}">
                <a16:creationId xmlns:a16="http://schemas.microsoft.com/office/drawing/2014/main" id="{40CFE682-2DB1-6E6D-452A-87289173023D}"/>
              </a:ext>
            </a:extLst>
          </p:cNvPr>
          <p:cNvCxnSpPr>
            <a:cxnSpLocks/>
          </p:cNvCxnSpPr>
          <p:nvPr/>
        </p:nvCxnSpPr>
        <p:spPr>
          <a:xfrm>
            <a:off x="7481840" y="6343228"/>
            <a:ext cx="41942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0798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FA9B96D-1571-71B0-5B7E-AFD8585E1273}"/>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9548C16-1F5B-8AB1-904C-39F6A5E8FA5F}"/>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C09E5FC8-B673-2993-ED19-91D5D28D01D5}"/>
              </a:ext>
            </a:extLst>
          </p:cNvPr>
          <p:cNvSpPr>
            <a:spLocks noGrp="1"/>
          </p:cNvSpPr>
          <p:nvPr>
            <p:ph type="sldNum" sz="quarter" idx="12"/>
          </p:nvPr>
        </p:nvSpPr>
        <p:spPr/>
        <p:txBody>
          <a:bodyPr/>
          <a:lstStyle/>
          <a:p>
            <a:fld id="{E84006A6-0E15-460A-BCD4-002C20F8AC9F}" type="slidenum">
              <a:rPr lang="de-DE" smtClean="0"/>
              <a:pPr/>
              <a:t>68</a:t>
            </a:fld>
            <a:endParaRPr lang="de-DE"/>
          </a:p>
        </p:txBody>
      </p:sp>
      <p:sp>
        <p:nvSpPr>
          <p:cNvPr id="5" name="Titel 4">
            <a:extLst>
              <a:ext uri="{FF2B5EF4-FFF2-40B4-BE49-F238E27FC236}">
                <a16:creationId xmlns:a16="http://schemas.microsoft.com/office/drawing/2014/main" id="{E31C2060-7D3E-C87F-F33B-AE24BD538BD9}"/>
              </a:ext>
            </a:extLst>
          </p:cNvPr>
          <p:cNvSpPr>
            <a:spLocks noGrp="1"/>
          </p:cNvSpPr>
          <p:nvPr>
            <p:ph type="title"/>
          </p:nvPr>
        </p:nvSpPr>
        <p:spPr/>
        <p:txBody>
          <a:bodyPr/>
          <a:lstStyle/>
          <a:p>
            <a:r>
              <a:rPr lang="de-DE" dirty="0"/>
              <a:t>Timeline</a:t>
            </a:r>
          </a:p>
        </p:txBody>
      </p:sp>
      <p:grpSp>
        <p:nvGrpSpPr>
          <p:cNvPr id="6" name="Gruppieren 5">
            <a:extLst>
              <a:ext uri="{FF2B5EF4-FFF2-40B4-BE49-F238E27FC236}">
                <a16:creationId xmlns:a16="http://schemas.microsoft.com/office/drawing/2014/main" id="{3663A0D5-DD4E-3F80-52A3-60468AD8068F}"/>
              </a:ext>
            </a:extLst>
          </p:cNvPr>
          <p:cNvGrpSpPr/>
          <p:nvPr/>
        </p:nvGrpSpPr>
        <p:grpSpPr>
          <a:xfrm>
            <a:off x="515939" y="1786300"/>
            <a:ext cx="11160124" cy="4256055"/>
            <a:chOff x="515939" y="1341437"/>
            <a:chExt cx="11160124" cy="4256055"/>
          </a:xfrm>
        </p:grpSpPr>
        <p:cxnSp>
          <p:nvCxnSpPr>
            <p:cNvPr id="7" name="Gerade Verbindung 6">
              <a:extLst>
                <a:ext uri="{FF2B5EF4-FFF2-40B4-BE49-F238E27FC236}">
                  <a16:creationId xmlns:a16="http://schemas.microsoft.com/office/drawing/2014/main" id="{9EA4E951-B30C-32E6-F09A-4687A1424134}"/>
                </a:ext>
              </a:extLst>
            </p:cNvPr>
            <p:cNvCxnSpPr>
              <a:cxnSpLocks/>
            </p:cNvCxnSpPr>
            <p:nvPr/>
          </p:nvCxnSpPr>
          <p:spPr>
            <a:xfrm>
              <a:off x="2278251" y="4425514"/>
              <a:ext cx="7625166"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29E558A7-489A-E92C-942F-E511E043A7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834" r="14834"/>
            <a:stretch/>
          </p:blipFill>
          <p:spPr>
            <a:xfrm>
              <a:off x="515939" y="1341437"/>
              <a:ext cx="3566116" cy="2708505"/>
            </a:xfrm>
            <a:prstGeom prst="rect">
              <a:avLst/>
            </a:prstGeom>
          </p:spPr>
        </p:pic>
        <p:pic>
          <p:nvPicPr>
            <p:cNvPr id="9" name="Grafik 8">
              <a:extLst>
                <a:ext uri="{FF2B5EF4-FFF2-40B4-BE49-F238E27FC236}">
                  <a16:creationId xmlns:a16="http://schemas.microsoft.com/office/drawing/2014/main" id="{7E145C91-A23A-803E-D345-EA380F4206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794" r="14794"/>
            <a:stretch/>
          </p:blipFill>
          <p:spPr>
            <a:xfrm>
              <a:off x="4308895" y="1341437"/>
              <a:ext cx="3570163" cy="2708502"/>
            </a:xfrm>
            <a:prstGeom prst="rect">
              <a:avLst/>
            </a:prstGeom>
          </p:spPr>
        </p:pic>
        <p:sp>
          <p:nvSpPr>
            <p:cNvPr id="11" name="Textfeld 10">
              <a:extLst>
                <a:ext uri="{FF2B5EF4-FFF2-40B4-BE49-F238E27FC236}">
                  <a16:creationId xmlns:a16="http://schemas.microsoft.com/office/drawing/2014/main" id="{0161D6EA-D23C-9D9B-01E7-BF5458E7D851}"/>
                </a:ext>
              </a:extLst>
            </p:cNvPr>
            <p:cNvSpPr txBox="1"/>
            <p:nvPr/>
          </p:nvSpPr>
          <p:spPr>
            <a:xfrm>
              <a:off x="695297" y="4812662"/>
              <a:ext cx="3207400" cy="784830"/>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1</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12" name="Textfeld 11">
              <a:extLst>
                <a:ext uri="{FF2B5EF4-FFF2-40B4-BE49-F238E27FC236}">
                  <a16:creationId xmlns:a16="http://schemas.microsoft.com/office/drawing/2014/main" id="{101A30F4-565E-71D7-EB47-DD1CB85FD815}"/>
                </a:ext>
              </a:extLst>
            </p:cNvPr>
            <p:cNvSpPr txBox="1"/>
            <p:nvPr/>
          </p:nvSpPr>
          <p:spPr>
            <a:xfrm>
              <a:off x="4490276" y="4812662"/>
              <a:ext cx="3207400" cy="784830"/>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2</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13" name="Textfeld 12">
              <a:extLst>
                <a:ext uri="{FF2B5EF4-FFF2-40B4-BE49-F238E27FC236}">
                  <a16:creationId xmlns:a16="http://schemas.microsoft.com/office/drawing/2014/main" id="{9005FE04-BD13-4E05-A492-84705CE42190}"/>
                </a:ext>
              </a:extLst>
            </p:cNvPr>
            <p:cNvSpPr txBox="1"/>
            <p:nvPr/>
          </p:nvSpPr>
          <p:spPr>
            <a:xfrm>
              <a:off x="8289303" y="4812662"/>
              <a:ext cx="3207400" cy="784830"/>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3</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14" name="Oval 13">
              <a:extLst>
                <a:ext uri="{FF2B5EF4-FFF2-40B4-BE49-F238E27FC236}">
                  <a16:creationId xmlns:a16="http://schemas.microsoft.com/office/drawing/2014/main" id="{DA4ABD6D-F843-6F0C-7D6C-6C9EC72A44FE}"/>
                </a:ext>
              </a:extLst>
            </p:cNvPr>
            <p:cNvSpPr/>
            <p:nvPr/>
          </p:nvSpPr>
          <p:spPr>
            <a:xfrm>
              <a:off x="2235614" y="4363553"/>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Oval 14">
              <a:extLst>
                <a:ext uri="{FF2B5EF4-FFF2-40B4-BE49-F238E27FC236}">
                  <a16:creationId xmlns:a16="http://schemas.microsoft.com/office/drawing/2014/main" id="{6ACE8661-D8F0-A3A6-3375-E9ED50B603EC}"/>
                </a:ext>
              </a:extLst>
            </p:cNvPr>
            <p:cNvSpPr/>
            <p:nvPr/>
          </p:nvSpPr>
          <p:spPr>
            <a:xfrm>
              <a:off x="6032015" y="4360478"/>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D9C58E0D-76FB-741A-2C57-9652E3219DC1}"/>
                </a:ext>
              </a:extLst>
            </p:cNvPr>
            <p:cNvSpPr/>
            <p:nvPr/>
          </p:nvSpPr>
          <p:spPr>
            <a:xfrm>
              <a:off x="9831042" y="4360478"/>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4A50CD27-AF51-0ECB-A1E6-87937A66573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4794" r="14794"/>
            <a:stretch/>
          </p:blipFill>
          <p:spPr>
            <a:xfrm>
              <a:off x="8105900" y="1341437"/>
              <a:ext cx="3570163" cy="2708502"/>
            </a:xfrm>
            <a:prstGeom prst="rect">
              <a:avLst/>
            </a:prstGeom>
          </p:spPr>
        </p:pic>
      </p:grpSp>
    </p:spTree>
    <p:extLst>
      <p:ext uri="{BB962C8B-B14F-4D97-AF65-F5344CB8AC3E}">
        <p14:creationId xmlns:p14="http://schemas.microsoft.com/office/powerpoint/2010/main" val="330384043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FA9B96D-1571-71B0-5B7E-AFD8585E1273}"/>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9548C16-1F5B-8AB1-904C-39F6A5E8FA5F}"/>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C09E5FC8-B673-2993-ED19-91D5D28D01D5}"/>
              </a:ext>
            </a:extLst>
          </p:cNvPr>
          <p:cNvSpPr>
            <a:spLocks noGrp="1"/>
          </p:cNvSpPr>
          <p:nvPr>
            <p:ph type="sldNum" sz="quarter" idx="12"/>
          </p:nvPr>
        </p:nvSpPr>
        <p:spPr/>
        <p:txBody>
          <a:bodyPr/>
          <a:lstStyle/>
          <a:p>
            <a:fld id="{E84006A6-0E15-460A-BCD4-002C20F8AC9F}" type="slidenum">
              <a:rPr lang="de-DE" smtClean="0"/>
              <a:pPr/>
              <a:t>69</a:t>
            </a:fld>
            <a:endParaRPr lang="de-DE"/>
          </a:p>
        </p:txBody>
      </p:sp>
      <p:sp>
        <p:nvSpPr>
          <p:cNvPr id="5" name="Titel 4">
            <a:extLst>
              <a:ext uri="{FF2B5EF4-FFF2-40B4-BE49-F238E27FC236}">
                <a16:creationId xmlns:a16="http://schemas.microsoft.com/office/drawing/2014/main" id="{E31C2060-7D3E-C87F-F33B-AE24BD538BD9}"/>
              </a:ext>
            </a:extLst>
          </p:cNvPr>
          <p:cNvSpPr>
            <a:spLocks noGrp="1"/>
          </p:cNvSpPr>
          <p:nvPr>
            <p:ph type="title"/>
          </p:nvPr>
        </p:nvSpPr>
        <p:spPr/>
        <p:txBody>
          <a:bodyPr/>
          <a:lstStyle/>
          <a:p>
            <a:r>
              <a:rPr lang="de-DE" dirty="0"/>
              <a:t>Timeline</a:t>
            </a:r>
          </a:p>
        </p:txBody>
      </p:sp>
      <p:grpSp>
        <p:nvGrpSpPr>
          <p:cNvPr id="10" name="Gruppieren 9">
            <a:extLst>
              <a:ext uri="{FF2B5EF4-FFF2-40B4-BE49-F238E27FC236}">
                <a16:creationId xmlns:a16="http://schemas.microsoft.com/office/drawing/2014/main" id="{9CCD28AE-389D-1D61-37B9-1B6688C412E4}"/>
              </a:ext>
            </a:extLst>
          </p:cNvPr>
          <p:cNvGrpSpPr/>
          <p:nvPr/>
        </p:nvGrpSpPr>
        <p:grpSpPr>
          <a:xfrm>
            <a:off x="515938" y="2638651"/>
            <a:ext cx="11160036" cy="2336028"/>
            <a:chOff x="515938" y="2638651"/>
            <a:chExt cx="11160036" cy="2336028"/>
          </a:xfrm>
        </p:grpSpPr>
        <p:cxnSp>
          <p:nvCxnSpPr>
            <p:cNvPr id="18" name="Gerade Verbindung 17">
              <a:extLst>
                <a:ext uri="{FF2B5EF4-FFF2-40B4-BE49-F238E27FC236}">
                  <a16:creationId xmlns:a16="http://schemas.microsoft.com/office/drawing/2014/main" id="{60D70864-AE64-C0DB-8744-5186C20ADEF7}"/>
                </a:ext>
              </a:extLst>
            </p:cNvPr>
            <p:cNvCxnSpPr>
              <a:cxnSpLocks/>
            </p:cNvCxnSpPr>
            <p:nvPr/>
          </p:nvCxnSpPr>
          <p:spPr>
            <a:xfrm>
              <a:off x="1567543" y="3584182"/>
              <a:ext cx="60207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AE9CB456-3D3C-3C96-6388-1FCFA0E45F52}"/>
                </a:ext>
              </a:extLst>
            </p:cNvPr>
            <p:cNvCxnSpPr>
              <a:cxnSpLocks/>
            </p:cNvCxnSpPr>
            <p:nvPr/>
          </p:nvCxnSpPr>
          <p:spPr>
            <a:xfrm>
              <a:off x="7588332" y="3584182"/>
              <a:ext cx="305195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20" name="Gruppieren 19">
              <a:extLst>
                <a:ext uri="{FF2B5EF4-FFF2-40B4-BE49-F238E27FC236}">
                  <a16:creationId xmlns:a16="http://schemas.microsoft.com/office/drawing/2014/main" id="{B986C986-5ED1-051E-CA9D-B5B150F29414}"/>
                </a:ext>
              </a:extLst>
            </p:cNvPr>
            <p:cNvGrpSpPr/>
            <p:nvPr/>
          </p:nvGrpSpPr>
          <p:grpSpPr>
            <a:xfrm>
              <a:off x="515938" y="2638654"/>
              <a:ext cx="2102442" cy="2336025"/>
              <a:chOff x="515938" y="2638654"/>
              <a:chExt cx="2102442" cy="2336025"/>
            </a:xfrm>
          </p:grpSpPr>
          <p:sp>
            <p:nvSpPr>
              <p:cNvPr id="33" name="Textfeld 32">
                <a:extLst>
                  <a:ext uri="{FF2B5EF4-FFF2-40B4-BE49-F238E27FC236}">
                    <a16:creationId xmlns:a16="http://schemas.microsoft.com/office/drawing/2014/main" id="{B2217BD6-E479-1439-B907-6154462FDFF0}"/>
                  </a:ext>
                </a:extLst>
              </p:cNvPr>
              <p:cNvSpPr txBox="1"/>
              <p:nvPr/>
            </p:nvSpPr>
            <p:spPr>
              <a:xfrm>
                <a:off x="515938" y="3974405"/>
                <a:ext cx="2102442" cy="1000274"/>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1</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34" name="Oval 33">
                <a:extLst>
                  <a:ext uri="{FF2B5EF4-FFF2-40B4-BE49-F238E27FC236}">
                    <a16:creationId xmlns:a16="http://schemas.microsoft.com/office/drawing/2014/main" id="{FB005EF3-01FB-B630-1D5B-C31B31D3A2BA}"/>
                  </a:ext>
                </a:extLst>
              </p:cNvPr>
              <p:cNvSpPr/>
              <p:nvPr/>
            </p:nvSpPr>
            <p:spPr>
              <a:xfrm>
                <a:off x="1505198" y="3522221"/>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5" name="Grafik 34">
                <a:extLst>
                  <a:ext uri="{FF2B5EF4-FFF2-40B4-BE49-F238E27FC236}">
                    <a16:creationId xmlns:a16="http://schemas.microsoft.com/office/drawing/2014/main" id="{D32EA721-3549-667E-71BE-F3BA14AA9280}"/>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89507" y="2638654"/>
                <a:ext cx="555305" cy="555305"/>
              </a:xfrm>
              <a:prstGeom prst="rect">
                <a:avLst/>
              </a:prstGeom>
            </p:spPr>
          </p:pic>
        </p:grpSp>
        <p:grpSp>
          <p:nvGrpSpPr>
            <p:cNvPr id="21" name="Gruppieren 20">
              <a:extLst>
                <a:ext uri="{FF2B5EF4-FFF2-40B4-BE49-F238E27FC236}">
                  <a16:creationId xmlns:a16="http://schemas.microsoft.com/office/drawing/2014/main" id="{3504B680-6494-B751-A45B-8E6E3F02B471}"/>
                </a:ext>
              </a:extLst>
            </p:cNvPr>
            <p:cNvGrpSpPr/>
            <p:nvPr/>
          </p:nvGrpSpPr>
          <p:grpSpPr>
            <a:xfrm>
              <a:off x="3535136" y="2638653"/>
              <a:ext cx="2102442" cy="2336026"/>
              <a:chOff x="3535136" y="2638653"/>
              <a:chExt cx="2102442" cy="2336026"/>
            </a:xfrm>
          </p:grpSpPr>
          <p:sp>
            <p:nvSpPr>
              <p:cNvPr id="30" name="Textfeld 29">
                <a:extLst>
                  <a:ext uri="{FF2B5EF4-FFF2-40B4-BE49-F238E27FC236}">
                    <a16:creationId xmlns:a16="http://schemas.microsoft.com/office/drawing/2014/main" id="{17472034-0A12-2969-F34C-88DE465723AB}"/>
                  </a:ext>
                </a:extLst>
              </p:cNvPr>
              <p:cNvSpPr txBox="1"/>
              <p:nvPr/>
            </p:nvSpPr>
            <p:spPr>
              <a:xfrm>
                <a:off x="3535136" y="3974405"/>
                <a:ext cx="2102442" cy="1000274"/>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2</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31" name="Oval 30">
                <a:extLst>
                  <a:ext uri="{FF2B5EF4-FFF2-40B4-BE49-F238E27FC236}">
                    <a16:creationId xmlns:a16="http://schemas.microsoft.com/office/drawing/2014/main" id="{9ECF0BC5-F9AA-BAC3-4AF9-5E8AE6A731A8}"/>
                  </a:ext>
                </a:extLst>
              </p:cNvPr>
              <p:cNvSpPr/>
              <p:nvPr/>
            </p:nvSpPr>
            <p:spPr>
              <a:xfrm>
                <a:off x="4524396" y="3522221"/>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2" name="Grafik 31">
                <a:extLst>
                  <a:ext uri="{FF2B5EF4-FFF2-40B4-BE49-F238E27FC236}">
                    <a16:creationId xmlns:a16="http://schemas.microsoft.com/office/drawing/2014/main" id="{E7079633-4CF5-F00C-F14C-E124CC9984B8}"/>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308705" y="2638653"/>
                <a:ext cx="555305" cy="555305"/>
              </a:xfrm>
              <a:prstGeom prst="rect">
                <a:avLst/>
              </a:prstGeom>
            </p:spPr>
          </p:pic>
        </p:grpSp>
        <p:grpSp>
          <p:nvGrpSpPr>
            <p:cNvPr id="22" name="Gruppieren 21">
              <a:extLst>
                <a:ext uri="{FF2B5EF4-FFF2-40B4-BE49-F238E27FC236}">
                  <a16:creationId xmlns:a16="http://schemas.microsoft.com/office/drawing/2014/main" id="{52DD69C3-0530-1C9D-DDC8-12FD7A97EE4D}"/>
                </a:ext>
              </a:extLst>
            </p:cNvPr>
            <p:cNvGrpSpPr/>
            <p:nvPr/>
          </p:nvGrpSpPr>
          <p:grpSpPr>
            <a:xfrm>
              <a:off x="6554334" y="2638652"/>
              <a:ext cx="2102442" cy="2336027"/>
              <a:chOff x="6554334" y="2638652"/>
              <a:chExt cx="2102442" cy="2336027"/>
            </a:xfrm>
          </p:grpSpPr>
          <p:sp>
            <p:nvSpPr>
              <p:cNvPr id="27" name="Textfeld 26">
                <a:extLst>
                  <a:ext uri="{FF2B5EF4-FFF2-40B4-BE49-F238E27FC236}">
                    <a16:creationId xmlns:a16="http://schemas.microsoft.com/office/drawing/2014/main" id="{759122F1-D17D-2449-8835-EFB9FF968239}"/>
                  </a:ext>
                </a:extLst>
              </p:cNvPr>
              <p:cNvSpPr txBox="1"/>
              <p:nvPr/>
            </p:nvSpPr>
            <p:spPr>
              <a:xfrm>
                <a:off x="6554334" y="3974405"/>
                <a:ext cx="2102442" cy="1000274"/>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2023</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28" name="Oval 27">
                <a:extLst>
                  <a:ext uri="{FF2B5EF4-FFF2-40B4-BE49-F238E27FC236}">
                    <a16:creationId xmlns:a16="http://schemas.microsoft.com/office/drawing/2014/main" id="{0EFC1B86-AEEE-0B73-8D17-177F6296DF10}"/>
                  </a:ext>
                </a:extLst>
              </p:cNvPr>
              <p:cNvSpPr/>
              <p:nvPr/>
            </p:nvSpPr>
            <p:spPr>
              <a:xfrm>
                <a:off x="7543594" y="3522221"/>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Grafik 28">
                <a:extLst>
                  <a:ext uri="{FF2B5EF4-FFF2-40B4-BE49-F238E27FC236}">
                    <a16:creationId xmlns:a16="http://schemas.microsoft.com/office/drawing/2014/main" id="{F5520212-213D-1EFB-5504-559A1E23C7C1}"/>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7327903" y="2638652"/>
                <a:ext cx="555305" cy="555305"/>
              </a:xfrm>
              <a:prstGeom prst="rect">
                <a:avLst/>
              </a:prstGeom>
            </p:spPr>
          </p:pic>
        </p:grpSp>
        <p:grpSp>
          <p:nvGrpSpPr>
            <p:cNvPr id="23" name="Gruppieren 22">
              <a:extLst>
                <a:ext uri="{FF2B5EF4-FFF2-40B4-BE49-F238E27FC236}">
                  <a16:creationId xmlns:a16="http://schemas.microsoft.com/office/drawing/2014/main" id="{4AA3EF5C-1514-0929-1152-D26D541B404F}"/>
                </a:ext>
              </a:extLst>
            </p:cNvPr>
            <p:cNvGrpSpPr/>
            <p:nvPr/>
          </p:nvGrpSpPr>
          <p:grpSpPr>
            <a:xfrm>
              <a:off x="9573532" y="2638651"/>
              <a:ext cx="2102442" cy="2336028"/>
              <a:chOff x="9573532" y="2638651"/>
              <a:chExt cx="2102442" cy="2336028"/>
            </a:xfrm>
          </p:grpSpPr>
          <p:sp>
            <p:nvSpPr>
              <p:cNvPr id="24" name="Textfeld 23">
                <a:extLst>
                  <a:ext uri="{FF2B5EF4-FFF2-40B4-BE49-F238E27FC236}">
                    <a16:creationId xmlns:a16="http://schemas.microsoft.com/office/drawing/2014/main" id="{1B3E20F0-6034-6C15-6C90-1797D3C25293}"/>
                  </a:ext>
                </a:extLst>
              </p:cNvPr>
              <p:cNvSpPr txBox="1"/>
              <p:nvPr/>
            </p:nvSpPr>
            <p:spPr>
              <a:xfrm>
                <a:off x="9573532" y="3974405"/>
                <a:ext cx="2102442" cy="1000274"/>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Zukunft</a:t>
                </a:r>
              </a:p>
              <a:p>
                <a:pPr marL="0" marR="0" lvl="0" indent="0" algn="ctr" defTabSz="914400" rtl="0" eaLnBrk="1" fontAlgn="auto" latinLnBrk="0" hangingPunct="1">
                  <a:lnSpc>
                    <a:spcPct val="100000"/>
                  </a:lnSpc>
                  <a:spcBef>
                    <a:spcPts val="0"/>
                  </a:spcBef>
                  <a:spcAft>
                    <a:spcPts val="6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a:t>
                </a:r>
              </a:p>
            </p:txBody>
          </p:sp>
          <p:sp>
            <p:nvSpPr>
              <p:cNvPr id="25" name="Oval 24">
                <a:extLst>
                  <a:ext uri="{FF2B5EF4-FFF2-40B4-BE49-F238E27FC236}">
                    <a16:creationId xmlns:a16="http://schemas.microsoft.com/office/drawing/2014/main" id="{6FA52EFE-3EFA-CE30-F984-01BC28754EE8}"/>
                  </a:ext>
                </a:extLst>
              </p:cNvPr>
              <p:cNvSpPr/>
              <p:nvPr/>
            </p:nvSpPr>
            <p:spPr>
              <a:xfrm>
                <a:off x="10562792" y="3522221"/>
                <a:ext cx="123922" cy="1239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FAFE5F94-03D4-C1C2-3AD1-4C06C71F2E7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0347101" y="2638651"/>
                <a:ext cx="555305" cy="555305"/>
              </a:xfrm>
              <a:prstGeom prst="rect">
                <a:avLst/>
              </a:prstGeom>
            </p:spPr>
          </p:pic>
        </p:grpSp>
      </p:grpSp>
    </p:spTree>
    <p:extLst>
      <p:ext uri="{BB962C8B-B14F-4D97-AF65-F5344CB8AC3E}">
        <p14:creationId xmlns:p14="http://schemas.microsoft.com/office/powerpoint/2010/main" val="2891989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5F1F9E1-F816-1048-C1BC-44BF445B7A44}"/>
              </a:ext>
            </a:extLst>
          </p:cNvPr>
          <p:cNvSpPr>
            <a:spLocks noGrp="1"/>
          </p:cNvSpPr>
          <p:nvPr>
            <p:ph type="body" sz="quarter" idx="16"/>
          </p:nvPr>
        </p:nvSpPr>
        <p:spPr/>
        <p:txBody>
          <a:bodyPr/>
          <a:lstStyle/>
          <a:p>
            <a:r>
              <a:rPr lang="de-DE" dirty="0"/>
              <a:t>Hier steht eine optionale Headline.</a:t>
            </a:r>
          </a:p>
        </p:txBody>
      </p:sp>
      <p:sp>
        <p:nvSpPr>
          <p:cNvPr id="7" name="Titel 6">
            <a:extLst>
              <a:ext uri="{FF2B5EF4-FFF2-40B4-BE49-F238E27FC236}">
                <a16:creationId xmlns:a16="http://schemas.microsoft.com/office/drawing/2014/main" id="{CDB621D8-F209-4C89-C7AD-2A8447AC1E83}"/>
              </a:ext>
            </a:extLst>
          </p:cNvPr>
          <p:cNvSpPr>
            <a:spLocks noGrp="1"/>
          </p:cNvSpPr>
          <p:nvPr>
            <p:ph type="title"/>
          </p:nvPr>
        </p:nvSpPr>
        <p:spPr/>
        <p:txBody>
          <a:bodyPr/>
          <a:lstStyle/>
          <a:p>
            <a:r>
              <a:rPr lang="de-DE" dirty="0"/>
              <a:t>Hier steht eine Headline.</a:t>
            </a:r>
            <a:br>
              <a:rPr lang="de-DE" dirty="0"/>
            </a:br>
            <a:r>
              <a:rPr lang="de-DE" dirty="0"/>
              <a:t>Hier steht eine Headline.</a:t>
            </a:r>
          </a:p>
        </p:txBody>
      </p:sp>
      <p:sp>
        <p:nvSpPr>
          <p:cNvPr id="3" name="Datumsplatzhalter 2">
            <a:extLst>
              <a:ext uri="{FF2B5EF4-FFF2-40B4-BE49-F238E27FC236}">
                <a16:creationId xmlns:a16="http://schemas.microsoft.com/office/drawing/2014/main" id="{C87E81AA-C6F0-94B6-FA6E-4451C7A950FA}"/>
              </a:ext>
            </a:extLst>
          </p:cNvPr>
          <p:cNvSpPr>
            <a:spLocks noGrp="1"/>
          </p:cNvSpPr>
          <p:nvPr>
            <p:ph type="dt" sz="half" idx="2"/>
          </p:nvPr>
        </p:nvSpPr>
        <p:spPr/>
        <p:txBody>
          <a:bodyPr/>
          <a:lstStyle/>
          <a:p>
            <a:r>
              <a:rPr lang="de-DE"/>
              <a:t>02.08.2024</a:t>
            </a:r>
            <a:endParaRPr lang="de-DE" dirty="0"/>
          </a:p>
        </p:txBody>
      </p:sp>
      <p:sp>
        <p:nvSpPr>
          <p:cNvPr id="4" name="Fußzeilenplatzhalter 3">
            <a:extLst>
              <a:ext uri="{FF2B5EF4-FFF2-40B4-BE49-F238E27FC236}">
                <a16:creationId xmlns:a16="http://schemas.microsoft.com/office/drawing/2014/main" id="{8ED1445A-524F-3C6A-1BD8-35B662594541}"/>
              </a:ext>
            </a:extLst>
          </p:cNvPr>
          <p:cNvSpPr>
            <a:spLocks noGrp="1"/>
          </p:cNvSpPr>
          <p:nvPr>
            <p:ph type="ftr" sz="quarter" idx="3"/>
          </p:nvPr>
        </p:nvSpPr>
        <p:spPr/>
        <p:txBody>
          <a:bodyPr/>
          <a:lstStyle/>
          <a:p>
            <a:r>
              <a:rPr lang="de-DE"/>
              <a:t>PowerPoint Folienmaster</a:t>
            </a:r>
            <a:endParaRPr lang="de-DE" dirty="0"/>
          </a:p>
        </p:txBody>
      </p:sp>
      <p:sp>
        <p:nvSpPr>
          <p:cNvPr id="5" name="Foliennummernplatzhalter 4">
            <a:extLst>
              <a:ext uri="{FF2B5EF4-FFF2-40B4-BE49-F238E27FC236}">
                <a16:creationId xmlns:a16="http://schemas.microsoft.com/office/drawing/2014/main" id="{DFE08C9E-6BC4-8EB1-1544-E33BD1C3EE19}"/>
              </a:ext>
            </a:extLst>
          </p:cNvPr>
          <p:cNvSpPr>
            <a:spLocks noGrp="1"/>
          </p:cNvSpPr>
          <p:nvPr>
            <p:ph type="sldNum" sz="quarter" idx="4"/>
          </p:nvPr>
        </p:nvSpPr>
        <p:spPr/>
        <p:txBody>
          <a:bodyPr/>
          <a:lstStyle/>
          <a:p>
            <a:fld id="{E84006A6-0E15-460A-BCD4-002C20F8AC9F}" type="slidenum">
              <a:rPr lang="de-DE" smtClean="0"/>
              <a:pPr/>
              <a:t>7</a:t>
            </a:fld>
            <a:endParaRPr lang="de-DE"/>
          </a:p>
        </p:txBody>
      </p:sp>
    </p:spTree>
    <p:extLst>
      <p:ext uri="{BB962C8B-B14F-4D97-AF65-F5344CB8AC3E}">
        <p14:creationId xmlns:p14="http://schemas.microsoft.com/office/powerpoint/2010/main" val="10357603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E463381-4D24-58D3-2E14-6BC9504BC1E7}"/>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498F166-23B4-9336-40D7-AA245496C68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BE0A25F-2C9C-9C86-C604-AA21C9EF00F9}"/>
              </a:ext>
            </a:extLst>
          </p:cNvPr>
          <p:cNvSpPr>
            <a:spLocks noGrp="1"/>
          </p:cNvSpPr>
          <p:nvPr>
            <p:ph type="sldNum" sz="quarter" idx="12"/>
          </p:nvPr>
        </p:nvSpPr>
        <p:spPr/>
        <p:txBody>
          <a:bodyPr/>
          <a:lstStyle/>
          <a:p>
            <a:fld id="{E84006A6-0E15-460A-BCD4-002C20F8AC9F}" type="slidenum">
              <a:rPr lang="de-DE" smtClean="0"/>
              <a:pPr/>
              <a:t>70</a:t>
            </a:fld>
            <a:endParaRPr lang="de-DE"/>
          </a:p>
        </p:txBody>
      </p:sp>
      <p:sp>
        <p:nvSpPr>
          <p:cNvPr id="5" name="Titel 4">
            <a:extLst>
              <a:ext uri="{FF2B5EF4-FFF2-40B4-BE49-F238E27FC236}">
                <a16:creationId xmlns:a16="http://schemas.microsoft.com/office/drawing/2014/main" id="{C10C2864-2415-8531-97FC-3FC412521E5E}"/>
              </a:ext>
            </a:extLst>
          </p:cNvPr>
          <p:cNvSpPr>
            <a:spLocks noGrp="1"/>
          </p:cNvSpPr>
          <p:nvPr>
            <p:ph type="title"/>
          </p:nvPr>
        </p:nvSpPr>
        <p:spPr/>
        <p:txBody>
          <a:bodyPr/>
          <a:lstStyle/>
          <a:p>
            <a:r>
              <a:rPr lang="de-DE" dirty="0"/>
              <a:t>Pyramide</a:t>
            </a:r>
          </a:p>
        </p:txBody>
      </p:sp>
      <p:grpSp>
        <p:nvGrpSpPr>
          <p:cNvPr id="6" name="Gruppieren 5">
            <a:extLst>
              <a:ext uri="{FF2B5EF4-FFF2-40B4-BE49-F238E27FC236}">
                <a16:creationId xmlns:a16="http://schemas.microsoft.com/office/drawing/2014/main" id="{C6DE2ED5-C0D8-6F41-C7E8-E79CD060F6E2}"/>
              </a:ext>
            </a:extLst>
          </p:cNvPr>
          <p:cNvGrpSpPr/>
          <p:nvPr/>
        </p:nvGrpSpPr>
        <p:grpSpPr>
          <a:xfrm>
            <a:off x="512425" y="2375661"/>
            <a:ext cx="6882103" cy="3765552"/>
            <a:chOff x="530274" y="1991273"/>
            <a:chExt cx="6053082" cy="3311952"/>
          </a:xfrm>
        </p:grpSpPr>
        <p:sp>
          <p:nvSpPr>
            <p:cNvPr id="7" name="Dreieck">
              <a:extLst>
                <a:ext uri="{FF2B5EF4-FFF2-40B4-BE49-F238E27FC236}">
                  <a16:creationId xmlns:a16="http://schemas.microsoft.com/office/drawing/2014/main" id="{6BC75EFA-FE8D-8FE3-C705-CE6158CAF24D}"/>
                </a:ext>
              </a:extLst>
            </p:cNvPr>
            <p:cNvSpPr/>
            <p:nvPr/>
          </p:nvSpPr>
          <p:spPr bwMode="gray">
            <a:xfrm flipH="1">
              <a:off x="530274" y="1991273"/>
              <a:ext cx="3888842" cy="3311952"/>
            </a:xfrm>
            <a:prstGeom prst="triangl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strike="noStrike" kern="1200" cap="none" spc="0" normalizeH="0" baseline="0" noProof="0" dirty="0">
                <a:ln>
                  <a:noFill/>
                </a:ln>
                <a:solidFill>
                  <a:srgbClr val="FFFFFF"/>
                </a:solidFill>
                <a:effectLst/>
                <a:uLnTx/>
                <a:uFillTx/>
                <a:ea typeface="+mn-ea"/>
                <a:cs typeface="+mn-cs"/>
              </a:endParaRPr>
            </a:p>
          </p:txBody>
        </p:sp>
        <p:sp>
          <p:nvSpPr>
            <p:cNvPr id="8" name="Dreieck">
              <a:extLst>
                <a:ext uri="{FF2B5EF4-FFF2-40B4-BE49-F238E27FC236}">
                  <a16:creationId xmlns:a16="http://schemas.microsoft.com/office/drawing/2014/main" id="{C1750AFB-17C6-F3CA-A72A-EBF989C73BAD}"/>
                </a:ext>
              </a:extLst>
            </p:cNvPr>
            <p:cNvSpPr/>
            <p:nvPr/>
          </p:nvSpPr>
          <p:spPr bwMode="gray">
            <a:xfrm flipH="1">
              <a:off x="1322070" y="2665610"/>
              <a:ext cx="3097046" cy="2637615"/>
            </a:xfrm>
            <a:prstGeom prst="triangle">
              <a:avLst/>
            </a:prstGeom>
            <a:solidFill>
              <a:srgbClr val="365DA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ea typeface="+mn-ea"/>
                <a:cs typeface="+mn-cs"/>
              </a:endParaRPr>
            </a:p>
          </p:txBody>
        </p:sp>
        <p:sp>
          <p:nvSpPr>
            <p:cNvPr id="9" name="Dreieck">
              <a:extLst>
                <a:ext uri="{FF2B5EF4-FFF2-40B4-BE49-F238E27FC236}">
                  <a16:creationId xmlns:a16="http://schemas.microsoft.com/office/drawing/2014/main" id="{F935802E-D622-F955-91B8-C3D1E2DB4278}"/>
                </a:ext>
              </a:extLst>
            </p:cNvPr>
            <p:cNvSpPr/>
            <p:nvPr/>
          </p:nvSpPr>
          <p:spPr bwMode="gray">
            <a:xfrm flipH="1">
              <a:off x="2184429" y="3400043"/>
              <a:ext cx="2234687" cy="1903182"/>
            </a:xfrm>
            <a:prstGeom prst="triangle">
              <a:avLst/>
            </a:prstGeom>
            <a:solidFill>
              <a:srgbClr val="6A86C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ea typeface="+mn-ea"/>
                <a:cs typeface="+mn-cs"/>
              </a:endParaRPr>
            </a:p>
          </p:txBody>
        </p:sp>
        <p:sp>
          <p:nvSpPr>
            <p:cNvPr id="10" name="Dreieck">
              <a:extLst>
                <a:ext uri="{FF2B5EF4-FFF2-40B4-BE49-F238E27FC236}">
                  <a16:creationId xmlns:a16="http://schemas.microsoft.com/office/drawing/2014/main" id="{7AE05C8E-C519-EF22-60E1-223FAD324735}"/>
                </a:ext>
              </a:extLst>
            </p:cNvPr>
            <p:cNvSpPr/>
            <p:nvPr/>
          </p:nvSpPr>
          <p:spPr bwMode="gray">
            <a:xfrm flipH="1">
              <a:off x="2988700" y="4085003"/>
              <a:ext cx="1430416" cy="1218221"/>
            </a:xfrm>
            <a:prstGeom prst="triangle">
              <a:avLst/>
            </a:prstGeom>
            <a:solidFill>
              <a:srgbClr val="9BAE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err="1">
                <a:ln>
                  <a:noFill/>
                </a:ln>
                <a:solidFill>
                  <a:schemeClr val="tx1"/>
                </a:solidFill>
                <a:effectLst/>
                <a:uLnTx/>
                <a:uFillTx/>
                <a:ea typeface="+mn-ea"/>
                <a:cs typeface="+mn-cs"/>
              </a:endParaRPr>
            </a:p>
          </p:txBody>
        </p:sp>
        <p:sp>
          <p:nvSpPr>
            <p:cNvPr id="11" name="Textfeld">
              <a:extLst>
                <a:ext uri="{FF2B5EF4-FFF2-40B4-BE49-F238E27FC236}">
                  <a16:creationId xmlns:a16="http://schemas.microsoft.com/office/drawing/2014/main" id="{EFBB1F5B-B7F0-B648-25A2-A2776024C6F2}"/>
                </a:ext>
              </a:extLst>
            </p:cNvPr>
            <p:cNvSpPr txBox="1"/>
            <p:nvPr/>
          </p:nvSpPr>
          <p:spPr bwMode="gray">
            <a:xfrm flipH="1">
              <a:off x="3589144" y="4778829"/>
              <a:ext cx="206828" cy="293914"/>
            </a:xfrm>
            <a:prstGeom prst="rect">
              <a:avLst/>
            </a:prstGeom>
            <a:noFill/>
          </p:spPr>
          <p:txBody>
            <a:bodyPr wrap="square" lIns="0" tIns="0" rIns="0" bIns="0" rtlCol="0" anchor="ctr" anchorCtr="1">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A</a:t>
              </a:r>
            </a:p>
          </p:txBody>
        </p:sp>
        <p:sp>
          <p:nvSpPr>
            <p:cNvPr id="12" name="Textfeld">
              <a:extLst>
                <a:ext uri="{FF2B5EF4-FFF2-40B4-BE49-F238E27FC236}">
                  <a16:creationId xmlns:a16="http://schemas.microsoft.com/office/drawing/2014/main" id="{0C232072-336E-29D7-6A19-CCFEA2FABCFC}"/>
                </a:ext>
              </a:extLst>
            </p:cNvPr>
            <p:cNvSpPr txBox="1"/>
            <p:nvPr/>
          </p:nvSpPr>
          <p:spPr bwMode="gray">
            <a:xfrm flipH="1">
              <a:off x="2685357" y="4778829"/>
              <a:ext cx="206828" cy="293914"/>
            </a:xfrm>
            <a:prstGeom prst="rect">
              <a:avLst/>
            </a:prstGeom>
            <a:noFill/>
          </p:spPr>
          <p:txBody>
            <a:bodyPr wrap="square" lIns="0" tIns="0" rIns="0" bIns="0" rtlCol="0" anchor="ctr" anchorCtr="1">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ea typeface="+mn-ea"/>
                  <a:cs typeface="+mn-cs"/>
                </a:rPr>
                <a:t>B</a:t>
              </a:r>
            </a:p>
          </p:txBody>
        </p:sp>
        <p:sp>
          <p:nvSpPr>
            <p:cNvPr id="13" name="Textfeld">
              <a:extLst>
                <a:ext uri="{FF2B5EF4-FFF2-40B4-BE49-F238E27FC236}">
                  <a16:creationId xmlns:a16="http://schemas.microsoft.com/office/drawing/2014/main" id="{E9021844-D243-8221-D770-4313F67E2174}"/>
                </a:ext>
              </a:extLst>
            </p:cNvPr>
            <p:cNvSpPr txBox="1"/>
            <p:nvPr/>
          </p:nvSpPr>
          <p:spPr bwMode="gray">
            <a:xfrm flipH="1">
              <a:off x="1888957" y="4778829"/>
              <a:ext cx="206828" cy="293914"/>
            </a:xfrm>
            <a:prstGeom prst="rect">
              <a:avLst/>
            </a:prstGeom>
            <a:noFill/>
          </p:spPr>
          <p:txBody>
            <a:bodyPr wrap="square" lIns="0" tIns="0" rIns="0" bIns="0" rtlCol="0" anchor="ctr" anchorCtr="1">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ea typeface="+mn-ea"/>
                  <a:cs typeface="+mn-cs"/>
                </a:rPr>
                <a:t>C</a:t>
              </a:r>
            </a:p>
          </p:txBody>
        </p:sp>
        <p:sp>
          <p:nvSpPr>
            <p:cNvPr id="14" name="Textfeld">
              <a:extLst>
                <a:ext uri="{FF2B5EF4-FFF2-40B4-BE49-F238E27FC236}">
                  <a16:creationId xmlns:a16="http://schemas.microsoft.com/office/drawing/2014/main" id="{2BA6922D-4BA3-4D36-1BDE-F69E93C0010D}"/>
                </a:ext>
              </a:extLst>
            </p:cNvPr>
            <p:cNvSpPr txBox="1"/>
            <p:nvPr/>
          </p:nvSpPr>
          <p:spPr bwMode="gray">
            <a:xfrm flipH="1">
              <a:off x="1073881" y="4778829"/>
              <a:ext cx="206828" cy="293914"/>
            </a:xfrm>
            <a:prstGeom prst="rect">
              <a:avLst/>
            </a:prstGeom>
            <a:noFill/>
          </p:spPr>
          <p:txBody>
            <a:bodyPr wrap="square" lIns="0" tIns="0" rIns="0" bIns="0" rtlCol="0" anchor="ctr" anchorCtr="1">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ea typeface="+mn-ea"/>
                  <a:cs typeface="+mn-cs"/>
                </a:rPr>
                <a:t>D</a:t>
              </a:r>
            </a:p>
          </p:txBody>
        </p:sp>
        <p:cxnSp>
          <p:nvCxnSpPr>
            <p:cNvPr id="15" name="Gerader Verbinder 14">
              <a:extLst>
                <a:ext uri="{FF2B5EF4-FFF2-40B4-BE49-F238E27FC236}">
                  <a16:creationId xmlns:a16="http://schemas.microsoft.com/office/drawing/2014/main" id="{25B92883-F128-345B-F251-E242CE57A644}"/>
                </a:ext>
              </a:extLst>
            </p:cNvPr>
            <p:cNvCxnSpPr>
              <a:cxnSpLocks/>
            </p:cNvCxnSpPr>
            <p:nvPr/>
          </p:nvCxnSpPr>
          <p:spPr bwMode="gray">
            <a:xfrm>
              <a:off x="2817396" y="2341266"/>
              <a:ext cx="14313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r Verbinder 47">
              <a:extLst>
                <a:ext uri="{FF2B5EF4-FFF2-40B4-BE49-F238E27FC236}">
                  <a16:creationId xmlns:a16="http://schemas.microsoft.com/office/drawing/2014/main" id="{B8F40E17-4FB6-09C7-DCE6-13E69ABA5F76}"/>
                </a:ext>
              </a:extLst>
            </p:cNvPr>
            <p:cNvCxnSpPr>
              <a:cxnSpLocks/>
            </p:cNvCxnSpPr>
            <p:nvPr/>
          </p:nvCxnSpPr>
          <p:spPr bwMode="gray">
            <a:xfrm>
              <a:off x="3248538" y="3081173"/>
              <a:ext cx="1000174" cy="0"/>
            </a:xfrm>
            <a:prstGeom prst="line">
              <a:avLst/>
            </a:prstGeom>
            <a:ln>
              <a:solidFill>
                <a:srgbClr val="365DAE"/>
              </a:solidFill>
            </a:ln>
          </p:spPr>
          <p:style>
            <a:lnRef idx="1">
              <a:schemeClr val="accent1"/>
            </a:lnRef>
            <a:fillRef idx="0">
              <a:schemeClr val="accent1"/>
            </a:fillRef>
            <a:effectRef idx="0">
              <a:schemeClr val="accent1"/>
            </a:effectRef>
            <a:fontRef idx="minor">
              <a:schemeClr val="tx1"/>
            </a:fontRef>
          </p:style>
        </p:cxnSp>
        <p:cxnSp>
          <p:nvCxnSpPr>
            <p:cNvPr id="17" name="Gerader Verbinder 48">
              <a:extLst>
                <a:ext uri="{FF2B5EF4-FFF2-40B4-BE49-F238E27FC236}">
                  <a16:creationId xmlns:a16="http://schemas.microsoft.com/office/drawing/2014/main" id="{149EDD11-5611-411C-0704-52C1403FAE95}"/>
                </a:ext>
              </a:extLst>
            </p:cNvPr>
            <p:cNvCxnSpPr>
              <a:cxnSpLocks/>
            </p:cNvCxnSpPr>
            <p:nvPr/>
          </p:nvCxnSpPr>
          <p:spPr bwMode="gray">
            <a:xfrm>
              <a:off x="3655991" y="3821080"/>
              <a:ext cx="592721" cy="0"/>
            </a:xfrm>
            <a:prstGeom prst="line">
              <a:avLst/>
            </a:prstGeom>
            <a:ln>
              <a:solidFill>
                <a:srgbClr val="6A86C3"/>
              </a:solidFill>
            </a:ln>
          </p:spPr>
          <p:style>
            <a:lnRef idx="1">
              <a:schemeClr val="accent1"/>
            </a:lnRef>
            <a:fillRef idx="0">
              <a:schemeClr val="accent1"/>
            </a:fillRef>
            <a:effectRef idx="0">
              <a:schemeClr val="accent1"/>
            </a:effectRef>
            <a:fontRef idx="minor">
              <a:schemeClr val="tx1"/>
            </a:fontRef>
          </p:style>
        </p:cxnSp>
        <p:cxnSp>
          <p:nvCxnSpPr>
            <p:cNvPr id="18" name="Gerader Verbinder 49">
              <a:extLst>
                <a:ext uri="{FF2B5EF4-FFF2-40B4-BE49-F238E27FC236}">
                  <a16:creationId xmlns:a16="http://schemas.microsoft.com/office/drawing/2014/main" id="{6DD8FB7D-700C-72BF-8313-C9BD1F2059FC}"/>
                </a:ext>
              </a:extLst>
            </p:cNvPr>
            <p:cNvCxnSpPr>
              <a:cxnSpLocks/>
            </p:cNvCxnSpPr>
            <p:nvPr/>
          </p:nvCxnSpPr>
          <p:spPr bwMode="gray">
            <a:xfrm>
              <a:off x="4112696" y="4560988"/>
              <a:ext cx="136016" cy="0"/>
            </a:xfrm>
            <a:prstGeom prst="line">
              <a:avLst/>
            </a:prstGeom>
            <a:ln>
              <a:solidFill>
                <a:srgbClr val="9BAED8"/>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1936B120-EA02-66FB-C20A-847BFAE343E5}"/>
                </a:ext>
              </a:extLst>
            </p:cNvPr>
            <p:cNvSpPr txBox="1"/>
            <p:nvPr/>
          </p:nvSpPr>
          <p:spPr bwMode="gray">
            <a:xfrm>
              <a:off x="4427796" y="2070257"/>
              <a:ext cx="2155560" cy="530244"/>
            </a:xfrm>
            <a:prstGeom prst="rect">
              <a:avLst/>
            </a:prstGeom>
            <a:noFill/>
          </p:spPr>
          <p:txBody>
            <a:bodyPr wrap="square" lIns="0" tIns="0" rIns="0" bIns="0" rtlCol="0" anchor="ctr" anchorCtr="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orem ipsum dolor sit amet, </a:t>
              </a:r>
              <a:r>
                <a:rPr kumimoji="0" lang="en-US" sz="1400" b="0" i="0" u="none" strike="noStrike" kern="1200" cap="none" spc="0" normalizeH="0" baseline="0" noProof="0" dirty="0">
                  <a:ln>
                    <a:noFill/>
                  </a:ln>
                  <a:solidFill>
                    <a:srgbClr val="000000"/>
                  </a:solidFill>
                  <a:effectLst/>
                  <a:uLnTx/>
                  <a:uFillTx/>
                  <a:ea typeface="+mn-ea"/>
                  <a:cs typeface="+mn-cs"/>
                </a:rPr>
                <a:t>consectetuer adipiscing elit. </a:t>
              </a:r>
            </a:p>
          </p:txBody>
        </p:sp>
        <p:sp>
          <p:nvSpPr>
            <p:cNvPr id="20" name="Textfeld 19">
              <a:extLst>
                <a:ext uri="{FF2B5EF4-FFF2-40B4-BE49-F238E27FC236}">
                  <a16:creationId xmlns:a16="http://schemas.microsoft.com/office/drawing/2014/main" id="{8DE02594-F9EF-1000-F6FA-CBFCCE197588}"/>
                </a:ext>
              </a:extLst>
            </p:cNvPr>
            <p:cNvSpPr txBox="1"/>
            <p:nvPr/>
          </p:nvSpPr>
          <p:spPr bwMode="gray">
            <a:xfrm>
              <a:off x="4427796" y="2812127"/>
              <a:ext cx="2155560" cy="530244"/>
            </a:xfrm>
            <a:prstGeom prst="rect">
              <a:avLst/>
            </a:prstGeom>
            <a:noFill/>
          </p:spPr>
          <p:txBody>
            <a:bodyPr wrap="square" lIns="0" tIns="0" rIns="0" bIns="0" rtlCol="0" anchor="ctr" anchorCtr="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orem ipsum dolor sit amet, </a:t>
              </a:r>
              <a:r>
                <a:rPr kumimoji="0" lang="en-US" sz="1400" b="0" i="0" u="none" strike="noStrike" kern="1200" cap="none" spc="0" normalizeH="0" baseline="0" noProof="0" dirty="0">
                  <a:ln>
                    <a:noFill/>
                  </a:ln>
                  <a:solidFill>
                    <a:srgbClr val="000000"/>
                  </a:solidFill>
                  <a:effectLst/>
                  <a:uLnTx/>
                  <a:uFillTx/>
                  <a:ea typeface="+mn-ea"/>
                  <a:cs typeface="+mn-cs"/>
                </a:rPr>
                <a:t>consectetuer adipiscing elit.</a:t>
              </a:r>
            </a:p>
          </p:txBody>
        </p:sp>
        <p:sp>
          <p:nvSpPr>
            <p:cNvPr id="21" name="Textfeld 20">
              <a:extLst>
                <a:ext uri="{FF2B5EF4-FFF2-40B4-BE49-F238E27FC236}">
                  <a16:creationId xmlns:a16="http://schemas.microsoft.com/office/drawing/2014/main" id="{AB8AA980-2BE3-6D51-D04C-38E3E07D72F2}"/>
                </a:ext>
              </a:extLst>
            </p:cNvPr>
            <p:cNvSpPr txBox="1"/>
            <p:nvPr/>
          </p:nvSpPr>
          <p:spPr bwMode="gray">
            <a:xfrm>
              <a:off x="4427796" y="3553997"/>
              <a:ext cx="2155560" cy="530244"/>
            </a:xfrm>
            <a:prstGeom prst="rect">
              <a:avLst/>
            </a:prstGeom>
            <a:noFill/>
          </p:spPr>
          <p:txBody>
            <a:bodyPr wrap="square" lIns="0" tIns="0" rIns="0" bIns="0" rtlCol="0" anchor="ctr" anchorCtr="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orem ipsum dolor sit amet, </a:t>
              </a:r>
              <a:r>
                <a:rPr kumimoji="0" lang="en-US" sz="1400" b="0" i="0" u="none" strike="noStrike" kern="1200" cap="none" spc="0" normalizeH="0" baseline="0" noProof="0" dirty="0">
                  <a:ln>
                    <a:noFill/>
                  </a:ln>
                  <a:solidFill>
                    <a:srgbClr val="000000"/>
                  </a:solidFill>
                  <a:effectLst/>
                  <a:uLnTx/>
                  <a:uFillTx/>
                  <a:ea typeface="+mn-ea"/>
                  <a:cs typeface="+mn-cs"/>
                </a:rPr>
                <a:t>consectetuer adipiscing elit. </a:t>
              </a:r>
            </a:p>
          </p:txBody>
        </p:sp>
        <p:sp>
          <p:nvSpPr>
            <p:cNvPr id="22" name="Textfeld 21">
              <a:extLst>
                <a:ext uri="{FF2B5EF4-FFF2-40B4-BE49-F238E27FC236}">
                  <a16:creationId xmlns:a16="http://schemas.microsoft.com/office/drawing/2014/main" id="{D8A1F36B-4905-A721-31D5-F3D23D3F688C}"/>
                </a:ext>
              </a:extLst>
            </p:cNvPr>
            <p:cNvSpPr txBox="1"/>
            <p:nvPr/>
          </p:nvSpPr>
          <p:spPr bwMode="gray">
            <a:xfrm>
              <a:off x="4427796" y="4295866"/>
              <a:ext cx="2155560" cy="530244"/>
            </a:xfrm>
            <a:prstGeom prst="rect">
              <a:avLst/>
            </a:prstGeom>
            <a:noFill/>
          </p:spPr>
          <p:txBody>
            <a:bodyPr wrap="square" lIns="0" tIns="0" rIns="0" bIns="0" rtlCol="0" anchor="ctr" anchorCtr="0">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mn-ea"/>
                  <a:cs typeface="+mn-cs"/>
                </a:rPr>
                <a:t>Lorem ipsum dolor sit amet, </a:t>
              </a:r>
              <a:r>
                <a:rPr kumimoji="0" lang="en-US" sz="1400" b="0" i="0" u="none" strike="noStrike" kern="1200" cap="none" spc="0" normalizeH="0" baseline="0" noProof="0" dirty="0">
                  <a:ln>
                    <a:noFill/>
                  </a:ln>
                  <a:solidFill>
                    <a:srgbClr val="000000"/>
                  </a:solidFill>
                  <a:effectLst/>
                  <a:uLnTx/>
                  <a:uFillTx/>
                  <a:ea typeface="+mn-ea"/>
                  <a:cs typeface="+mn-cs"/>
                </a:rPr>
                <a:t>consectetuer adipiscing elit. </a:t>
              </a:r>
            </a:p>
          </p:txBody>
        </p:sp>
      </p:grpSp>
      <p:grpSp>
        <p:nvGrpSpPr>
          <p:cNvPr id="23" name="Gruppieren 22">
            <a:extLst>
              <a:ext uri="{FF2B5EF4-FFF2-40B4-BE49-F238E27FC236}">
                <a16:creationId xmlns:a16="http://schemas.microsoft.com/office/drawing/2014/main" id="{5F858727-C4FE-022D-C0D2-BD7147FAF42F}"/>
              </a:ext>
            </a:extLst>
          </p:cNvPr>
          <p:cNvGrpSpPr/>
          <p:nvPr/>
        </p:nvGrpSpPr>
        <p:grpSpPr>
          <a:xfrm>
            <a:off x="7258125" y="2375661"/>
            <a:ext cx="4441599" cy="3765552"/>
            <a:chOff x="7254522" y="1654330"/>
            <a:chExt cx="4022550" cy="3425825"/>
          </a:xfrm>
        </p:grpSpPr>
        <p:grpSp>
          <p:nvGrpSpPr>
            <p:cNvPr id="24" name="Gruppieren 23">
              <a:extLst>
                <a:ext uri="{FF2B5EF4-FFF2-40B4-BE49-F238E27FC236}">
                  <a16:creationId xmlns:a16="http://schemas.microsoft.com/office/drawing/2014/main" id="{8D4CC7A7-D4AA-928A-4EE3-DDAD1F777F21}"/>
                </a:ext>
              </a:extLst>
            </p:cNvPr>
            <p:cNvGrpSpPr/>
            <p:nvPr/>
          </p:nvGrpSpPr>
          <p:grpSpPr bwMode="gray">
            <a:xfrm>
              <a:off x="7254522" y="1654330"/>
              <a:ext cx="4022550" cy="3425825"/>
              <a:chOff x="6983738" y="2004525"/>
              <a:chExt cx="3702608" cy="3153345"/>
            </a:xfrm>
          </p:grpSpPr>
          <p:sp>
            <p:nvSpPr>
              <p:cNvPr id="30" name="Dreieck 5">
                <a:extLst>
                  <a:ext uri="{FF2B5EF4-FFF2-40B4-BE49-F238E27FC236}">
                    <a16:creationId xmlns:a16="http://schemas.microsoft.com/office/drawing/2014/main" id="{7F5C85D3-D2A4-47CD-7796-5CECEFA50128}"/>
                  </a:ext>
                </a:extLst>
              </p:cNvPr>
              <p:cNvSpPr>
                <a:spLocks noChangeAspect="1"/>
              </p:cNvSpPr>
              <p:nvPr/>
            </p:nvSpPr>
            <p:spPr bwMode="gray">
              <a:xfrm>
                <a:off x="6983738" y="2004525"/>
                <a:ext cx="3702608" cy="3153345"/>
              </a:xfrm>
              <a:prstGeom prst="triangl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31" name="Dreieck 4">
                <a:extLst>
                  <a:ext uri="{FF2B5EF4-FFF2-40B4-BE49-F238E27FC236}">
                    <a16:creationId xmlns:a16="http://schemas.microsoft.com/office/drawing/2014/main" id="{83970836-CCCB-E224-C3CD-2B14D750DBC6}"/>
                  </a:ext>
                </a:extLst>
              </p:cNvPr>
              <p:cNvSpPr>
                <a:spLocks noChangeAspect="1"/>
              </p:cNvSpPr>
              <p:nvPr/>
            </p:nvSpPr>
            <p:spPr bwMode="gray">
              <a:xfrm>
                <a:off x="7299354" y="2004525"/>
                <a:ext cx="3071377" cy="2613981"/>
              </a:xfrm>
              <a:prstGeom prst="triangl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32" name="Dreieck 3">
                <a:extLst>
                  <a:ext uri="{FF2B5EF4-FFF2-40B4-BE49-F238E27FC236}">
                    <a16:creationId xmlns:a16="http://schemas.microsoft.com/office/drawing/2014/main" id="{84541237-CC3F-0C08-5252-24F687C881B9}"/>
                  </a:ext>
                </a:extLst>
              </p:cNvPr>
              <p:cNvSpPr>
                <a:spLocks noChangeAspect="1"/>
              </p:cNvSpPr>
              <p:nvPr/>
            </p:nvSpPr>
            <p:spPr bwMode="gray">
              <a:xfrm>
                <a:off x="7614415" y="2004525"/>
                <a:ext cx="2441255" cy="2077709"/>
              </a:xfrm>
              <a:prstGeom prst="triangl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33" name="Dreieck 2">
                <a:extLst>
                  <a:ext uri="{FF2B5EF4-FFF2-40B4-BE49-F238E27FC236}">
                    <a16:creationId xmlns:a16="http://schemas.microsoft.com/office/drawing/2014/main" id="{FB40DDC5-DDA2-6201-A447-069D48BA6F99}"/>
                  </a:ext>
                </a:extLst>
              </p:cNvPr>
              <p:cNvSpPr>
                <a:spLocks noChangeAspect="1"/>
              </p:cNvSpPr>
              <p:nvPr/>
            </p:nvSpPr>
            <p:spPr bwMode="gray">
              <a:xfrm>
                <a:off x="7934030" y="2004525"/>
                <a:ext cx="1802025" cy="1533671"/>
              </a:xfrm>
              <a:prstGeom prst="triangl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ea typeface="+mn-ea"/>
                  <a:cs typeface="+mn-cs"/>
                </a:endParaRPr>
              </a:p>
            </p:txBody>
          </p:sp>
          <p:sp>
            <p:nvSpPr>
              <p:cNvPr id="34" name="Dreieck 1">
                <a:extLst>
                  <a:ext uri="{FF2B5EF4-FFF2-40B4-BE49-F238E27FC236}">
                    <a16:creationId xmlns:a16="http://schemas.microsoft.com/office/drawing/2014/main" id="{B835F09C-E953-66F8-E4C5-84B7B66A32E4}"/>
                  </a:ext>
                </a:extLst>
              </p:cNvPr>
              <p:cNvSpPr>
                <a:spLocks noChangeAspect="1"/>
              </p:cNvSpPr>
              <p:nvPr/>
            </p:nvSpPr>
            <p:spPr bwMode="gray">
              <a:xfrm>
                <a:off x="8250899" y="2004525"/>
                <a:ext cx="1168286" cy="994307"/>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ctr" defTabSz="914400" rtl="0" eaLnBrk="1" fontAlgn="auto" latinLnBrk="0" hangingPunct="1">
                  <a:spcBef>
                    <a:spcPts val="0"/>
                  </a:spcBef>
                  <a:spcAft>
                    <a:spcPts val="0"/>
                  </a:spcAft>
                  <a:buClrTx/>
                  <a:buSzTx/>
                  <a:buFontTx/>
                  <a:buNone/>
                  <a:tabLst/>
                  <a:defRPr/>
                </a:pPr>
                <a:endParaRPr kumimoji="0" lang="en-US" sz="1400" b="0" i="0" u="none" strike="noStrike" kern="1200" cap="none" spc="0" normalizeH="0" baseline="0" noProof="0">
                  <a:ln>
                    <a:noFill/>
                  </a:ln>
                  <a:solidFill>
                    <a:schemeClr val="bg1"/>
                  </a:solidFill>
                  <a:effectLst/>
                  <a:uLnTx/>
                  <a:uFillTx/>
                  <a:ea typeface="+mn-ea"/>
                  <a:cs typeface="+mn-cs"/>
                </a:endParaRPr>
              </a:p>
            </p:txBody>
          </p:sp>
        </p:grpSp>
        <p:sp>
          <p:nvSpPr>
            <p:cNvPr id="25" name="Textfeld 24">
              <a:extLst>
                <a:ext uri="{FF2B5EF4-FFF2-40B4-BE49-F238E27FC236}">
                  <a16:creationId xmlns:a16="http://schemas.microsoft.com/office/drawing/2014/main" id="{B66F3336-7B00-FDE2-3C71-B8E08D447512}"/>
                </a:ext>
              </a:extLst>
            </p:cNvPr>
            <p:cNvSpPr txBox="1"/>
            <p:nvPr/>
          </p:nvSpPr>
          <p:spPr bwMode="gray">
            <a:xfrm>
              <a:off x="7983775" y="4582424"/>
              <a:ext cx="2564045" cy="396900"/>
            </a:xfrm>
            <a:prstGeom prst="rect">
              <a:avLst/>
            </a:prstGeom>
            <a:noFill/>
          </p:spPr>
          <p:txBody>
            <a:bodyPr wrap="square" lIns="0" tIns="0" rIns="0" bIns="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Lorem ipsum dolor</a:t>
              </a:r>
            </a:p>
          </p:txBody>
        </p:sp>
        <p:sp>
          <p:nvSpPr>
            <p:cNvPr id="26" name="Textfeld 25">
              <a:extLst>
                <a:ext uri="{FF2B5EF4-FFF2-40B4-BE49-F238E27FC236}">
                  <a16:creationId xmlns:a16="http://schemas.microsoft.com/office/drawing/2014/main" id="{3B347929-AAA3-AF9E-ABE8-2D76A9FE2AD0}"/>
                </a:ext>
              </a:extLst>
            </p:cNvPr>
            <p:cNvSpPr txBox="1"/>
            <p:nvPr/>
          </p:nvSpPr>
          <p:spPr bwMode="gray">
            <a:xfrm>
              <a:off x="7983775" y="4000650"/>
              <a:ext cx="2564045" cy="396900"/>
            </a:xfrm>
            <a:prstGeom prst="rect">
              <a:avLst/>
            </a:prstGeom>
            <a:noFill/>
          </p:spPr>
          <p:txBody>
            <a:bodyPr wrap="square" lIns="0" tIns="0" rIns="0" bIns="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ea typeface="+mn-ea"/>
                  <a:cs typeface="+mn-cs"/>
                </a:rPr>
                <a:t>Lorem ipsum dolor</a:t>
              </a:r>
            </a:p>
          </p:txBody>
        </p:sp>
        <p:sp>
          <p:nvSpPr>
            <p:cNvPr id="27" name="Textfeld 26">
              <a:extLst>
                <a:ext uri="{FF2B5EF4-FFF2-40B4-BE49-F238E27FC236}">
                  <a16:creationId xmlns:a16="http://schemas.microsoft.com/office/drawing/2014/main" id="{C0A994A7-68A0-781B-7CC1-937AE1656973}"/>
                </a:ext>
              </a:extLst>
            </p:cNvPr>
            <p:cNvSpPr txBox="1"/>
            <p:nvPr/>
          </p:nvSpPr>
          <p:spPr bwMode="gray">
            <a:xfrm>
              <a:off x="8105411" y="3418875"/>
              <a:ext cx="2320772" cy="396900"/>
            </a:xfrm>
            <a:prstGeom prst="rect">
              <a:avLst/>
            </a:prstGeom>
            <a:noFill/>
          </p:spPr>
          <p:txBody>
            <a:bodyPr wrap="square" lIns="0" tIns="0" rIns="0" bIns="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Lorem ipsum dolor</a:t>
              </a:r>
            </a:p>
          </p:txBody>
        </p:sp>
        <p:sp>
          <p:nvSpPr>
            <p:cNvPr id="28" name="Textfeld 27">
              <a:extLst>
                <a:ext uri="{FF2B5EF4-FFF2-40B4-BE49-F238E27FC236}">
                  <a16:creationId xmlns:a16="http://schemas.microsoft.com/office/drawing/2014/main" id="{EA558908-50D2-151B-605D-165DBF8B33C8}"/>
                </a:ext>
              </a:extLst>
            </p:cNvPr>
            <p:cNvSpPr txBox="1"/>
            <p:nvPr/>
          </p:nvSpPr>
          <p:spPr bwMode="gray">
            <a:xfrm>
              <a:off x="8447055" y="2837100"/>
              <a:ext cx="1637484" cy="396900"/>
            </a:xfrm>
            <a:prstGeom prst="rect">
              <a:avLst/>
            </a:prstGeom>
            <a:noFill/>
          </p:spPr>
          <p:txBody>
            <a:bodyPr wrap="square" lIns="0" tIns="0" rIns="0" bIns="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Lorem ipsum</a:t>
              </a:r>
            </a:p>
          </p:txBody>
        </p:sp>
        <p:sp>
          <p:nvSpPr>
            <p:cNvPr id="29" name="Textfeld 28">
              <a:extLst>
                <a:ext uri="{FF2B5EF4-FFF2-40B4-BE49-F238E27FC236}">
                  <a16:creationId xmlns:a16="http://schemas.microsoft.com/office/drawing/2014/main" id="{E2763474-F15D-0400-FE67-7E8E7DD30CD6}"/>
                </a:ext>
              </a:extLst>
            </p:cNvPr>
            <p:cNvSpPr txBox="1"/>
            <p:nvPr/>
          </p:nvSpPr>
          <p:spPr bwMode="gray">
            <a:xfrm>
              <a:off x="8788699" y="2258949"/>
              <a:ext cx="954196" cy="396900"/>
            </a:xfrm>
            <a:prstGeom prst="rect">
              <a:avLst/>
            </a:prstGeom>
            <a:noFill/>
          </p:spPr>
          <p:txBody>
            <a:bodyPr wrap="square" lIns="0" tIns="0" rIns="0" bIns="0" rtlCol="0" anchor="ctr" anchorCtr="0">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Lorem</a:t>
              </a:r>
              <a:br>
                <a:rPr kumimoji="0" lang="en-US" sz="1400" b="0" i="0" u="none" strike="noStrike" kern="1200" cap="none" spc="0" normalizeH="0" baseline="0" noProof="0" dirty="0">
                  <a:ln>
                    <a:noFill/>
                  </a:ln>
                  <a:solidFill>
                    <a:schemeClr val="bg1"/>
                  </a:solidFill>
                  <a:effectLst/>
                  <a:uLnTx/>
                  <a:uFillTx/>
                  <a:ea typeface="+mn-ea"/>
                  <a:cs typeface="+mn-cs"/>
                </a:rPr>
              </a:br>
              <a:r>
                <a:rPr kumimoji="0" lang="en-US" sz="1400" b="0" i="0" u="none" strike="noStrike" kern="1200" cap="none" spc="0" normalizeH="0" baseline="0" noProof="0" dirty="0">
                  <a:ln>
                    <a:noFill/>
                  </a:ln>
                  <a:solidFill>
                    <a:schemeClr val="bg1"/>
                  </a:solidFill>
                  <a:effectLst/>
                  <a:uLnTx/>
                  <a:uFillTx/>
                  <a:ea typeface="+mn-ea"/>
                  <a:cs typeface="+mn-cs"/>
                </a:rPr>
                <a:t> ipsum</a:t>
              </a:r>
            </a:p>
          </p:txBody>
        </p:sp>
      </p:grpSp>
    </p:spTree>
    <p:extLst>
      <p:ext uri="{BB962C8B-B14F-4D97-AF65-F5344CB8AC3E}">
        <p14:creationId xmlns:p14="http://schemas.microsoft.com/office/powerpoint/2010/main" val="14140960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ABAF4D0-0282-1372-B044-CC055560CD7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602946E6-9D7A-3B77-F951-023FBA4CAE67}"/>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09514B0B-BB24-421E-654E-244AD576C63C}"/>
              </a:ext>
            </a:extLst>
          </p:cNvPr>
          <p:cNvSpPr>
            <a:spLocks noGrp="1"/>
          </p:cNvSpPr>
          <p:nvPr>
            <p:ph type="sldNum" sz="quarter" idx="12"/>
          </p:nvPr>
        </p:nvSpPr>
        <p:spPr/>
        <p:txBody>
          <a:bodyPr/>
          <a:lstStyle/>
          <a:p>
            <a:fld id="{E84006A6-0E15-460A-BCD4-002C20F8AC9F}" type="slidenum">
              <a:rPr lang="de-DE" smtClean="0"/>
              <a:pPr/>
              <a:t>71</a:t>
            </a:fld>
            <a:endParaRPr lang="de-DE"/>
          </a:p>
        </p:txBody>
      </p:sp>
      <p:sp>
        <p:nvSpPr>
          <p:cNvPr id="5" name="Titel 4">
            <a:extLst>
              <a:ext uri="{FF2B5EF4-FFF2-40B4-BE49-F238E27FC236}">
                <a16:creationId xmlns:a16="http://schemas.microsoft.com/office/drawing/2014/main" id="{EE7BE2F0-735B-698A-A9A2-28938F317E3B}"/>
              </a:ext>
            </a:extLst>
          </p:cNvPr>
          <p:cNvSpPr>
            <a:spLocks noGrp="1"/>
          </p:cNvSpPr>
          <p:nvPr>
            <p:ph type="title"/>
          </p:nvPr>
        </p:nvSpPr>
        <p:spPr/>
        <p:txBody>
          <a:bodyPr/>
          <a:lstStyle/>
          <a:p>
            <a:r>
              <a:rPr lang="de-DE" dirty="0"/>
              <a:t>Diagramme</a:t>
            </a:r>
          </a:p>
        </p:txBody>
      </p:sp>
      <p:graphicFrame>
        <p:nvGraphicFramePr>
          <p:cNvPr id="6" name="Diagramm 5">
            <a:extLst>
              <a:ext uri="{FF2B5EF4-FFF2-40B4-BE49-F238E27FC236}">
                <a16:creationId xmlns:a16="http://schemas.microsoft.com/office/drawing/2014/main" id="{8D4BC6BB-978E-08BE-7564-E4E0C17AE3E8}"/>
              </a:ext>
            </a:extLst>
          </p:cNvPr>
          <p:cNvGraphicFramePr/>
          <p:nvPr>
            <p:extLst>
              <p:ext uri="{D42A27DB-BD31-4B8C-83A1-F6EECF244321}">
                <p14:modId xmlns:p14="http://schemas.microsoft.com/office/powerpoint/2010/main" val="354161322"/>
              </p:ext>
            </p:extLst>
          </p:nvPr>
        </p:nvGraphicFramePr>
        <p:xfrm>
          <a:off x="515938" y="1520825"/>
          <a:ext cx="11160125" cy="46085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52908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ABAF4D0-0282-1372-B044-CC055560CD7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602946E6-9D7A-3B77-F951-023FBA4CAE67}"/>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09514B0B-BB24-421E-654E-244AD576C63C}"/>
              </a:ext>
            </a:extLst>
          </p:cNvPr>
          <p:cNvSpPr>
            <a:spLocks noGrp="1"/>
          </p:cNvSpPr>
          <p:nvPr>
            <p:ph type="sldNum" sz="quarter" idx="12"/>
          </p:nvPr>
        </p:nvSpPr>
        <p:spPr/>
        <p:txBody>
          <a:bodyPr/>
          <a:lstStyle/>
          <a:p>
            <a:fld id="{E84006A6-0E15-460A-BCD4-002C20F8AC9F}" type="slidenum">
              <a:rPr lang="de-DE" smtClean="0"/>
              <a:pPr/>
              <a:t>72</a:t>
            </a:fld>
            <a:endParaRPr lang="de-DE"/>
          </a:p>
        </p:txBody>
      </p:sp>
      <p:sp>
        <p:nvSpPr>
          <p:cNvPr id="5" name="Titel 4">
            <a:extLst>
              <a:ext uri="{FF2B5EF4-FFF2-40B4-BE49-F238E27FC236}">
                <a16:creationId xmlns:a16="http://schemas.microsoft.com/office/drawing/2014/main" id="{EE7BE2F0-735B-698A-A9A2-28938F317E3B}"/>
              </a:ext>
            </a:extLst>
          </p:cNvPr>
          <p:cNvSpPr>
            <a:spLocks noGrp="1"/>
          </p:cNvSpPr>
          <p:nvPr>
            <p:ph type="title"/>
          </p:nvPr>
        </p:nvSpPr>
        <p:spPr/>
        <p:txBody>
          <a:bodyPr/>
          <a:lstStyle/>
          <a:p>
            <a:r>
              <a:rPr lang="de-DE"/>
              <a:t>Diagramme</a:t>
            </a:r>
          </a:p>
        </p:txBody>
      </p:sp>
      <p:graphicFrame>
        <p:nvGraphicFramePr>
          <p:cNvPr id="7" name="Diagramm 6">
            <a:extLst>
              <a:ext uri="{FF2B5EF4-FFF2-40B4-BE49-F238E27FC236}">
                <a16:creationId xmlns:a16="http://schemas.microsoft.com/office/drawing/2014/main" id="{44A099C0-AC1F-098E-717F-2F847670B716}"/>
              </a:ext>
            </a:extLst>
          </p:cNvPr>
          <p:cNvGraphicFramePr/>
          <p:nvPr>
            <p:extLst>
              <p:ext uri="{D42A27DB-BD31-4B8C-83A1-F6EECF244321}">
                <p14:modId xmlns:p14="http://schemas.microsoft.com/office/powerpoint/2010/main" val="2654532832"/>
              </p:ext>
            </p:extLst>
          </p:nvPr>
        </p:nvGraphicFramePr>
        <p:xfrm>
          <a:off x="515938" y="1534332"/>
          <a:ext cx="11160036" cy="45950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5555978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743D350-EA29-E126-68B0-E5BD9EE63DDF}"/>
              </a:ext>
            </a:extLst>
          </p:cNvPr>
          <p:cNvSpPr/>
          <p:nvPr/>
        </p:nvSpPr>
        <p:spPr>
          <a:xfrm>
            <a:off x="7481840" y="0"/>
            <a:ext cx="47101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cxnSp>
        <p:nvCxnSpPr>
          <p:cNvPr id="8" name="Gerade Verbindung 7">
            <a:extLst>
              <a:ext uri="{FF2B5EF4-FFF2-40B4-BE49-F238E27FC236}">
                <a16:creationId xmlns:a16="http://schemas.microsoft.com/office/drawing/2014/main" id="{29A314CF-852C-9383-0F43-4ECB45DB497E}"/>
              </a:ext>
            </a:extLst>
          </p:cNvPr>
          <p:cNvCxnSpPr>
            <a:cxnSpLocks/>
          </p:cNvCxnSpPr>
          <p:nvPr/>
        </p:nvCxnSpPr>
        <p:spPr>
          <a:xfrm>
            <a:off x="7481840" y="6343228"/>
            <a:ext cx="41942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uppieren 8">
            <a:extLst>
              <a:ext uri="{FF2B5EF4-FFF2-40B4-BE49-F238E27FC236}">
                <a16:creationId xmlns:a16="http://schemas.microsoft.com/office/drawing/2014/main" id="{C90B43A2-7370-978F-0A4F-557EDEF32ED2}"/>
              </a:ext>
            </a:extLst>
          </p:cNvPr>
          <p:cNvGrpSpPr/>
          <p:nvPr/>
        </p:nvGrpSpPr>
        <p:grpSpPr>
          <a:xfrm>
            <a:off x="8427006" y="2211826"/>
            <a:ext cx="2819829" cy="2434348"/>
            <a:chOff x="777196" y="2790380"/>
            <a:chExt cx="2819829" cy="2434348"/>
          </a:xfrm>
        </p:grpSpPr>
        <p:sp>
          <p:nvSpPr>
            <p:cNvPr id="10" name="Textfeld 9">
              <a:extLst>
                <a:ext uri="{FF2B5EF4-FFF2-40B4-BE49-F238E27FC236}">
                  <a16:creationId xmlns:a16="http://schemas.microsoft.com/office/drawing/2014/main" id="{25EF9FCE-241B-24C2-3D69-F47CC7369CC2}"/>
                </a:ext>
              </a:extLst>
            </p:cNvPr>
            <p:cNvSpPr txBox="1"/>
            <p:nvPr/>
          </p:nvSpPr>
          <p:spPr>
            <a:xfrm>
              <a:off x="777196" y="2790380"/>
              <a:ext cx="2819829" cy="73866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a:t>
              </a:r>
              <a:r>
                <a:rPr kumimoji="0" lang="de-DE" sz="2400" b="1" i="0" u="none" strike="noStrike" kern="1200" cap="none" spc="0" normalizeH="0" baseline="0" noProof="0" dirty="0" err="1">
                  <a:ln>
                    <a:noFill/>
                  </a:ln>
                  <a:solidFill>
                    <a:schemeClr val="bg1"/>
                  </a:solidFill>
                  <a:effectLst/>
                  <a:uLnTx/>
                  <a:uFillTx/>
                  <a:latin typeface="NeueHaasGroteskText Pro" panose="020B0504020202020204" pitchFamily="34" charset="77"/>
                  <a:ea typeface="+mn-ea"/>
                  <a:cs typeface="Arial"/>
                </a:rPr>
                <a:t>manga</a:t>
              </a: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a:t>
              </a:r>
            </a:p>
          </p:txBody>
        </p:sp>
        <p:sp>
          <p:nvSpPr>
            <p:cNvPr id="11" name="Textfeld 10">
              <a:extLst>
                <a:ext uri="{FF2B5EF4-FFF2-40B4-BE49-F238E27FC236}">
                  <a16:creationId xmlns:a16="http://schemas.microsoft.com/office/drawing/2014/main" id="{26DEFB76-72F0-B8CC-486E-9E5CA6DA2EAF}"/>
                </a:ext>
              </a:extLst>
            </p:cNvPr>
            <p:cNvSpPr txBox="1"/>
            <p:nvPr/>
          </p:nvSpPr>
          <p:spPr>
            <a:xfrm>
              <a:off x="777196" y="3716623"/>
              <a:ext cx="2819829" cy="150810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graphicFrame>
        <p:nvGraphicFramePr>
          <p:cNvPr id="12" name="Diagramm 11">
            <a:extLst>
              <a:ext uri="{FF2B5EF4-FFF2-40B4-BE49-F238E27FC236}">
                <a16:creationId xmlns:a16="http://schemas.microsoft.com/office/drawing/2014/main" id="{2463E932-C511-1CF9-DA63-8EFD586FD114}"/>
              </a:ext>
            </a:extLst>
          </p:cNvPr>
          <p:cNvGraphicFramePr/>
          <p:nvPr>
            <p:extLst>
              <p:ext uri="{D42A27DB-BD31-4B8C-83A1-F6EECF244321}">
                <p14:modId xmlns:p14="http://schemas.microsoft.com/office/powerpoint/2010/main" val="3121324566"/>
              </p:ext>
            </p:extLst>
          </p:nvPr>
        </p:nvGraphicFramePr>
        <p:xfrm>
          <a:off x="515939" y="1520825"/>
          <a:ext cx="6672652" cy="4608512"/>
        </p:xfrm>
        <a:graphic>
          <a:graphicData uri="http://schemas.openxmlformats.org/drawingml/2006/chart">
            <c:chart xmlns:c="http://schemas.openxmlformats.org/drawingml/2006/chart" xmlns:r="http://schemas.openxmlformats.org/officeDocument/2006/relationships" r:id="rId2"/>
          </a:graphicData>
        </a:graphic>
      </p:graphicFrame>
      <p:sp>
        <p:nvSpPr>
          <p:cNvPr id="2" name="Datumsplatzhalter 1">
            <a:extLst>
              <a:ext uri="{FF2B5EF4-FFF2-40B4-BE49-F238E27FC236}">
                <a16:creationId xmlns:a16="http://schemas.microsoft.com/office/drawing/2014/main" id="{9ABAF4D0-0282-1372-B044-CC055560CD72}"/>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602946E6-9D7A-3B77-F951-023FBA4CAE67}"/>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09514B0B-BB24-421E-654E-244AD576C63C}"/>
              </a:ext>
            </a:extLst>
          </p:cNvPr>
          <p:cNvSpPr>
            <a:spLocks noGrp="1"/>
          </p:cNvSpPr>
          <p:nvPr>
            <p:ph type="sldNum" sz="quarter" idx="12"/>
          </p:nvPr>
        </p:nvSpPr>
        <p:spPr/>
        <p:txBody>
          <a:bodyPr/>
          <a:lstStyle/>
          <a:p>
            <a:fld id="{E84006A6-0E15-460A-BCD4-002C20F8AC9F}" type="slidenum">
              <a:rPr lang="de-DE" smtClean="0">
                <a:solidFill>
                  <a:schemeClr val="bg1"/>
                </a:solidFill>
              </a:rPr>
              <a:pPr/>
              <a:t>73</a:t>
            </a:fld>
            <a:endParaRPr lang="de-DE">
              <a:solidFill>
                <a:schemeClr val="bg1"/>
              </a:solidFill>
            </a:endParaRPr>
          </a:p>
        </p:txBody>
      </p:sp>
      <p:sp>
        <p:nvSpPr>
          <p:cNvPr id="5" name="Titel 4">
            <a:extLst>
              <a:ext uri="{FF2B5EF4-FFF2-40B4-BE49-F238E27FC236}">
                <a16:creationId xmlns:a16="http://schemas.microsoft.com/office/drawing/2014/main" id="{EE7BE2F0-735B-698A-A9A2-28938F317E3B}"/>
              </a:ext>
            </a:extLst>
          </p:cNvPr>
          <p:cNvSpPr>
            <a:spLocks noGrp="1"/>
          </p:cNvSpPr>
          <p:nvPr>
            <p:ph type="title"/>
          </p:nvPr>
        </p:nvSpPr>
        <p:spPr/>
        <p:txBody>
          <a:bodyPr/>
          <a:lstStyle/>
          <a:p>
            <a:r>
              <a:rPr lang="de-DE"/>
              <a:t>Diagramme</a:t>
            </a:r>
          </a:p>
        </p:txBody>
      </p:sp>
    </p:spTree>
    <p:extLst>
      <p:ext uri="{BB962C8B-B14F-4D97-AF65-F5344CB8AC3E}">
        <p14:creationId xmlns:p14="http://schemas.microsoft.com/office/powerpoint/2010/main" val="16995021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3743D350-EA29-E126-68B0-E5BD9EE63DDF}"/>
              </a:ext>
            </a:extLst>
          </p:cNvPr>
          <p:cNvSpPr/>
          <p:nvPr/>
        </p:nvSpPr>
        <p:spPr>
          <a:xfrm>
            <a:off x="7481840" y="0"/>
            <a:ext cx="471016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cxnSp>
        <p:nvCxnSpPr>
          <p:cNvPr id="8" name="Gerade Verbindung 7">
            <a:extLst>
              <a:ext uri="{FF2B5EF4-FFF2-40B4-BE49-F238E27FC236}">
                <a16:creationId xmlns:a16="http://schemas.microsoft.com/office/drawing/2014/main" id="{29A314CF-852C-9383-0F43-4ECB45DB497E}"/>
              </a:ext>
            </a:extLst>
          </p:cNvPr>
          <p:cNvCxnSpPr>
            <a:cxnSpLocks/>
          </p:cNvCxnSpPr>
          <p:nvPr/>
        </p:nvCxnSpPr>
        <p:spPr>
          <a:xfrm>
            <a:off x="7481840" y="6343228"/>
            <a:ext cx="41942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uppieren 8">
            <a:extLst>
              <a:ext uri="{FF2B5EF4-FFF2-40B4-BE49-F238E27FC236}">
                <a16:creationId xmlns:a16="http://schemas.microsoft.com/office/drawing/2014/main" id="{C90B43A2-7370-978F-0A4F-557EDEF32ED2}"/>
              </a:ext>
            </a:extLst>
          </p:cNvPr>
          <p:cNvGrpSpPr/>
          <p:nvPr/>
        </p:nvGrpSpPr>
        <p:grpSpPr>
          <a:xfrm>
            <a:off x="8427006" y="2211826"/>
            <a:ext cx="2819829" cy="2434348"/>
            <a:chOff x="777196" y="2790380"/>
            <a:chExt cx="2819829" cy="2434348"/>
          </a:xfrm>
        </p:grpSpPr>
        <p:sp>
          <p:nvSpPr>
            <p:cNvPr id="10" name="Textfeld 9">
              <a:extLst>
                <a:ext uri="{FF2B5EF4-FFF2-40B4-BE49-F238E27FC236}">
                  <a16:creationId xmlns:a16="http://schemas.microsoft.com/office/drawing/2014/main" id="{25EF9FCE-241B-24C2-3D69-F47CC7369CC2}"/>
                </a:ext>
              </a:extLst>
            </p:cNvPr>
            <p:cNvSpPr txBox="1"/>
            <p:nvPr/>
          </p:nvSpPr>
          <p:spPr>
            <a:xfrm>
              <a:off x="777196" y="2790380"/>
              <a:ext cx="2819829" cy="73866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a:t>
              </a:r>
              <a:r>
                <a:rPr kumimoji="0" lang="de-DE" sz="2400" b="1" i="0" u="none" strike="noStrike" kern="1200" cap="none" spc="0" normalizeH="0" baseline="0" noProof="0" dirty="0" err="1">
                  <a:ln>
                    <a:noFill/>
                  </a:ln>
                  <a:solidFill>
                    <a:schemeClr val="bg1"/>
                  </a:solidFill>
                  <a:effectLst/>
                  <a:uLnTx/>
                  <a:uFillTx/>
                  <a:latin typeface="NeueHaasGroteskText Pro" panose="020B0504020202020204" pitchFamily="34" charset="77"/>
                  <a:ea typeface="+mn-ea"/>
                  <a:cs typeface="Arial"/>
                </a:rPr>
                <a:t>manga</a:t>
              </a: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a:t>
              </a:r>
            </a:p>
          </p:txBody>
        </p:sp>
        <p:sp>
          <p:nvSpPr>
            <p:cNvPr id="11" name="Textfeld 10">
              <a:extLst>
                <a:ext uri="{FF2B5EF4-FFF2-40B4-BE49-F238E27FC236}">
                  <a16:creationId xmlns:a16="http://schemas.microsoft.com/office/drawing/2014/main" id="{26DEFB76-72F0-B8CC-486E-9E5CA6DA2EAF}"/>
                </a:ext>
              </a:extLst>
            </p:cNvPr>
            <p:cNvSpPr txBox="1"/>
            <p:nvPr/>
          </p:nvSpPr>
          <p:spPr>
            <a:xfrm>
              <a:off x="777196" y="3716623"/>
              <a:ext cx="2819829" cy="150810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sp>
        <p:nvSpPr>
          <p:cNvPr id="2" name="Datumsplatzhalter 1">
            <a:extLst>
              <a:ext uri="{FF2B5EF4-FFF2-40B4-BE49-F238E27FC236}">
                <a16:creationId xmlns:a16="http://schemas.microsoft.com/office/drawing/2014/main" id="{9ABAF4D0-0282-1372-B044-CC055560CD72}"/>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602946E6-9D7A-3B77-F951-023FBA4CAE67}"/>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09514B0B-BB24-421E-654E-244AD576C63C}"/>
              </a:ext>
            </a:extLst>
          </p:cNvPr>
          <p:cNvSpPr>
            <a:spLocks noGrp="1"/>
          </p:cNvSpPr>
          <p:nvPr>
            <p:ph type="sldNum" sz="quarter" idx="12"/>
          </p:nvPr>
        </p:nvSpPr>
        <p:spPr/>
        <p:txBody>
          <a:bodyPr/>
          <a:lstStyle/>
          <a:p>
            <a:fld id="{E84006A6-0E15-460A-BCD4-002C20F8AC9F}" type="slidenum">
              <a:rPr lang="de-DE" smtClean="0">
                <a:solidFill>
                  <a:schemeClr val="bg1"/>
                </a:solidFill>
              </a:rPr>
              <a:pPr/>
              <a:t>74</a:t>
            </a:fld>
            <a:endParaRPr lang="de-DE">
              <a:solidFill>
                <a:schemeClr val="bg1"/>
              </a:solidFill>
            </a:endParaRPr>
          </a:p>
        </p:txBody>
      </p:sp>
      <p:sp>
        <p:nvSpPr>
          <p:cNvPr id="5" name="Titel 4">
            <a:extLst>
              <a:ext uri="{FF2B5EF4-FFF2-40B4-BE49-F238E27FC236}">
                <a16:creationId xmlns:a16="http://schemas.microsoft.com/office/drawing/2014/main" id="{EE7BE2F0-735B-698A-A9A2-28938F317E3B}"/>
              </a:ext>
            </a:extLst>
          </p:cNvPr>
          <p:cNvSpPr>
            <a:spLocks noGrp="1"/>
          </p:cNvSpPr>
          <p:nvPr>
            <p:ph type="title"/>
          </p:nvPr>
        </p:nvSpPr>
        <p:spPr/>
        <p:txBody>
          <a:bodyPr/>
          <a:lstStyle/>
          <a:p>
            <a:r>
              <a:rPr lang="de-DE"/>
              <a:t>Diagramme</a:t>
            </a:r>
          </a:p>
        </p:txBody>
      </p:sp>
      <p:graphicFrame>
        <p:nvGraphicFramePr>
          <p:cNvPr id="7" name="Diagramm 6">
            <a:extLst>
              <a:ext uri="{FF2B5EF4-FFF2-40B4-BE49-F238E27FC236}">
                <a16:creationId xmlns:a16="http://schemas.microsoft.com/office/drawing/2014/main" id="{7D4B9511-B6D8-79F8-30BE-E642A7C13C9B}"/>
              </a:ext>
            </a:extLst>
          </p:cNvPr>
          <p:cNvGraphicFramePr/>
          <p:nvPr>
            <p:extLst>
              <p:ext uri="{D42A27DB-BD31-4B8C-83A1-F6EECF244321}">
                <p14:modId xmlns:p14="http://schemas.microsoft.com/office/powerpoint/2010/main" val="3579351755"/>
              </p:ext>
            </p:extLst>
          </p:nvPr>
        </p:nvGraphicFramePr>
        <p:xfrm>
          <a:off x="407988" y="1341439"/>
          <a:ext cx="6919349" cy="48673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254530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55EC55E-7648-9E1B-DDDF-27F158CFC4D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BFF1FE5-C20C-AEC3-3149-993F9913DBD1}"/>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09DA9B2-0632-A4C0-EB8D-726D5CA26CAB}"/>
              </a:ext>
            </a:extLst>
          </p:cNvPr>
          <p:cNvSpPr>
            <a:spLocks noGrp="1"/>
          </p:cNvSpPr>
          <p:nvPr>
            <p:ph type="sldNum" sz="quarter" idx="12"/>
          </p:nvPr>
        </p:nvSpPr>
        <p:spPr/>
        <p:txBody>
          <a:bodyPr/>
          <a:lstStyle/>
          <a:p>
            <a:fld id="{E84006A6-0E15-460A-BCD4-002C20F8AC9F}" type="slidenum">
              <a:rPr lang="de-DE" smtClean="0"/>
              <a:pPr/>
              <a:t>75</a:t>
            </a:fld>
            <a:endParaRPr lang="de-DE"/>
          </a:p>
        </p:txBody>
      </p:sp>
      <p:sp>
        <p:nvSpPr>
          <p:cNvPr id="5" name="Titel 4">
            <a:extLst>
              <a:ext uri="{FF2B5EF4-FFF2-40B4-BE49-F238E27FC236}">
                <a16:creationId xmlns:a16="http://schemas.microsoft.com/office/drawing/2014/main" id="{4FAC8305-EFFD-CA70-21C3-65D1AF1C9A47}"/>
              </a:ext>
            </a:extLst>
          </p:cNvPr>
          <p:cNvSpPr>
            <a:spLocks noGrp="1"/>
          </p:cNvSpPr>
          <p:nvPr>
            <p:ph type="title"/>
          </p:nvPr>
        </p:nvSpPr>
        <p:spPr/>
        <p:txBody>
          <a:bodyPr/>
          <a:lstStyle/>
          <a:p>
            <a:r>
              <a:rPr lang="de-DE" dirty="0"/>
              <a:t>Diagramme</a:t>
            </a:r>
          </a:p>
        </p:txBody>
      </p:sp>
      <p:graphicFrame>
        <p:nvGraphicFramePr>
          <p:cNvPr id="6" name="Diagramm 5">
            <a:extLst>
              <a:ext uri="{FF2B5EF4-FFF2-40B4-BE49-F238E27FC236}">
                <a16:creationId xmlns:a16="http://schemas.microsoft.com/office/drawing/2014/main" id="{7217B6CE-872C-7FFB-6939-9B7D882862CE}"/>
              </a:ext>
            </a:extLst>
          </p:cNvPr>
          <p:cNvGraphicFramePr/>
          <p:nvPr>
            <p:extLst>
              <p:ext uri="{D42A27DB-BD31-4B8C-83A1-F6EECF244321}">
                <p14:modId xmlns:p14="http://schemas.microsoft.com/office/powerpoint/2010/main" val="1352668017"/>
              </p:ext>
            </p:extLst>
          </p:nvPr>
        </p:nvGraphicFramePr>
        <p:xfrm>
          <a:off x="515938" y="1722063"/>
          <a:ext cx="11160125" cy="42834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666498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55EC55E-7648-9E1B-DDDF-27F158CFC4D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BFF1FE5-C20C-AEC3-3149-993F9913DBD1}"/>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09DA9B2-0632-A4C0-EB8D-726D5CA26CAB}"/>
              </a:ext>
            </a:extLst>
          </p:cNvPr>
          <p:cNvSpPr>
            <a:spLocks noGrp="1"/>
          </p:cNvSpPr>
          <p:nvPr>
            <p:ph type="sldNum" sz="quarter" idx="12"/>
          </p:nvPr>
        </p:nvSpPr>
        <p:spPr/>
        <p:txBody>
          <a:bodyPr/>
          <a:lstStyle/>
          <a:p>
            <a:fld id="{E84006A6-0E15-460A-BCD4-002C20F8AC9F}" type="slidenum">
              <a:rPr lang="de-DE" smtClean="0"/>
              <a:pPr/>
              <a:t>76</a:t>
            </a:fld>
            <a:endParaRPr lang="de-DE"/>
          </a:p>
        </p:txBody>
      </p:sp>
      <p:sp>
        <p:nvSpPr>
          <p:cNvPr id="5" name="Titel 4">
            <a:extLst>
              <a:ext uri="{FF2B5EF4-FFF2-40B4-BE49-F238E27FC236}">
                <a16:creationId xmlns:a16="http://schemas.microsoft.com/office/drawing/2014/main" id="{4FAC8305-EFFD-CA70-21C3-65D1AF1C9A47}"/>
              </a:ext>
            </a:extLst>
          </p:cNvPr>
          <p:cNvSpPr>
            <a:spLocks noGrp="1"/>
          </p:cNvSpPr>
          <p:nvPr>
            <p:ph type="title"/>
          </p:nvPr>
        </p:nvSpPr>
        <p:spPr/>
        <p:txBody>
          <a:bodyPr/>
          <a:lstStyle/>
          <a:p>
            <a:r>
              <a:rPr lang="de-DE" dirty="0"/>
              <a:t>Diagramme</a:t>
            </a:r>
          </a:p>
        </p:txBody>
      </p:sp>
      <p:graphicFrame>
        <p:nvGraphicFramePr>
          <p:cNvPr id="7" name="Diagramm 6">
            <a:extLst>
              <a:ext uri="{FF2B5EF4-FFF2-40B4-BE49-F238E27FC236}">
                <a16:creationId xmlns:a16="http://schemas.microsoft.com/office/drawing/2014/main" id="{4E6DDEBD-BFD1-3F58-20A7-C80137F2F40A}"/>
              </a:ext>
            </a:extLst>
          </p:cNvPr>
          <p:cNvGraphicFramePr/>
          <p:nvPr>
            <p:extLst>
              <p:ext uri="{D42A27DB-BD31-4B8C-83A1-F6EECF244321}">
                <p14:modId xmlns:p14="http://schemas.microsoft.com/office/powerpoint/2010/main" val="2003490156"/>
              </p:ext>
            </p:extLst>
          </p:nvPr>
        </p:nvGraphicFramePr>
        <p:xfrm>
          <a:off x="515938" y="1722063"/>
          <a:ext cx="11160125" cy="42834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070428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55EC55E-7648-9E1B-DDDF-27F158CFC4D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BFF1FE5-C20C-AEC3-3149-993F9913DBD1}"/>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09DA9B2-0632-A4C0-EB8D-726D5CA26CAB}"/>
              </a:ext>
            </a:extLst>
          </p:cNvPr>
          <p:cNvSpPr>
            <a:spLocks noGrp="1"/>
          </p:cNvSpPr>
          <p:nvPr>
            <p:ph type="sldNum" sz="quarter" idx="12"/>
          </p:nvPr>
        </p:nvSpPr>
        <p:spPr/>
        <p:txBody>
          <a:bodyPr/>
          <a:lstStyle/>
          <a:p>
            <a:fld id="{E84006A6-0E15-460A-BCD4-002C20F8AC9F}" type="slidenum">
              <a:rPr lang="de-DE" smtClean="0"/>
              <a:pPr/>
              <a:t>77</a:t>
            </a:fld>
            <a:endParaRPr lang="de-DE"/>
          </a:p>
        </p:txBody>
      </p:sp>
      <p:sp>
        <p:nvSpPr>
          <p:cNvPr id="5" name="Titel 4">
            <a:extLst>
              <a:ext uri="{FF2B5EF4-FFF2-40B4-BE49-F238E27FC236}">
                <a16:creationId xmlns:a16="http://schemas.microsoft.com/office/drawing/2014/main" id="{4FAC8305-EFFD-CA70-21C3-65D1AF1C9A47}"/>
              </a:ext>
            </a:extLst>
          </p:cNvPr>
          <p:cNvSpPr>
            <a:spLocks noGrp="1"/>
          </p:cNvSpPr>
          <p:nvPr>
            <p:ph type="title"/>
          </p:nvPr>
        </p:nvSpPr>
        <p:spPr/>
        <p:txBody>
          <a:bodyPr/>
          <a:lstStyle/>
          <a:p>
            <a:r>
              <a:rPr lang="de-DE" dirty="0"/>
              <a:t>Diagramme</a:t>
            </a:r>
          </a:p>
        </p:txBody>
      </p:sp>
      <p:graphicFrame>
        <p:nvGraphicFramePr>
          <p:cNvPr id="6" name="Diagramm 5">
            <a:extLst>
              <a:ext uri="{FF2B5EF4-FFF2-40B4-BE49-F238E27FC236}">
                <a16:creationId xmlns:a16="http://schemas.microsoft.com/office/drawing/2014/main" id="{9111A195-BBD1-9201-A3F7-6B2891B62069}"/>
              </a:ext>
            </a:extLst>
          </p:cNvPr>
          <p:cNvGraphicFramePr/>
          <p:nvPr>
            <p:extLst>
              <p:ext uri="{D42A27DB-BD31-4B8C-83A1-F6EECF244321}">
                <p14:modId xmlns:p14="http://schemas.microsoft.com/office/powerpoint/2010/main" val="2403841798"/>
              </p:ext>
            </p:extLst>
          </p:nvPr>
        </p:nvGraphicFramePr>
        <p:xfrm>
          <a:off x="516026" y="1753059"/>
          <a:ext cx="11159948" cy="43746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984237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55EC55E-7648-9E1B-DDDF-27F158CFC4D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BFF1FE5-C20C-AEC3-3149-993F9913DBD1}"/>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09DA9B2-0632-A4C0-EB8D-726D5CA26CAB}"/>
              </a:ext>
            </a:extLst>
          </p:cNvPr>
          <p:cNvSpPr>
            <a:spLocks noGrp="1"/>
          </p:cNvSpPr>
          <p:nvPr>
            <p:ph type="sldNum" sz="quarter" idx="12"/>
          </p:nvPr>
        </p:nvSpPr>
        <p:spPr/>
        <p:txBody>
          <a:bodyPr/>
          <a:lstStyle/>
          <a:p>
            <a:fld id="{E84006A6-0E15-460A-BCD4-002C20F8AC9F}" type="slidenum">
              <a:rPr lang="de-DE" smtClean="0"/>
              <a:pPr/>
              <a:t>78</a:t>
            </a:fld>
            <a:endParaRPr lang="de-DE"/>
          </a:p>
        </p:txBody>
      </p:sp>
      <p:sp>
        <p:nvSpPr>
          <p:cNvPr id="5" name="Titel 4">
            <a:extLst>
              <a:ext uri="{FF2B5EF4-FFF2-40B4-BE49-F238E27FC236}">
                <a16:creationId xmlns:a16="http://schemas.microsoft.com/office/drawing/2014/main" id="{4FAC8305-EFFD-CA70-21C3-65D1AF1C9A47}"/>
              </a:ext>
            </a:extLst>
          </p:cNvPr>
          <p:cNvSpPr>
            <a:spLocks noGrp="1"/>
          </p:cNvSpPr>
          <p:nvPr>
            <p:ph type="title"/>
          </p:nvPr>
        </p:nvSpPr>
        <p:spPr/>
        <p:txBody>
          <a:bodyPr/>
          <a:lstStyle/>
          <a:p>
            <a:r>
              <a:rPr lang="de-DE" dirty="0"/>
              <a:t>Diagramme</a:t>
            </a:r>
          </a:p>
        </p:txBody>
      </p:sp>
      <p:graphicFrame>
        <p:nvGraphicFramePr>
          <p:cNvPr id="7" name="Diagramm 6">
            <a:extLst>
              <a:ext uri="{FF2B5EF4-FFF2-40B4-BE49-F238E27FC236}">
                <a16:creationId xmlns:a16="http://schemas.microsoft.com/office/drawing/2014/main" id="{8F34BB67-D708-BD4E-478A-8295BD7F9EF4}"/>
              </a:ext>
            </a:extLst>
          </p:cNvPr>
          <p:cNvGraphicFramePr/>
          <p:nvPr>
            <p:extLst>
              <p:ext uri="{D42A27DB-BD31-4B8C-83A1-F6EECF244321}">
                <p14:modId xmlns:p14="http://schemas.microsoft.com/office/powerpoint/2010/main" val="1348024299"/>
              </p:ext>
            </p:extLst>
          </p:nvPr>
        </p:nvGraphicFramePr>
        <p:xfrm>
          <a:off x="524351" y="1368922"/>
          <a:ext cx="11151712" cy="47604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809092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55EC55E-7648-9E1B-DDDF-27F158CFC4D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2BFF1FE5-C20C-AEC3-3149-993F9913DBD1}"/>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09DA9B2-0632-A4C0-EB8D-726D5CA26CAB}"/>
              </a:ext>
            </a:extLst>
          </p:cNvPr>
          <p:cNvSpPr>
            <a:spLocks noGrp="1"/>
          </p:cNvSpPr>
          <p:nvPr>
            <p:ph type="sldNum" sz="quarter" idx="12"/>
          </p:nvPr>
        </p:nvSpPr>
        <p:spPr/>
        <p:txBody>
          <a:bodyPr/>
          <a:lstStyle/>
          <a:p>
            <a:fld id="{E84006A6-0E15-460A-BCD4-002C20F8AC9F}" type="slidenum">
              <a:rPr lang="de-DE" smtClean="0"/>
              <a:pPr/>
              <a:t>79</a:t>
            </a:fld>
            <a:endParaRPr lang="de-DE"/>
          </a:p>
        </p:txBody>
      </p:sp>
      <p:sp>
        <p:nvSpPr>
          <p:cNvPr id="5" name="Titel 4">
            <a:extLst>
              <a:ext uri="{FF2B5EF4-FFF2-40B4-BE49-F238E27FC236}">
                <a16:creationId xmlns:a16="http://schemas.microsoft.com/office/drawing/2014/main" id="{4FAC8305-EFFD-CA70-21C3-65D1AF1C9A47}"/>
              </a:ext>
            </a:extLst>
          </p:cNvPr>
          <p:cNvSpPr>
            <a:spLocks noGrp="1"/>
          </p:cNvSpPr>
          <p:nvPr>
            <p:ph type="title"/>
          </p:nvPr>
        </p:nvSpPr>
        <p:spPr/>
        <p:txBody>
          <a:bodyPr/>
          <a:lstStyle/>
          <a:p>
            <a:r>
              <a:rPr lang="de-DE" dirty="0"/>
              <a:t>Diagramme</a:t>
            </a:r>
          </a:p>
        </p:txBody>
      </p:sp>
      <p:graphicFrame>
        <p:nvGraphicFramePr>
          <p:cNvPr id="6" name="Diagramm 5">
            <a:extLst>
              <a:ext uri="{FF2B5EF4-FFF2-40B4-BE49-F238E27FC236}">
                <a16:creationId xmlns:a16="http://schemas.microsoft.com/office/drawing/2014/main" id="{E9132A38-D1DE-F382-4922-FE87F3860224}"/>
              </a:ext>
            </a:extLst>
          </p:cNvPr>
          <p:cNvGraphicFramePr/>
          <p:nvPr>
            <p:extLst>
              <p:ext uri="{D42A27DB-BD31-4B8C-83A1-F6EECF244321}">
                <p14:modId xmlns:p14="http://schemas.microsoft.com/office/powerpoint/2010/main" val="3077861179"/>
              </p:ext>
            </p:extLst>
          </p:nvPr>
        </p:nvGraphicFramePr>
        <p:xfrm>
          <a:off x="524351" y="1368922"/>
          <a:ext cx="11151712" cy="47604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292909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Inhaltsplatzhalter 83">
            <a:extLst>
              <a:ext uri="{FF2B5EF4-FFF2-40B4-BE49-F238E27FC236}">
                <a16:creationId xmlns:a16="http://schemas.microsoft.com/office/drawing/2014/main" id="{30E6F442-7BBB-90F6-0A50-2E8AFF0B2627}"/>
              </a:ext>
            </a:extLst>
          </p:cNvPr>
          <p:cNvPicPr>
            <a:picLocks noGrp="1" noChangeAspect="1"/>
          </p:cNvPicPr>
          <p:nvPr>
            <p:ph sz="quarter" idx="24"/>
          </p:nvPr>
        </p:nvPicPr>
        <p:blipFill rotWithShape="1">
          <a:blip r:embed="rId2">
            <a:extLst>
              <a:ext uri="{28A0092B-C50C-407E-A947-70E740481C1C}">
                <a14:useLocalDpi xmlns:a14="http://schemas.microsoft.com/office/drawing/2010/main"/>
              </a:ext>
            </a:extLst>
          </a:blip>
          <a:srcRect t="12509" b="12509"/>
          <a:stretch/>
        </p:blipFill>
        <p:spPr>
          <a:xfrm>
            <a:off x="6096000" y="0"/>
            <a:ext cx="6096000" cy="6858000"/>
          </a:xfrm>
        </p:spPr>
      </p:pic>
      <p:sp>
        <p:nvSpPr>
          <p:cNvPr id="9" name="Textplatzhalter 8">
            <a:extLst>
              <a:ext uri="{FF2B5EF4-FFF2-40B4-BE49-F238E27FC236}">
                <a16:creationId xmlns:a16="http://schemas.microsoft.com/office/drawing/2014/main" id="{EE1BF80D-31E7-7EC0-5813-034B0695EBD1}"/>
              </a:ext>
            </a:extLst>
          </p:cNvPr>
          <p:cNvSpPr>
            <a:spLocks noGrp="1"/>
          </p:cNvSpPr>
          <p:nvPr>
            <p:ph type="body" sz="quarter" idx="12"/>
          </p:nvPr>
        </p:nvSpPr>
        <p:spPr/>
        <p:txBody>
          <a:bodyPr/>
          <a:lstStyle/>
          <a:p>
            <a:r>
              <a:rPr lang="de-DE" dirty="0"/>
              <a:t>Hier steht der Kapitelname.</a:t>
            </a:r>
          </a:p>
        </p:txBody>
      </p:sp>
      <p:sp>
        <p:nvSpPr>
          <p:cNvPr id="7" name="Titel 6">
            <a:extLst>
              <a:ext uri="{FF2B5EF4-FFF2-40B4-BE49-F238E27FC236}">
                <a16:creationId xmlns:a16="http://schemas.microsoft.com/office/drawing/2014/main" id="{F21A20F6-F18C-A099-A7FD-FDC796CCE2CF}"/>
              </a:ext>
            </a:extLst>
          </p:cNvPr>
          <p:cNvSpPr>
            <a:spLocks noGrp="1"/>
          </p:cNvSpPr>
          <p:nvPr>
            <p:ph type="title"/>
          </p:nvPr>
        </p:nvSpPr>
        <p:spPr/>
        <p:txBody>
          <a:bodyPr/>
          <a:lstStyle/>
          <a:p>
            <a:r>
              <a:rPr lang="de-DE" dirty="0"/>
              <a:t>Agenda.</a:t>
            </a:r>
          </a:p>
        </p:txBody>
      </p:sp>
      <p:sp>
        <p:nvSpPr>
          <p:cNvPr id="8" name="Textplatzhalter 7">
            <a:extLst>
              <a:ext uri="{FF2B5EF4-FFF2-40B4-BE49-F238E27FC236}">
                <a16:creationId xmlns:a16="http://schemas.microsoft.com/office/drawing/2014/main" id="{7A76A0C3-E6D7-047E-6B28-996BC23B3AED}"/>
              </a:ext>
            </a:extLst>
          </p:cNvPr>
          <p:cNvSpPr>
            <a:spLocks noGrp="1"/>
          </p:cNvSpPr>
          <p:nvPr>
            <p:ph type="body" sz="quarter" idx="11"/>
          </p:nvPr>
        </p:nvSpPr>
        <p:spPr/>
        <p:txBody>
          <a:bodyPr/>
          <a:lstStyle/>
          <a:p>
            <a:r>
              <a:rPr lang="de-DE" dirty="0"/>
              <a:t>1</a:t>
            </a:r>
          </a:p>
        </p:txBody>
      </p:sp>
      <p:sp>
        <p:nvSpPr>
          <p:cNvPr id="10" name="Textplatzhalter 9">
            <a:extLst>
              <a:ext uri="{FF2B5EF4-FFF2-40B4-BE49-F238E27FC236}">
                <a16:creationId xmlns:a16="http://schemas.microsoft.com/office/drawing/2014/main" id="{8CD314CC-7874-F320-500D-50F3F962E694}"/>
              </a:ext>
            </a:extLst>
          </p:cNvPr>
          <p:cNvSpPr>
            <a:spLocks noGrp="1"/>
          </p:cNvSpPr>
          <p:nvPr>
            <p:ph type="body" sz="quarter" idx="13"/>
          </p:nvPr>
        </p:nvSpPr>
        <p:spPr/>
        <p:txBody>
          <a:bodyPr/>
          <a:lstStyle/>
          <a:p>
            <a:r>
              <a:rPr lang="de-DE" dirty="0"/>
              <a:t>Hier steht der Kapitelname.</a:t>
            </a:r>
          </a:p>
        </p:txBody>
      </p:sp>
      <p:sp>
        <p:nvSpPr>
          <p:cNvPr id="11" name="Textplatzhalter 10">
            <a:extLst>
              <a:ext uri="{FF2B5EF4-FFF2-40B4-BE49-F238E27FC236}">
                <a16:creationId xmlns:a16="http://schemas.microsoft.com/office/drawing/2014/main" id="{373B64B1-DDD0-A3E8-52D4-2A85994862C5}"/>
              </a:ext>
            </a:extLst>
          </p:cNvPr>
          <p:cNvSpPr>
            <a:spLocks noGrp="1"/>
          </p:cNvSpPr>
          <p:nvPr>
            <p:ph type="body" sz="quarter" idx="14"/>
          </p:nvPr>
        </p:nvSpPr>
        <p:spPr/>
        <p:txBody>
          <a:bodyPr/>
          <a:lstStyle/>
          <a:p>
            <a:r>
              <a:rPr lang="de-DE" dirty="0"/>
              <a:t>2</a:t>
            </a:r>
          </a:p>
        </p:txBody>
      </p:sp>
      <p:sp>
        <p:nvSpPr>
          <p:cNvPr id="12" name="Textplatzhalter 11">
            <a:extLst>
              <a:ext uri="{FF2B5EF4-FFF2-40B4-BE49-F238E27FC236}">
                <a16:creationId xmlns:a16="http://schemas.microsoft.com/office/drawing/2014/main" id="{855C8EE4-4868-0A06-8F8A-AAF70AFB1F04}"/>
              </a:ext>
            </a:extLst>
          </p:cNvPr>
          <p:cNvSpPr>
            <a:spLocks noGrp="1"/>
          </p:cNvSpPr>
          <p:nvPr>
            <p:ph type="body" sz="quarter" idx="15"/>
          </p:nvPr>
        </p:nvSpPr>
        <p:spPr/>
        <p:txBody>
          <a:bodyPr/>
          <a:lstStyle/>
          <a:p>
            <a:r>
              <a:rPr lang="de-DE" dirty="0"/>
              <a:t>Hier steht der Kapitelname.</a:t>
            </a:r>
          </a:p>
        </p:txBody>
      </p:sp>
      <p:sp>
        <p:nvSpPr>
          <p:cNvPr id="13" name="Textplatzhalter 12">
            <a:extLst>
              <a:ext uri="{FF2B5EF4-FFF2-40B4-BE49-F238E27FC236}">
                <a16:creationId xmlns:a16="http://schemas.microsoft.com/office/drawing/2014/main" id="{67ABBD99-624E-2323-596D-B359A5A635F0}"/>
              </a:ext>
            </a:extLst>
          </p:cNvPr>
          <p:cNvSpPr>
            <a:spLocks noGrp="1"/>
          </p:cNvSpPr>
          <p:nvPr>
            <p:ph type="body" sz="quarter" idx="16"/>
          </p:nvPr>
        </p:nvSpPr>
        <p:spPr/>
        <p:txBody>
          <a:bodyPr/>
          <a:lstStyle/>
          <a:p>
            <a:r>
              <a:rPr lang="de-DE" dirty="0"/>
              <a:t>3</a:t>
            </a:r>
          </a:p>
        </p:txBody>
      </p:sp>
      <p:sp>
        <p:nvSpPr>
          <p:cNvPr id="14" name="Textplatzhalter 13">
            <a:extLst>
              <a:ext uri="{FF2B5EF4-FFF2-40B4-BE49-F238E27FC236}">
                <a16:creationId xmlns:a16="http://schemas.microsoft.com/office/drawing/2014/main" id="{A3D62065-E069-DA02-BACB-9A512CF63F20}"/>
              </a:ext>
            </a:extLst>
          </p:cNvPr>
          <p:cNvSpPr>
            <a:spLocks noGrp="1"/>
          </p:cNvSpPr>
          <p:nvPr>
            <p:ph type="body" sz="quarter" idx="17"/>
          </p:nvPr>
        </p:nvSpPr>
        <p:spPr/>
        <p:txBody>
          <a:bodyPr/>
          <a:lstStyle/>
          <a:p>
            <a:r>
              <a:rPr lang="de-DE" dirty="0"/>
              <a:t>Hier steht der Kapitelname.</a:t>
            </a:r>
          </a:p>
        </p:txBody>
      </p:sp>
      <p:sp>
        <p:nvSpPr>
          <p:cNvPr id="15" name="Textplatzhalter 14">
            <a:extLst>
              <a:ext uri="{FF2B5EF4-FFF2-40B4-BE49-F238E27FC236}">
                <a16:creationId xmlns:a16="http://schemas.microsoft.com/office/drawing/2014/main" id="{FDD10315-F876-9B5A-3680-8DAF95BD353A}"/>
              </a:ext>
            </a:extLst>
          </p:cNvPr>
          <p:cNvSpPr>
            <a:spLocks noGrp="1"/>
          </p:cNvSpPr>
          <p:nvPr>
            <p:ph type="body" sz="quarter" idx="18"/>
          </p:nvPr>
        </p:nvSpPr>
        <p:spPr/>
        <p:txBody>
          <a:bodyPr/>
          <a:lstStyle/>
          <a:p>
            <a:r>
              <a:rPr lang="de-DE" dirty="0"/>
              <a:t>4</a:t>
            </a:r>
          </a:p>
        </p:txBody>
      </p:sp>
      <p:sp>
        <p:nvSpPr>
          <p:cNvPr id="16" name="Textplatzhalter 15">
            <a:extLst>
              <a:ext uri="{FF2B5EF4-FFF2-40B4-BE49-F238E27FC236}">
                <a16:creationId xmlns:a16="http://schemas.microsoft.com/office/drawing/2014/main" id="{9E4A448D-9ABE-5C52-8A40-ED4823D23BCB}"/>
              </a:ext>
            </a:extLst>
          </p:cNvPr>
          <p:cNvSpPr>
            <a:spLocks noGrp="1"/>
          </p:cNvSpPr>
          <p:nvPr>
            <p:ph type="body" sz="quarter" idx="19"/>
          </p:nvPr>
        </p:nvSpPr>
        <p:spPr/>
        <p:txBody>
          <a:bodyPr/>
          <a:lstStyle/>
          <a:p>
            <a:r>
              <a:rPr lang="de-DE" dirty="0"/>
              <a:t>Hier steht der Kapitelname.</a:t>
            </a:r>
          </a:p>
        </p:txBody>
      </p:sp>
      <p:sp>
        <p:nvSpPr>
          <p:cNvPr id="17" name="Textplatzhalter 16">
            <a:extLst>
              <a:ext uri="{FF2B5EF4-FFF2-40B4-BE49-F238E27FC236}">
                <a16:creationId xmlns:a16="http://schemas.microsoft.com/office/drawing/2014/main" id="{68902584-3835-31EC-DA8D-108A3E2F5E39}"/>
              </a:ext>
            </a:extLst>
          </p:cNvPr>
          <p:cNvSpPr>
            <a:spLocks noGrp="1"/>
          </p:cNvSpPr>
          <p:nvPr>
            <p:ph type="body" sz="quarter" idx="20"/>
          </p:nvPr>
        </p:nvSpPr>
        <p:spPr/>
        <p:txBody>
          <a:bodyPr/>
          <a:lstStyle/>
          <a:p>
            <a:r>
              <a:rPr lang="de-DE" dirty="0"/>
              <a:t>5</a:t>
            </a:r>
          </a:p>
        </p:txBody>
      </p:sp>
      <p:sp>
        <p:nvSpPr>
          <p:cNvPr id="18" name="Textplatzhalter 17">
            <a:extLst>
              <a:ext uri="{FF2B5EF4-FFF2-40B4-BE49-F238E27FC236}">
                <a16:creationId xmlns:a16="http://schemas.microsoft.com/office/drawing/2014/main" id="{AE8C41EE-1F73-561E-C3E4-17D8FD5A765B}"/>
              </a:ext>
            </a:extLst>
          </p:cNvPr>
          <p:cNvSpPr>
            <a:spLocks noGrp="1"/>
          </p:cNvSpPr>
          <p:nvPr>
            <p:ph type="body" sz="quarter" idx="21"/>
          </p:nvPr>
        </p:nvSpPr>
        <p:spPr/>
        <p:txBody>
          <a:bodyPr/>
          <a:lstStyle/>
          <a:p>
            <a:r>
              <a:rPr lang="de-DE" dirty="0"/>
              <a:t>Hier steht der Kapitelname.</a:t>
            </a:r>
          </a:p>
        </p:txBody>
      </p:sp>
      <p:sp>
        <p:nvSpPr>
          <p:cNvPr id="19" name="Textplatzhalter 18">
            <a:extLst>
              <a:ext uri="{FF2B5EF4-FFF2-40B4-BE49-F238E27FC236}">
                <a16:creationId xmlns:a16="http://schemas.microsoft.com/office/drawing/2014/main" id="{0CE3AC06-5B2C-FB0E-EA5E-337CA87BAB45}"/>
              </a:ext>
            </a:extLst>
          </p:cNvPr>
          <p:cNvSpPr>
            <a:spLocks noGrp="1"/>
          </p:cNvSpPr>
          <p:nvPr>
            <p:ph type="body" sz="quarter" idx="22"/>
          </p:nvPr>
        </p:nvSpPr>
        <p:spPr/>
        <p:txBody>
          <a:bodyPr/>
          <a:lstStyle/>
          <a:p>
            <a:r>
              <a:rPr lang="de-DE" dirty="0"/>
              <a:t>6</a:t>
            </a:r>
          </a:p>
        </p:txBody>
      </p:sp>
      <p:sp>
        <p:nvSpPr>
          <p:cNvPr id="81" name="Textplatzhalter 80">
            <a:extLst>
              <a:ext uri="{FF2B5EF4-FFF2-40B4-BE49-F238E27FC236}">
                <a16:creationId xmlns:a16="http://schemas.microsoft.com/office/drawing/2014/main" id="{2A7A1C22-0429-DD98-CB54-CF0992564F51}"/>
              </a:ext>
            </a:extLst>
          </p:cNvPr>
          <p:cNvSpPr>
            <a:spLocks noGrp="1"/>
          </p:cNvSpPr>
          <p:nvPr>
            <p:ph type="body" sz="quarter" idx="23"/>
          </p:nvPr>
        </p:nvSpPr>
        <p:spPr/>
        <p:txBody>
          <a:bodyPr/>
          <a:lstStyle/>
          <a:p>
            <a:endParaRPr lang="de-DE"/>
          </a:p>
        </p:txBody>
      </p:sp>
      <p:sp>
        <p:nvSpPr>
          <p:cNvPr id="4" name="Datumsplatzhalter 3">
            <a:extLst>
              <a:ext uri="{FF2B5EF4-FFF2-40B4-BE49-F238E27FC236}">
                <a16:creationId xmlns:a16="http://schemas.microsoft.com/office/drawing/2014/main" id="{1038C874-AE9C-88F1-9F39-BAD20826B628}"/>
              </a:ext>
            </a:extLst>
          </p:cNvPr>
          <p:cNvSpPr>
            <a:spLocks noGrp="1"/>
          </p:cNvSpPr>
          <p:nvPr>
            <p:ph type="dt" sz="half" idx="2"/>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FDF3A415-78D1-6A01-85A1-1F9C5AB6500E}"/>
              </a:ext>
            </a:extLst>
          </p:cNvPr>
          <p:cNvSpPr>
            <a:spLocks noGrp="1"/>
          </p:cNvSpPr>
          <p:nvPr>
            <p:ph type="ftr" sz="quarter" idx="3"/>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87CA8221-ADDE-4A13-DB37-5F53D0ED3B1F}"/>
              </a:ext>
            </a:extLst>
          </p:cNvPr>
          <p:cNvSpPr>
            <a:spLocks noGrp="1"/>
          </p:cNvSpPr>
          <p:nvPr>
            <p:ph type="sldNum" sz="quarter" idx="4"/>
          </p:nvPr>
        </p:nvSpPr>
        <p:spPr/>
        <p:txBody>
          <a:bodyPr/>
          <a:lstStyle/>
          <a:p>
            <a:fld id="{E84006A6-0E15-460A-BCD4-002C20F8AC9F}" type="slidenum">
              <a:rPr lang="de-DE" smtClean="0"/>
              <a:pPr/>
              <a:t>8</a:t>
            </a:fld>
            <a:endParaRPr lang="de-DE"/>
          </a:p>
        </p:txBody>
      </p:sp>
    </p:spTree>
    <p:extLst>
      <p:ext uri="{BB962C8B-B14F-4D97-AF65-F5344CB8AC3E}">
        <p14:creationId xmlns:p14="http://schemas.microsoft.com/office/powerpoint/2010/main" val="236154643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9B028D5-05FC-A44D-5B85-5827CE6D2006}"/>
              </a:ext>
            </a:extLst>
          </p:cNvPr>
          <p:cNvSpPr/>
          <p:nvPr/>
        </p:nvSpPr>
        <p:spPr>
          <a:xfrm>
            <a:off x="7481840" y="0"/>
            <a:ext cx="47101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chemeClr val="bg1"/>
              </a:solidFill>
              <a:effectLst/>
              <a:uLnTx/>
              <a:uFillTx/>
              <a:latin typeface="NeueHaasGroteskText Pro"/>
              <a:ea typeface="+mn-ea"/>
              <a:cs typeface="Arial"/>
            </a:endParaRPr>
          </a:p>
        </p:txBody>
      </p:sp>
      <p:cxnSp>
        <p:nvCxnSpPr>
          <p:cNvPr id="7" name="Gerade Verbindung 6">
            <a:extLst>
              <a:ext uri="{FF2B5EF4-FFF2-40B4-BE49-F238E27FC236}">
                <a16:creationId xmlns:a16="http://schemas.microsoft.com/office/drawing/2014/main" id="{12726C1F-BC88-C212-EC46-6522C4634424}"/>
              </a:ext>
            </a:extLst>
          </p:cNvPr>
          <p:cNvCxnSpPr>
            <a:cxnSpLocks/>
          </p:cNvCxnSpPr>
          <p:nvPr/>
        </p:nvCxnSpPr>
        <p:spPr>
          <a:xfrm>
            <a:off x="7481840" y="6343228"/>
            <a:ext cx="41942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C171CA28-1EC9-A90F-CEB1-2A5279E8DB1F}"/>
              </a:ext>
            </a:extLst>
          </p:cNvPr>
          <p:cNvGrpSpPr/>
          <p:nvPr/>
        </p:nvGrpSpPr>
        <p:grpSpPr>
          <a:xfrm>
            <a:off x="8427006" y="2211826"/>
            <a:ext cx="2819829" cy="2434348"/>
            <a:chOff x="777196" y="2790380"/>
            <a:chExt cx="2819829" cy="2434348"/>
          </a:xfrm>
        </p:grpSpPr>
        <p:sp>
          <p:nvSpPr>
            <p:cNvPr id="9" name="Textfeld 8">
              <a:extLst>
                <a:ext uri="{FF2B5EF4-FFF2-40B4-BE49-F238E27FC236}">
                  <a16:creationId xmlns:a16="http://schemas.microsoft.com/office/drawing/2014/main" id="{887D6B1A-034D-9DDC-010C-33AC59C4CE2E}"/>
                </a:ext>
              </a:extLst>
            </p:cNvPr>
            <p:cNvSpPr txBox="1"/>
            <p:nvPr/>
          </p:nvSpPr>
          <p:spPr>
            <a:xfrm>
              <a:off x="777196" y="2790380"/>
              <a:ext cx="2819829" cy="73866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a:t>
              </a:r>
              <a:r>
                <a:rPr kumimoji="0" lang="de-DE" sz="2400" b="1" i="0" u="none" strike="noStrike" kern="1200" cap="none" spc="0" normalizeH="0" baseline="0" noProof="0" dirty="0" err="1">
                  <a:ln>
                    <a:noFill/>
                  </a:ln>
                  <a:solidFill>
                    <a:schemeClr val="bg1"/>
                  </a:solidFill>
                  <a:effectLst/>
                  <a:uLnTx/>
                  <a:uFillTx/>
                  <a:latin typeface="NeueHaasGroteskText Pro" panose="020B0504020202020204" pitchFamily="34" charset="77"/>
                  <a:ea typeface="+mn-ea"/>
                  <a:cs typeface="Arial"/>
                </a:rPr>
                <a:t>manga</a:t>
              </a:r>
              <a:r>
                <a:rPr kumimoji="0" lang="de-DE" sz="2400" b="1"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a:t>
              </a:r>
            </a:p>
          </p:txBody>
        </p:sp>
        <p:sp>
          <p:nvSpPr>
            <p:cNvPr id="10" name="Textfeld 9">
              <a:extLst>
                <a:ext uri="{FF2B5EF4-FFF2-40B4-BE49-F238E27FC236}">
                  <a16:creationId xmlns:a16="http://schemas.microsoft.com/office/drawing/2014/main" id="{397FA33F-8483-0A6F-C78B-1C4856F5779A}"/>
                </a:ext>
              </a:extLst>
            </p:cNvPr>
            <p:cNvSpPr txBox="1"/>
            <p:nvPr/>
          </p:nvSpPr>
          <p:spPr>
            <a:xfrm>
              <a:off x="777196" y="3716623"/>
              <a:ext cx="2819829" cy="150810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graphicFrame>
        <p:nvGraphicFramePr>
          <p:cNvPr id="11" name="Object 3">
            <a:extLst>
              <a:ext uri="{FF2B5EF4-FFF2-40B4-BE49-F238E27FC236}">
                <a16:creationId xmlns:a16="http://schemas.microsoft.com/office/drawing/2014/main" id="{5E2D816D-5134-3BFF-792F-333E83AD6B2B}"/>
              </a:ext>
            </a:extLst>
          </p:cNvPr>
          <p:cNvGraphicFramePr>
            <a:graphicFrameLocks noChangeAspect="1"/>
          </p:cNvGraphicFramePr>
          <p:nvPr>
            <p:extLst>
              <p:ext uri="{D42A27DB-BD31-4B8C-83A1-F6EECF244321}">
                <p14:modId xmlns:p14="http://schemas.microsoft.com/office/powerpoint/2010/main" val="3726180159"/>
              </p:ext>
            </p:extLst>
          </p:nvPr>
        </p:nvGraphicFramePr>
        <p:xfrm>
          <a:off x="621489" y="1479134"/>
          <a:ext cx="5826203" cy="4798791"/>
        </p:xfrm>
        <a:graphic>
          <a:graphicData uri="http://schemas.openxmlformats.org/drawingml/2006/chart">
            <c:chart xmlns:c="http://schemas.openxmlformats.org/drawingml/2006/chart" xmlns:r="http://schemas.openxmlformats.org/officeDocument/2006/relationships" r:id="rId2"/>
          </a:graphicData>
        </a:graphic>
      </p:graphicFrame>
      <p:sp>
        <p:nvSpPr>
          <p:cNvPr id="2" name="Datumsplatzhalter 1">
            <a:extLst>
              <a:ext uri="{FF2B5EF4-FFF2-40B4-BE49-F238E27FC236}">
                <a16:creationId xmlns:a16="http://schemas.microsoft.com/office/drawing/2014/main" id="{B7BFCEC0-5C5B-2DCB-17C4-BCBBBB42596F}"/>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0F649651-33D8-F7BC-854F-4891C9D82077}"/>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566D5D40-AB3B-F7B1-FADC-59DA5FB4621F}"/>
              </a:ext>
            </a:extLst>
          </p:cNvPr>
          <p:cNvSpPr>
            <a:spLocks noGrp="1"/>
          </p:cNvSpPr>
          <p:nvPr>
            <p:ph type="sldNum" sz="quarter" idx="12"/>
          </p:nvPr>
        </p:nvSpPr>
        <p:spPr/>
        <p:txBody>
          <a:bodyPr/>
          <a:lstStyle/>
          <a:p>
            <a:fld id="{E84006A6-0E15-460A-BCD4-002C20F8AC9F}" type="slidenum">
              <a:rPr lang="de-DE" smtClean="0">
                <a:solidFill>
                  <a:schemeClr val="bg1"/>
                </a:solidFill>
              </a:rPr>
              <a:pPr/>
              <a:t>80</a:t>
            </a:fld>
            <a:endParaRPr lang="de-DE">
              <a:solidFill>
                <a:schemeClr val="bg1"/>
              </a:solidFill>
            </a:endParaRPr>
          </a:p>
        </p:txBody>
      </p:sp>
      <p:sp>
        <p:nvSpPr>
          <p:cNvPr id="5" name="Titel 4">
            <a:extLst>
              <a:ext uri="{FF2B5EF4-FFF2-40B4-BE49-F238E27FC236}">
                <a16:creationId xmlns:a16="http://schemas.microsoft.com/office/drawing/2014/main" id="{E36627AD-CE62-44DE-9F45-62A3098BF71C}"/>
              </a:ext>
            </a:extLst>
          </p:cNvPr>
          <p:cNvSpPr>
            <a:spLocks noGrp="1"/>
          </p:cNvSpPr>
          <p:nvPr>
            <p:ph type="title"/>
          </p:nvPr>
        </p:nvSpPr>
        <p:spPr/>
        <p:txBody>
          <a:bodyPr/>
          <a:lstStyle/>
          <a:p>
            <a:r>
              <a:rPr lang="de-DE" dirty="0"/>
              <a:t>Diagramme</a:t>
            </a:r>
          </a:p>
        </p:txBody>
      </p:sp>
    </p:spTree>
    <p:extLst>
      <p:ext uri="{BB962C8B-B14F-4D97-AF65-F5344CB8AC3E}">
        <p14:creationId xmlns:p14="http://schemas.microsoft.com/office/powerpoint/2010/main" val="19671128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42446DF1-9B2C-EAB5-EC06-2924988242A1}"/>
              </a:ext>
            </a:extLst>
          </p:cNvPr>
          <p:cNvSpPr/>
          <p:nvPr/>
        </p:nvSpPr>
        <p:spPr>
          <a:xfrm>
            <a:off x="609600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cxnSp>
        <p:nvCxnSpPr>
          <p:cNvPr id="7" name="Gerade Verbindung 6">
            <a:extLst>
              <a:ext uri="{FF2B5EF4-FFF2-40B4-BE49-F238E27FC236}">
                <a16:creationId xmlns:a16="http://schemas.microsoft.com/office/drawing/2014/main" id="{69440002-100A-412D-C70E-E8E7AA2E4689}"/>
              </a:ext>
            </a:extLst>
          </p:cNvPr>
          <p:cNvCxnSpPr>
            <a:cxnSpLocks/>
          </p:cNvCxnSpPr>
          <p:nvPr/>
        </p:nvCxnSpPr>
        <p:spPr>
          <a:xfrm>
            <a:off x="6096000" y="6343228"/>
            <a:ext cx="558006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uppieren 7">
            <a:extLst>
              <a:ext uri="{FF2B5EF4-FFF2-40B4-BE49-F238E27FC236}">
                <a16:creationId xmlns:a16="http://schemas.microsoft.com/office/drawing/2014/main" id="{516883D9-3067-1BA4-B46E-F25ADCD877B7}"/>
              </a:ext>
            </a:extLst>
          </p:cNvPr>
          <p:cNvGrpSpPr/>
          <p:nvPr/>
        </p:nvGrpSpPr>
        <p:grpSpPr>
          <a:xfrm>
            <a:off x="6387009" y="1713133"/>
            <a:ext cx="5289054" cy="3506960"/>
            <a:chOff x="4661367" y="1904057"/>
            <a:chExt cx="3683856" cy="2442617"/>
          </a:xfrm>
        </p:grpSpPr>
        <p:graphicFrame>
          <p:nvGraphicFramePr>
            <p:cNvPr id="9" name="Diagramm 8">
              <a:extLst>
                <a:ext uri="{FF2B5EF4-FFF2-40B4-BE49-F238E27FC236}">
                  <a16:creationId xmlns:a16="http://schemas.microsoft.com/office/drawing/2014/main" id="{E1D24C5D-6906-7724-D713-9BD8FA2C44D8}"/>
                </a:ext>
              </a:extLst>
            </p:cNvPr>
            <p:cNvGraphicFramePr/>
            <p:nvPr>
              <p:extLst>
                <p:ext uri="{D42A27DB-BD31-4B8C-83A1-F6EECF244321}">
                  <p14:modId xmlns:p14="http://schemas.microsoft.com/office/powerpoint/2010/main" val="480844372"/>
                </p:ext>
              </p:extLst>
            </p:nvPr>
          </p:nvGraphicFramePr>
          <p:xfrm>
            <a:off x="4827246" y="1904057"/>
            <a:ext cx="3517977" cy="2345318"/>
          </p:xfrm>
          <a:graphic>
            <a:graphicData uri="http://schemas.openxmlformats.org/drawingml/2006/chart">
              <c:chart xmlns:c="http://schemas.openxmlformats.org/drawingml/2006/chart" xmlns:r="http://schemas.openxmlformats.org/officeDocument/2006/relationships" r:id="rId2"/>
            </a:graphicData>
          </a:graphic>
        </p:graphicFrame>
        <p:sp>
          <p:nvSpPr>
            <p:cNvPr id="10" name="Inhaltsplatzhalter 4">
              <a:extLst>
                <a:ext uri="{FF2B5EF4-FFF2-40B4-BE49-F238E27FC236}">
                  <a16:creationId xmlns:a16="http://schemas.microsoft.com/office/drawing/2014/main" id="{E2AAD5AB-344A-BFBD-9ECE-EA6A8C32656B}"/>
                </a:ext>
              </a:extLst>
            </p:cNvPr>
            <p:cNvSpPr txBox="1">
              <a:spLocks/>
            </p:cNvSpPr>
            <p:nvPr/>
          </p:nvSpPr>
          <p:spPr bwMode="black">
            <a:xfrm>
              <a:off x="4661367" y="3097393"/>
              <a:ext cx="786464" cy="15005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Lorem</a:t>
              </a: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ipsum</a:t>
              </a: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endParaRPr>
            </a:p>
          </p:txBody>
        </p:sp>
        <p:sp>
          <p:nvSpPr>
            <p:cNvPr id="11" name="Inhaltsplatzhalter 4">
              <a:extLst>
                <a:ext uri="{FF2B5EF4-FFF2-40B4-BE49-F238E27FC236}">
                  <a16:creationId xmlns:a16="http://schemas.microsoft.com/office/drawing/2014/main" id="{3C1068D4-E5C8-6021-E323-FE2118EB2971}"/>
                </a:ext>
              </a:extLst>
            </p:cNvPr>
            <p:cNvSpPr txBox="1">
              <a:spLocks/>
            </p:cNvSpPr>
            <p:nvPr/>
          </p:nvSpPr>
          <p:spPr bwMode="black">
            <a:xfrm>
              <a:off x="5286146" y="4196616"/>
              <a:ext cx="786464" cy="15005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Lorem</a:t>
              </a: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ipsum</a:t>
              </a: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endParaRPr>
            </a:p>
          </p:txBody>
        </p:sp>
        <p:sp>
          <p:nvSpPr>
            <p:cNvPr id="12" name="Inhaltsplatzhalter 4">
              <a:extLst>
                <a:ext uri="{FF2B5EF4-FFF2-40B4-BE49-F238E27FC236}">
                  <a16:creationId xmlns:a16="http://schemas.microsoft.com/office/drawing/2014/main" id="{D61E38BF-6CD0-31FB-A575-AD1C45FF31E4}"/>
                </a:ext>
              </a:extLst>
            </p:cNvPr>
            <p:cNvSpPr txBox="1">
              <a:spLocks/>
            </p:cNvSpPr>
            <p:nvPr/>
          </p:nvSpPr>
          <p:spPr bwMode="black">
            <a:xfrm>
              <a:off x="7475804" y="3872856"/>
              <a:ext cx="786464" cy="15005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Lorem</a:t>
              </a: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ipsum</a:t>
              </a: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endParaRPr>
            </a:p>
          </p:txBody>
        </p:sp>
        <p:sp>
          <p:nvSpPr>
            <p:cNvPr id="13" name="Inhaltsplatzhalter 4">
              <a:extLst>
                <a:ext uri="{FF2B5EF4-FFF2-40B4-BE49-F238E27FC236}">
                  <a16:creationId xmlns:a16="http://schemas.microsoft.com/office/drawing/2014/main" id="{4FDA8A37-3646-894B-982A-3B541DAE4479}"/>
                </a:ext>
              </a:extLst>
            </p:cNvPr>
            <p:cNvSpPr txBox="1">
              <a:spLocks/>
            </p:cNvSpPr>
            <p:nvPr/>
          </p:nvSpPr>
          <p:spPr bwMode="black">
            <a:xfrm>
              <a:off x="7403793" y="2214596"/>
              <a:ext cx="786464" cy="15005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Lorem</a:t>
              </a: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ipsum</a:t>
              </a: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endParaRPr>
            </a:p>
          </p:txBody>
        </p:sp>
        <p:sp>
          <p:nvSpPr>
            <p:cNvPr id="14" name="Inhaltsplatzhalter 4">
              <a:extLst>
                <a:ext uri="{FF2B5EF4-FFF2-40B4-BE49-F238E27FC236}">
                  <a16:creationId xmlns:a16="http://schemas.microsoft.com/office/drawing/2014/main" id="{C52543C0-EEA2-93D2-C004-CB0881B0B3B9}"/>
                </a:ext>
              </a:extLst>
            </p:cNvPr>
            <p:cNvSpPr txBox="1">
              <a:spLocks/>
            </p:cNvSpPr>
            <p:nvPr/>
          </p:nvSpPr>
          <p:spPr bwMode="black">
            <a:xfrm>
              <a:off x="5167246" y="2108919"/>
              <a:ext cx="786464" cy="15005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Lorem</a:t>
              </a:r>
              <a:r>
                <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NeueHaasGroteskText Pro" panose="020B0504020202020204" pitchFamily="34" charset="77"/>
                  <a:cs typeface="Arial" panose="020B0604020202020204" pitchFamily="34" charset="0"/>
                </a:rPr>
                <a:t>ipsum</a:t>
              </a:r>
              <a:endParaRPr kumimoji="0" lang="de-DE" sz="1400" b="0" i="0" u="none" strike="noStrike" kern="1200" cap="none" spc="0" normalizeH="0" baseline="0" noProof="0" dirty="0">
                <a:ln>
                  <a:noFill/>
                </a:ln>
                <a:solidFill>
                  <a:schemeClr val="bg1"/>
                </a:solidFill>
                <a:effectLst/>
                <a:uLnTx/>
                <a:uFillTx/>
                <a:latin typeface="NeueHaasGroteskText Pro" panose="020B0504020202020204" pitchFamily="34" charset="77"/>
                <a:cs typeface="Arial" panose="020B0604020202020204" pitchFamily="34" charset="0"/>
              </a:endParaRPr>
            </a:p>
          </p:txBody>
        </p:sp>
      </p:grpSp>
      <p:sp>
        <p:nvSpPr>
          <p:cNvPr id="2" name="Datumsplatzhalter 1">
            <a:extLst>
              <a:ext uri="{FF2B5EF4-FFF2-40B4-BE49-F238E27FC236}">
                <a16:creationId xmlns:a16="http://schemas.microsoft.com/office/drawing/2014/main" id="{50C2B902-8D57-EEAB-3A71-301DCB488D2F}"/>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6AFD0FD3-148C-C995-DAB7-4BD1C4A4A06E}"/>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80139894-090C-4770-C031-99BFF25AF7E6}"/>
              </a:ext>
            </a:extLst>
          </p:cNvPr>
          <p:cNvSpPr>
            <a:spLocks noGrp="1"/>
          </p:cNvSpPr>
          <p:nvPr>
            <p:ph type="sldNum" sz="quarter" idx="12"/>
          </p:nvPr>
        </p:nvSpPr>
        <p:spPr/>
        <p:txBody>
          <a:bodyPr/>
          <a:lstStyle/>
          <a:p>
            <a:fld id="{E84006A6-0E15-460A-BCD4-002C20F8AC9F}" type="slidenum">
              <a:rPr lang="de-DE" smtClean="0">
                <a:solidFill>
                  <a:schemeClr val="bg1"/>
                </a:solidFill>
              </a:rPr>
              <a:pPr/>
              <a:t>81</a:t>
            </a:fld>
            <a:endParaRPr lang="de-DE">
              <a:solidFill>
                <a:schemeClr val="bg1"/>
              </a:solidFill>
            </a:endParaRPr>
          </a:p>
        </p:txBody>
      </p:sp>
      <p:sp>
        <p:nvSpPr>
          <p:cNvPr id="15" name="Textfeld 14">
            <a:extLst>
              <a:ext uri="{FF2B5EF4-FFF2-40B4-BE49-F238E27FC236}">
                <a16:creationId xmlns:a16="http://schemas.microsoft.com/office/drawing/2014/main" id="{C428F033-EC58-4C37-189D-8F39F839C7F1}"/>
              </a:ext>
            </a:extLst>
          </p:cNvPr>
          <p:cNvSpPr txBox="1"/>
          <p:nvPr/>
        </p:nvSpPr>
        <p:spPr>
          <a:xfrm>
            <a:off x="515938" y="3090527"/>
            <a:ext cx="5091486" cy="2154436"/>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Nunc viverra imperdiet enim. Fusce est. Vivamus a tell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Pellentesque habitant morbi tristique senectus et netus et malesuada fames ac turpis egestas. Proin pharetra nonummy pede. Mauris et orci.</a:t>
            </a:r>
          </a:p>
        </p:txBody>
      </p:sp>
      <p:sp>
        <p:nvSpPr>
          <p:cNvPr id="16" name="Textfeld 15">
            <a:extLst>
              <a:ext uri="{FF2B5EF4-FFF2-40B4-BE49-F238E27FC236}">
                <a16:creationId xmlns:a16="http://schemas.microsoft.com/office/drawing/2014/main" id="{C2AF96C0-D5B9-4FFB-E2A3-AA1CBB993AAC}"/>
              </a:ext>
            </a:extLst>
          </p:cNvPr>
          <p:cNvSpPr txBox="1"/>
          <p:nvPr/>
        </p:nvSpPr>
        <p:spPr>
          <a:xfrm>
            <a:off x="515938" y="2569712"/>
            <a:ext cx="3627596" cy="369332"/>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effectLst/>
                <a:uLnTx/>
                <a:uFillTx/>
                <a:latin typeface="NeueHaasGroteskText Pro" panose="020B0504020202020204" pitchFamily="34" charset="77"/>
                <a:ea typeface="+mn-ea"/>
                <a:cs typeface="Arial"/>
              </a:rPr>
              <a:t>Hier steht eine Headline.</a:t>
            </a:r>
          </a:p>
        </p:txBody>
      </p:sp>
    </p:spTree>
    <p:extLst>
      <p:ext uri="{BB962C8B-B14F-4D97-AF65-F5344CB8AC3E}">
        <p14:creationId xmlns:p14="http://schemas.microsoft.com/office/powerpoint/2010/main" val="20508143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C4F19A-91C8-525A-DD29-6C245233249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A9C39BEC-7CF5-2F2B-8933-233B648F1209}"/>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65C2541-4BE4-432C-8CF0-8164CC4BEC8A}"/>
              </a:ext>
            </a:extLst>
          </p:cNvPr>
          <p:cNvSpPr>
            <a:spLocks noGrp="1"/>
          </p:cNvSpPr>
          <p:nvPr>
            <p:ph type="sldNum" sz="quarter" idx="12"/>
          </p:nvPr>
        </p:nvSpPr>
        <p:spPr/>
        <p:txBody>
          <a:bodyPr/>
          <a:lstStyle/>
          <a:p>
            <a:fld id="{E84006A6-0E15-460A-BCD4-002C20F8AC9F}" type="slidenum">
              <a:rPr lang="de-DE" smtClean="0"/>
              <a:pPr/>
              <a:t>82</a:t>
            </a:fld>
            <a:endParaRPr lang="de-DE"/>
          </a:p>
        </p:txBody>
      </p:sp>
      <p:sp>
        <p:nvSpPr>
          <p:cNvPr id="5" name="Titel 4">
            <a:extLst>
              <a:ext uri="{FF2B5EF4-FFF2-40B4-BE49-F238E27FC236}">
                <a16:creationId xmlns:a16="http://schemas.microsoft.com/office/drawing/2014/main" id="{88C77C4E-262B-697D-4A35-0A47A363E239}"/>
              </a:ext>
            </a:extLst>
          </p:cNvPr>
          <p:cNvSpPr>
            <a:spLocks noGrp="1"/>
          </p:cNvSpPr>
          <p:nvPr>
            <p:ph type="title"/>
          </p:nvPr>
        </p:nvSpPr>
        <p:spPr/>
        <p:txBody>
          <a:bodyPr/>
          <a:lstStyle/>
          <a:p>
            <a:r>
              <a:rPr lang="de-DE" dirty="0"/>
              <a:t>Prozess</a:t>
            </a:r>
          </a:p>
        </p:txBody>
      </p:sp>
      <p:grpSp>
        <p:nvGrpSpPr>
          <p:cNvPr id="24" name="Gruppieren 23">
            <a:extLst>
              <a:ext uri="{FF2B5EF4-FFF2-40B4-BE49-F238E27FC236}">
                <a16:creationId xmlns:a16="http://schemas.microsoft.com/office/drawing/2014/main" id="{AE28E4FB-C4E5-B344-1428-97BACFC5CBB6}"/>
              </a:ext>
            </a:extLst>
          </p:cNvPr>
          <p:cNvGrpSpPr/>
          <p:nvPr/>
        </p:nvGrpSpPr>
        <p:grpSpPr>
          <a:xfrm>
            <a:off x="515938" y="1830587"/>
            <a:ext cx="11191492" cy="4221162"/>
            <a:chOff x="515938" y="1830587"/>
            <a:chExt cx="11191492" cy="4221162"/>
          </a:xfrm>
        </p:grpSpPr>
        <p:sp>
          <p:nvSpPr>
            <p:cNvPr id="7" name="Textfeld 6">
              <a:extLst>
                <a:ext uri="{FF2B5EF4-FFF2-40B4-BE49-F238E27FC236}">
                  <a16:creationId xmlns:a16="http://schemas.microsoft.com/office/drawing/2014/main" id="{38E17C6E-5945-93A5-6AA2-4406311DCC43}"/>
                </a:ext>
              </a:extLst>
            </p:cNvPr>
            <p:cNvSpPr txBox="1"/>
            <p:nvPr/>
          </p:nvSpPr>
          <p:spPr>
            <a:xfrm>
              <a:off x="520641" y="1830587"/>
              <a:ext cx="1019351" cy="1107996"/>
            </a:xfrm>
            <a:prstGeom prst="rect">
              <a:avLst/>
            </a:prstGeom>
            <a:noFill/>
          </p:spPr>
          <p:txBody>
            <a:bodyPr wrap="square" lIns="0" rIns="0">
              <a:spAutoFit/>
            </a:bodyPr>
            <a:lstStyle/>
            <a:p>
              <a:r>
                <a:rPr lang="en-US" sz="6600" b="1" dirty="0">
                  <a:solidFill>
                    <a:schemeClr val="accent1"/>
                  </a:solidFill>
                </a:rPr>
                <a:t>1</a:t>
              </a:r>
              <a:endParaRPr lang="en-US" sz="5400" b="1" dirty="0">
                <a:solidFill>
                  <a:schemeClr val="accent1"/>
                </a:solidFill>
              </a:endParaRPr>
            </a:p>
          </p:txBody>
        </p:sp>
        <p:sp>
          <p:nvSpPr>
            <p:cNvPr id="8" name="Textplatzhalter 4">
              <a:extLst>
                <a:ext uri="{FF2B5EF4-FFF2-40B4-BE49-F238E27FC236}">
                  <a16:creationId xmlns:a16="http://schemas.microsoft.com/office/drawing/2014/main" id="{699442EB-FFE6-73EF-AF98-D59619D0FD2D}"/>
                </a:ext>
              </a:extLst>
            </p:cNvPr>
            <p:cNvSpPr txBox="1">
              <a:spLocks/>
            </p:cNvSpPr>
            <p:nvPr/>
          </p:nvSpPr>
          <p:spPr bwMode="black">
            <a:xfrm>
              <a:off x="520641" y="3897313"/>
              <a:ext cx="2210790"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endPar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endParaRPr>
            </a:p>
          </p:txBody>
        </p:sp>
        <p:sp>
          <p:nvSpPr>
            <p:cNvPr id="9" name="Textplatzhalter 4">
              <a:extLst>
                <a:ext uri="{FF2B5EF4-FFF2-40B4-BE49-F238E27FC236}">
                  <a16:creationId xmlns:a16="http://schemas.microsoft.com/office/drawing/2014/main" id="{9A167E83-DD1B-634B-4B56-EAB3C7E68F1F}"/>
                </a:ext>
              </a:extLst>
            </p:cNvPr>
            <p:cNvSpPr txBox="1">
              <a:spLocks/>
            </p:cNvSpPr>
            <p:nvPr/>
          </p:nvSpPr>
          <p:spPr bwMode="black">
            <a:xfrm>
              <a:off x="520641" y="2938583"/>
              <a:ext cx="2210794"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lang="de-DE" altLang="de-DE" sz="1600" dirty="0">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latin typeface="NeueHaasGroteskText Pro" panose="020B0504020202020204" pitchFamily="34" charset="77"/>
                  <a:ea typeface="TeleNeo Thin" charset="0"/>
                  <a:cs typeface="Arial" panose="020B0604020202020204" pitchFamily="34" charset="0"/>
                </a:rPr>
                <a:t> </a:t>
              </a:r>
              <a:r>
                <a:rPr lang="de-DE" altLang="de-DE" sz="1600" dirty="0" err="1">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endParaRPr>
            </a:p>
          </p:txBody>
        </p:sp>
        <p:sp>
          <p:nvSpPr>
            <p:cNvPr id="10" name="Textfeld 9">
              <a:extLst>
                <a:ext uri="{FF2B5EF4-FFF2-40B4-BE49-F238E27FC236}">
                  <a16:creationId xmlns:a16="http://schemas.microsoft.com/office/drawing/2014/main" id="{1A1295E7-0E08-0DD9-4DE4-F56B145A1C50}"/>
                </a:ext>
              </a:extLst>
            </p:cNvPr>
            <p:cNvSpPr txBox="1"/>
            <p:nvPr/>
          </p:nvSpPr>
          <p:spPr>
            <a:xfrm>
              <a:off x="3511073" y="1830587"/>
              <a:ext cx="1019351" cy="1107996"/>
            </a:xfrm>
            <a:prstGeom prst="rect">
              <a:avLst/>
            </a:prstGeom>
            <a:noFill/>
          </p:spPr>
          <p:txBody>
            <a:bodyPr wrap="square" lIns="0" rIns="0">
              <a:spAutoFit/>
            </a:bodyPr>
            <a:lstStyle/>
            <a:p>
              <a:r>
                <a:rPr lang="en-US" sz="6600" b="1" dirty="0">
                  <a:solidFill>
                    <a:schemeClr val="accent1"/>
                  </a:solidFill>
                </a:rPr>
                <a:t>2</a:t>
              </a:r>
              <a:endParaRPr lang="en-US" sz="5400" b="1" dirty="0">
                <a:solidFill>
                  <a:schemeClr val="accent1"/>
                </a:solidFill>
              </a:endParaRPr>
            </a:p>
          </p:txBody>
        </p:sp>
        <p:sp>
          <p:nvSpPr>
            <p:cNvPr id="11" name="Textplatzhalter 4">
              <a:extLst>
                <a:ext uri="{FF2B5EF4-FFF2-40B4-BE49-F238E27FC236}">
                  <a16:creationId xmlns:a16="http://schemas.microsoft.com/office/drawing/2014/main" id="{9C67A33B-F732-BE0F-3779-60EDDE7895DE}"/>
                </a:ext>
              </a:extLst>
            </p:cNvPr>
            <p:cNvSpPr txBox="1">
              <a:spLocks/>
            </p:cNvSpPr>
            <p:nvPr/>
          </p:nvSpPr>
          <p:spPr bwMode="black">
            <a:xfrm>
              <a:off x="3511073" y="3897313"/>
              <a:ext cx="2210790"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endPar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endParaRPr>
            </a:p>
          </p:txBody>
        </p:sp>
        <p:sp>
          <p:nvSpPr>
            <p:cNvPr id="12" name="Textplatzhalter 4">
              <a:extLst>
                <a:ext uri="{FF2B5EF4-FFF2-40B4-BE49-F238E27FC236}">
                  <a16:creationId xmlns:a16="http://schemas.microsoft.com/office/drawing/2014/main" id="{AB8CE5FC-17C4-0105-DB81-1F4149E78B64}"/>
                </a:ext>
              </a:extLst>
            </p:cNvPr>
            <p:cNvSpPr txBox="1">
              <a:spLocks/>
            </p:cNvSpPr>
            <p:nvPr/>
          </p:nvSpPr>
          <p:spPr bwMode="black">
            <a:xfrm>
              <a:off x="3511073" y="2938583"/>
              <a:ext cx="2210794"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lang="de-DE" altLang="de-DE" sz="1600" dirty="0">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latin typeface="NeueHaasGroteskText Pro" panose="020B0504020202020204" pitchFamily="34" charset="77"/>
                  <a:ea typeface="TeleNeo Thin" charset="0"/>
                  <a:cs typeface="Arial" panose="020B0604020202020204" pitchFamily="34" charset="0"/>
                </a:rPr>
                <a:t> </a:t>
              </a:r>
              <a:r>
                <a:rPr lang="de-DE" altLang="de-DE" sz="1600" dirty="0" err="1">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endParaRPr>
            </a:p>
          </p:txBody>
        </p:sp>
        <p:sp>
          <p:nvSpPr>
            <p:cNvPr id="13" name="Textfeld 12">
              <a:extLst>
                <a:ext uri="{FF2B5EF4-FFF2-40B4-BE49-F238E27FC236}">
                  <a16:creationId xmlns:a16="http://schemas.microsoft.com/office/drawing/2014/main" id="{0FD1BC94-8443-A592-1298-986EE2859EAA}"/>
                </a:ext>
              </a:extLst>
            </p:cNvPr>
            <p:cNvSpPr txBox="1"/>
            <p:nvPr/>
          </p:nvSpPr>
          <p:spPr>
            <a:xfrm>
              <a:off x="6501505" y="1830587"/>
              <a:ext cx="1019351" cy="1107996"/>
            </a:xfrm>
            <a:prstGeom prst="rect">
              <a:avLst/>
            </a:prstGeom>
            <a:noFill/>
          </p:spPr>
          <p:txBody>
            <a:bodyPr wrap="square" lIns="0" rIns="0">
              <a:spAutoFit/>
            </a:bodyPr>
            <a:lstStyle/>
            <a:p>
              <a:r>
                <a:rPr lang="en-US" sz="6600" b="1" dirty="0">
                  <a:solidFill>
                    <a:schemeClr val="accent1"/>
                  </a:solidFill>
                </a:rPr>
                <a:t>3</a:t>
              </a:r>
              <a:endParaRPr lang="en-US" sz="5400" b="1" dirty="0">
                <a:solidFill>
                  <a:schemeClr val="accent1"/>
                </a:solidFill>
              </a:endParaRPr>
            </a:p>
          </p:txBody>
        </p:sp>
        <p:sp>
          <p:nvSpPr>
            <p:cNvPr id="14" name="Textplatzhalter 4">
              <a:extLst>
                <a:ext uri="{FF2B5EF4-FFF2-40B4-BE49-F238E27FC236}">
                  <a16:creationId xmlns:a16="http://schemas.microsoft.com/office/drawing/2014/main" id="{99C91FC5-F956-8604-C0E9-4D5BE060971A}"/>
                </a:ext>
              </a:extLst>
            </p:cNvPr>
            <p:cNvSpPr txBox="1">
              <a:spLocks/>
            </p:cNvSpPr>
            <p:nvPr/>
          </p:nvSpPr>
          <p:spPr bwMode="black">
            <a:xfrm>
              <a:off x="6501505" y="3897313"/>
              <a:ext cx="2210790"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endPar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endParaRPr>
            </a:p>
          </p:txBody>
        </p:sp>
        <p:sp>
          <p:nvSpPr>
            <p:cNvPr id="15" name="Textplatzhalter 4">
              <a:extLst>
                <a:ext uri="{FF2B5EF4-FFF2-40B4-BE49-F238E27FC236}">
                  <a16:creationId xmlns:a16="http://schemas.microsoft.com/office/drawing/2014/main" id="{578D631B-53D8-2087-CFCB-FE5F5F0967FC}"/>
                </a:ext>
              </a:extLst>
            </p:cNvPr>
            <p:cNvSpPr txBox="1">
              <a:spLocks/>
            </p:cNvSpPr>
            <p:nvPr/>
          </p:nvSpPr>
          <p:spPr bwMode="black">
            <a:xfrm>
              <a:off x="6501505" y="2938583"/>
              <a:ext cx="2210794"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lang="de-DE" altLang="de-DE" sz="1600" dirty="0">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latin typeface="NeueHaasGroteskText Pro" panose="020B0504020202020204" pitchFamily="34" charset="77"/>
                  <a:ea typeface="TeleNeo Thin" charset="0"/>
                  <a:cs typeface="Arial" panose="020B0604020202020204" pitchFamily="34" charset="0"/>
                </a:rPr>
                <a:t> </a:t>
              </a:r>
              <a:r>
                <a:rPr lang="de-DE" altLang="de-DE" sz="1600" dirty="0" err="1">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endParaRPr>
            </a:p>
          </p:txBody>
        </p:sp>
        <p:sp>
          <p:nvSpPr>
            <p:cNvPr id="16" name="Textfeld 15">
              <a:extLst>
                <a:ext uri="{FF2B5EF4-FFF2-40B4-BE49-F238E27FC236}">
                  <a16:creationId xmlns:a16="http://schemas.microsoft.com/office/drawing/2014/main" id="{EF297FFB-A7E5-9FC9-31C0-F3635BFC145B}"/>
                </a:ext>
              </a:extLst>
            </p:cNvPr>
            <p:cNvSpPr txBox="1"/>
            <p:nvPr/>
          </p:nvSpPr>
          <p:spPr>
            <a:xfrm>
              <a:off x="9491937" y="1830587"/>
              <a:ext cx="1019351" cy="1107996"/>
            </a:xfrm>
            <a:prstGeom prst="rect">
              <a:avLst/>
            </a:prstGeom>
            <a:noFill/>
          </p:spPr>
          <p:txBody>
            <a:bodyPr wrap="square" lIns="0" rIns="0">
              <a:spAutoFit/>
            </a:bodyPr>
            <a:lstStyle/>
            <a:p>
              <a:r>
                <a:rPr lang="en-US" sz="6600" b="1" dirty="0">
                  <a:solidFill>
                    <a:schemeClr val="accent1"/>
                  </a:solidFill>
                </a:rPr>
                <a:t>4</a:t>
              </a:r>
              <a:endParaRPr lang="en-US" sz="5400" b="1" dirty="0">
                <a:solidFill>
                  <a:schemeClr val="accent1"/>
                </a:solidFill>
              </a:endParaRPr>
            </a:p>
          </p:txBody>
        </p:sp>
        <p:sp>
          <p:nvSpPr>
            <p:cNvPr id="17" name="Textplatzhalter 4">
              <a:extLst>
                <a:ext uri="{FF2B5EF4-FFF2-40B4-BE49-F238E27FC236}">
                  <a16:creationId xmlns:a16="http://schemas.microsoft.com/office/drawing/2014/main" id="{9361B4AB-15FF-957A-ABA6-9EA57F27FB8C}"/>
                </a:ext>
              </a:extLst>
            </p:cNvPr>
            <p:cNvSpPr txBox="1">
              <a:spLocks/>
            </p:cNvSpPr>
            <p:nvPr/>
          </p:nvSpPr>
          <p:spPr bwMode="black">
            <a:xfrm>
              <a:off x="9491937" y="3897313"/>
              <a:ext cx="2210790" cy="2154436"/>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endParaRPr kumimoji="0" lang="de-DE" alt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TeleNeo Thin" charset="0"/>
                <a:cs typeface="Arial" panose="020B0604020202020204" pitchFamily="34" charset="0"/>
              </a:endParaRPr>
            </a:p>
          </p:txBody>
        </p:sp>
        <p:sp>
          <p:nvSpPr>
            <p:cNvPr id="18" name="Textplatzhalter 4">
              <a:extLst>
                <a:ext uri="{FF2B5EF4-FFF2-40B4-BE49-F238E27FC236}">
                  <a16:creationId xmlns:a16="http://schemas.microsoft.com/office/drawing/2014/main" id="{890EA3FF-FF5C-27C8-D26E-482E944F1C3D}"/>
                </a:ext>
              </a:extLst>
            </p:cNvPr>
            <p:cNvSpPr txBox="1">
              <a:spLocks/>
            </p:cNvSpPr>
            <p:nvPr/>
          </p:nvSpPr>
          <p:spPr bwMode="black">
            <a:xfrm>
              <a:off x="9491937" y="2938583"/>
              <a:ext cx="2210794" cy="492443"/>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0"/>
                </a:spcAft>
                <a:buClr>
                  <a:srgbClr val="E20074"/>
                </a:buClr>
                <a:buSzTx/>
                <a:buFont typeface="Arial" panose="020B0604020202020204" pitchFamily="34" charset="0"/>
                <a:buNone/>
                <a:tabLst/>
                <a:defRPr/>
              </a:pP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Lore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ipsum</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lang="de-DE" altLang="de-DE" sz="1600" dirty="0">
                  <a:latin typeface="NeueHaasGroteskText Pro" panose="020B0504020202020204" pitchFamily="34" charset="77"/>
                  <a:ea typeface="TeleNeo Thin" charset="0"/>
                  <a:cs typeface="Arial" panose="020B0604020202020204" pitchFamily="34" charset="0"/>
                </a:rPr>
                <a:t>f</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usce</a:t>
              </a:r>
              <a:r>
                <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 </a:t>
              </a:r>
              <a:r>
                <a:rPr kumimoji="0" lang="de-DE" altLang="de-DE" sz="1600" i="0" u="none" strike="noStrike" kern="1200" cap="none" spc="0" normalizeH="0" baseline="0" noProof="0" dirty="0" err="1">
                  <a:ln>
                    <a:noFill/>
                  </a:ln>
                  <a:effectLst/>
                  <a:uLnTx/>
                  <a:uFillTx/>
                  <a:latin typeface="NeueHaasGroteskText Pro" panose="020B0504020202020204" pitchFamily="34" charset="77"/>
                  <a:ea typeface="TeleNeo Thin" charset="0"/>
                  <a:cs typeface="Arial" panose="020B0604020202020204" pitchFamily="34" charset="0"/>
                </a:rPr>
                <a:t>posuere</a:t>
              </a:r>
              <a:r>
                <a:rPr lang="de-DE" altLang="de-DE" sz="1600" dirty="0">
                  <a:latin typeface="NeueHaasGroteskText Pro" panose="020B0504020202020204" pitchFamily="34" charset="77"/>
                  <a:ea typeface="TeleNeo Thin" charset="0"/>
                  <a:cs typeface="Arial" panose="020B0604020202020204" pitchFamily="34" charset="0"/>
                </a:rPr>
                <a:t> </a:t>
              </a:r>
              <a:r>
                <a:rPr lang="de-DE" altLang="de-DE" sz="1600" dirty="0" err="1">
                  <a:latin typeface="NeueHaasGroteskText Pro" panose="020B0504020202020204" pitchFamily="34" charset="77"/>
                  <a:ea typeface="TeleNeo Thin" charset="0"/>
                  <a:cs typeface="Arial" panose="020B0604020202020204" pitchFamily="34" charset="0"/>
                </a:rPr>
                <a:t>purus</a:t>
              </a:r>
              <a:endParaRPr kumimoji="0" lang="de-DE" altLang="de-DE" sz="160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endParaRPr>
            </a:p>
          </p:txBody>
        </p:sp>
        <p:cxnSp>
          <p:nvCxnSpPr>
            <p:cNvPr id="19" name="Gerade Verbindung 18">
              <a:extLst>
                <a:ext uri="{FF2B5EF4-FFF2-40B4-BE49-F238E27FC236}">
                  <a16:creationId xmlns:a16="http://schemas.microsoft.com/office/drawing/2014/main" id="{959D16EB-5284-52A3-2B4F-01F360E33786}"/>
                </a:ext>
              </a:extLst>
            </p:cNvPr>
            <p:cNvCxnSpPr/>
            <p:nvPr/>
          </p:nvCxnSpPr>
          <p:spPr>
            <a:xfrm>
              <a:off x="515938" y="2843383"/>
              <a:ext cx="221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A6BECCD6-1B37-8266-9839-4376837E82A1}"/>
                </a:ext>
              </a:extLst>
            </p:cNvPr>
            <p:cNvCxnSpPr>
              <a:cxnSpLocks/>
            </p:cNvCxnSpPr>
            <p:nvPr/>
          </p:nvCxnSpPr>
          <p:spPr>
            <a:xfrm>
              <a:off x="3511073" y="2843383"/>
              <a:ext cx="221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 Verbindung 20">
              <a:extLst>
                <a:ext uri="{FF2B5EF4-FFF2-40B4-BE49-F238E27FC236}">
                  <a16:creationId xmlns:a16="http://schemas.microsoft.com/office/drawing/2014/main" id="{23516DF3-1810-6EFA-30B0-A9CFA9A2CB81}"/>
                </a:ext>
              </a:extLst>
            </p:cNvPr>
            <p:cNvCxnSpPr>
              <a:cxnSpLocks/>
            </p:cNvCxnSpPr>
            <p:nvPr/>
          </p:nvCxnSpPr>
          <p:spPr>
            <a:xfrm>
              <a:off x="6501505" y="2843383"/>
              <a:ext cx="22154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 Verbindung 21">
              <a:extLst>
                <a:ext uri="{FF2B5EF4-FFF2-40B4-BE49-F238E27FC236}">
                  <a16:creationId xmlns:a16="http://schemas.microsoft.com/office/drawing/2014/main" id="{BDF957BD-9036-2C30-D0B0-7ADF63AA2BCE}"/>
                </a:ext>
              </a:extLst>
            </p:cNvPr>
            <p:cNvCxnSpPr>
              <a:cxnSpLocks/>
            </p:cNvCxnSpPr>
            <p:nvPr/>
          </p:nvCxnSpPr>
          <p:spPr>
            <a:xfrm>
              <a:off x="9491937" y="2843383"/>
              <a:ext cx="2215493"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36887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C4F19A-91C8-525A-DD29-6C245233249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A9C39BEC-7CF5-2F2B-8933-233B648F1209}"/>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665C2541-4BE4-432C-8CF0-8164CC4BEC8A}"/>
              </a:ext>
            </a:extLst>
          </p:cNvPr>
          <p:cNvSpPr>
            <a:spLocks noGrp="1"/>
          </p:cNvSpPr>
          <p:nvPr>
            <p:ph type="sldNum" sz="quarter" idx="12"/>
          </p:nvPr>
        </p:nvSpPr>
        <p:spPr/>
        <p:txBody>
          <a:bodyPr/>
          <a:lstStyle/>
          <a:p>
            <a:fld id="{E84006A6-0E15-460A-BCD4-002C20F8AC9F}" type="slidenum">
              <a:rPr lang="de-DE" smtClean="0"/>
              <a:pPr/>
              <a:t>83</a:t>
            </a:fld>
            <a:endParaRPr lang="de-DE"/>
          </a:p>
        </p:txBody>
      </p:sp>
      <p:sp>
        <p:nvSpPr>
          <p:cNvPr id="5" name="Titel 4">
            <a:extLst>
              <a:ext uri="{FF2B5EF4-FFF2-40B4-BE49-F238E27FC236}">
                <a16:creationId xmlns:a16="http://schemas.microsoft.com/office/drawing/2014/main" id="{88C77C4E-262B-697D-4A35-0A47A363E239}"/>
              </a:ext>
            </a:extLst>
          </p:cNvPr>
          <p:cNvSpPr>
            <a:spLocks noGrp="1"/>
          </p:cNvSpPr>
          <p:nvPr>
            <p:ph type="title"/>
          </p:nvPr>
        </p:nvSpPr>
        <p:spPr>
          <a:xfrm>
            <a:off x="515939" y="788711"/>
            <a:ext cx="2950024" cy="738664"/>
          </a:xfrm>
        </p:spPr>
        <p:txBody>
          <a:bodyPr/>
          <a:lstStyle/>
          <a:p>
            <a:r>
              <a:rPr lang="de-DE" dirty="0"/>
              <a:t>Prozess</a:t>
            </a:r>
          </a:p>
        </p:txBody>
      </p:sp>
      <p:grpSp>
        <p:nvGrpSpPr>
          <p:cNvPr id="6" name="Gruppieren 5">
            <a:extLst>
              <a:ext uri="{FF2B5EF4-FFF2-40B4-BE49-F238E27FC236}">
                <a16:creationId xmlns:a16="http://schemas.microsoft.com/office/drawing/2014/main" id="{F486DD98-821B-283E-B803-3ED582043846}"/>
              </a:ext>
            </a:extLst>
          </p:cNvPr>
          <p:cNvGrpSpPr/>
          <p:nvPr/>
        </p:nvGrpSpPr>
        <p:grpSpPr>
          <a:xfrm>
            <a:off x="4097867" y="1342829"/>
            <a:ext cx="7578196" cy="1221156"/>
            <a:chOff x="1704113" y="1790274"/>
            <a:chExt cx="9971950" cy="1221156"/>
          </a:xfrm>
        </p:grpSpPr>
        <p:sp>
          <p:nvSpPr>
            <p:cNvPr id="23" name="Textfeld 22">
              <a:extLst>
                <a:ext uri="{FF2B5EF4-FFF2-40B4-BE49-F238E27FC236}">
                  <a16:creationId xmlns:a16="http://schemas.microsoft.com/office/drawing/2014/main" id="{0C4CDF2C-AB64-228B-3B25-811ABB0E080B}"/>
                </a:ext>
              </a:extLst>
            </p:cNvPr>
            <p:cNvSpPr txBox="1"/>
            <p:nvPr/>
          </p:nvSpPr>
          <p:spPr>
            <a:xfrm>
              <a:off x="1704113" y="1790274"/>
              <a:ext cx="1019351" cy="707886"/>
            </a:xfrm>
            <a:prstGeom prst="rect">
              <a:avLst/>
            </a:prstGeom>
            <a:noFill/>
          </p:spPr>
          <p:txBody>
            <a:bodyPr wrap="square" lIns="0" rIns="0">
              <a:spAutoFit/>
            </a:bodyPr>
            <a:lstStyle/>
            <a:p>
              <a:r>
                <a:rPr lang="en-US" sz="4000" b="1" dirty="0">
                  <a:solidFill>
                    <a:schemeClr val="accent1"/>
                  </a:solidFill>
                </a:rPr>
                <a:t>1</a:t>
              </a:r>
              <a:endParaRPr lang="en-US" sz="6600" b="1" dirty="0">
                <a:solidFill>
                  <a:schemeClr val="accent1"/>
                </a:solidFill>
              </a:endParaRPr>
            </a:p>
          </p:txBody>
        </p:sp>
        <p:cxnSp>
          <p:nvCxnSpPr>
            <p:cNvPr id="25" name="Gerade Verbindung 24">
              <a:extLst>
                <a:ext uri="{FF2B5EF4-FFF2-40B4-BE49-F238E27FC236}">
                  <a16:creationId xmlns:a16="http://schemas.microsoft.com/office/drawing/2014/main" id="{1599EEB7-F736-78D7-F17F-7E1AB0313A8F}"/>
                </a:ext>
              </a:extLst>
            </p:cNvPr>
            <p:cNvCxnSpPr>
              <a:cxnSpLocks/>
            </p:cNvCxnSpPr>
            <p:nvPr/>
          </p:nvCxnSpPr>
          <p:spPr>
            <a:xfrm>
              <a:off x="1704113" y="1790274"/>
              <a:ext cx="9971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6" name="Gruppieren 25">
              <a:extLst>
                <a:ext uri="{FF2B5EF4-FFF2-40B4-BE49-F238E27FC236}">
                  <a16:creationId xmlns:a16="http://schemas.microsoft.com/office/drawing/2014/main" id="{AB0B80AD-2414-B5C1-5293-BC6D5A39867A}"/>
                </a:ext>
              </a:extLst>
            </p:cNvPr>
            <p:cNvGrpSpPr/>
            <p:nvPr/>
          </p:nvGrpSpPr>
          <p:grpSpPr>
            <a:xfrm>
              <a:off x="2349067" y="1895401"/>
              <a:ext cx="9322293" cy="1116029"/>
              <a:chOff x="911669" y="3081693"/>
              <a:chExt cx="5797848" cy="1116029"/>
            </a:xfrm>
          </p:grpSpPr>
          <p:sp>
            <p:nvSpPr>
              <p:cNvPr id="27" name="Textfeld 26">
                <a:extLst>
                  <a:ext uri="{FF2B5EF4-FFF2-40B4-BE49-F238E27FC236}">
                    <a16:creationId xmlns:a16="http://schemas.microsoft.com/office/drawing/2014/main" id="{748C0A8E-E4C5-B8E4-0C87-9AA4F6201391}"/>
                  </a:ext>
                </a:extLst>
              </p:cNvPr>
              <p:cNvSpPr txBox="1"/>
              <p:nvPr/>
            </p:nvSpPr>
            <p:spPr>
              <a:xfrm>
                <a:off x="911669" y="3081694"/>
                <a:ext cx="1813202" cy="70785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rPr>
                  <a:t>Lorem ipsum dolor sit amet, </a:t>
                </a:r>
                <a:r>
                  <a:rPr kumimoji="0" lang="en-US" sz="1600" b="1" i="0" u="none" strike="noStrike" kern="1200" cap="none" spc="0" normalizeH="0" baseline="0" noProof="0" dirty="0" err="1">
                    <a:ln>
                      <a:noFill/>
                    </a:ln>
                    <a:solidFill>
                      <a:srgbClr val="000000"/>
                    </a:solidFill>
                    <a:effectLst/>
                    <a:uLnTx/>
                    <a:uFillTx/>
                    <a:latin typeface="NeueHaasGroteskText Pro" panose="020B0504020202020204" pitchFamily="34" charset="77"/>
                    <a:ea typeface="+mn-ea"/>
                    <a:cs typeface="Arial"/>
                  </a:rPr>
                  <a:t>consectetuer</a:t>
                </a:r>
                <a:endPar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endParaRPr>
              </a:p>
            </p:txBody>
          </p:sp>
          <p:sp>
            <p:nvSpPr>
              <p:cNvPr id="28" name="Textfeld 27">
                <a:extLst>
                  <a:ext uri="{FF2B5EF4-FFF2-40B4-BE49-F238E27FC236}">
                    <a16:creationId xmlns:a16="http://schemas.microsoft.com/office/drawing/2014/main" id="{25795C86-B842-1737-BCC0-AC5477B9AFAB}"/>
                  </a:ext>
                </a:extLst>
              </p:cNvPr>
              <p:cNvSpPr txBox="1"/>
              <p:nvPr/>
            </p:nvSpPr>
            <p:spPr>
              <a:xfrm>
                <a:off x="3242013" y="3081693"/>
                <a:ext cx="3467504" cy="1116029"/>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grpSp>
      <p:grpSp>
        <p:nvGrpSpPr>
          <p:cNvPr id="29" name="Gruppieren 28">
            <a:extLst>
              <a:ext uri="{FF2B5EF4-FFF2-40B4-BE49-F238E27FC236}">
                <a16:creationId xmlns:a16="http://schemas.microsoft.com/office/drawing/2014/main" id="{F738AF8B-F159-E85E-D284-0E219DD60822}"/>
              </a:ext>
            </a:extLst>
          </p:cNvPr>
          <p:cNvGrpSpPr/>
          <p:nvPr/>
        </p:nvGrpSpPr>
        <p:grpSpPr>
          <a:xfrm>
            <a:off x="4097867" y="3166751"/>
            <a:ext cx="7578196" cy="1384044"/>
            <a:chOff x="1704113" y="1790274"/>
            <a:chExt cx="9971950" cy="1384044"/>
          </a:xfrm>
        </p:grpSpPr>
        <p:sp>
          <p:nvSpPr>
            <p:cNvPr id="30" name="Textfeld 29">
              <a:extLst>
                <a:ext uri="{FF2B5EF4-FFF2-40B4-BE49-F238E27FC236}">
                  <a16:creationId xmlns:a16="http://schemas.microsoft.com/office/drawing/2014/main" id="{290D11D5-E0E9-31AD-7877-F36287FDA0AB}"/>
                </a:ext>
              </a:extLst>
            </p:cNvPr>
            <p:cNvSpPr txBox="1"/>
            <p:nvPr/>
          </p:nvSpPr>
          <p:spPr>
            <a:xfrm>
              <a:off x="1704113" y="1790274"/>
              <a:ext cx="1019351" cy="707886"/>
            </a:xfrm>
            <a:prstGeom prst="rect">
              <a:avLst/>
            </a:prstGeom>
            <a:noFill/>
          </p:spPr>
          <p:txBody>
            <a:bodyPr wrap="square" lIns="0" rIns="0">
              <a:spAutoFit/>
            </a:bodyPr>
            <a:lstStyle/>
            <a:p>
              <a:r>
                <a:rPr lang="en-US" sz="4000" b="1" dirty="0">
                  <a:solidFill>
                    <a:schemeClr val="accent1"/>
                  </a:solidFill>
                </a:rPr>
                <a:t>2</a:t>
              </a:r>
              <a:endParaRPr lang="en-US" sz="6600" b="1" dirty="0">
                <a:solidFill>
                  <a:schemeClr val="accent1"/>
                </a:solidFill>
              </a:endParaRPr>
            </a:p>
          </p:txBody>
        </p:sp>
        <p:cxnSp>
          <p:nvCxnSpPr>
            <p:cNvPr id="31" name="Gerade Verbindung 30">
              <a:extLst>
                <a:ext uri="{FF2B5EF4-FFF2-40B4-BE49-F238E27FC236}">
                  <a16:creationId xmlns:a16="http://schemas.microsoft.com/office/drawing/2014/main" id="{73EB4F74-D660-2EA4-B058-FF75B6D77A6E}"/>
                </a:ext>
              </a:extLst>
            </p:cNvPr>
            <p:cNvCxnSpPr>
              <a:cxnSpLocks/>
            </p:cNvCxnSpPr>
            <p:nvPr/>
          </p:nvCxnSpPr>
          <p:spPr>
            <a:xfrm>
              <a:off x="1704113" y="1790274"/>
              <a:ext cx="9971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2" name="Gruppieren 31">
              <a:extLst>
                <a:ext uri="{FF2B5EF4-FFF2-40B4-BE49-F238E27FC236}">
                  <a16:creationId xmlns:a16="http://schemas.microsoft.com/office/drawing/2014/main" id="{BF3FBB07-345D-ECF8-A5C6-65B4C7888981}"/>
                </a:ext>
              </a:extLst>
            </p:cNvPr>
            <p:cNvGrpSpPr/>
            <p:nvPr/>
          </p:nvGrpSpPr>
          <p:grpSpPr>
            <a:xfrm>
              <a:off x="2349067" y="1895402"/>
              <a:ext cx="9322293" cy="1278916"/>
              <a:chOff x="911669" y="3081694"/>
              <a:chExt cx="5797848" cy="1278916"/>
            </a:xfrm>
          </p:grpSpPr>
          <p:sp>
            <p:nvSpPr>
              <p:cNvPr id="33" name="Textfeld 32">
                <a:extLst>
                  <a:ext uri="{FF2B5EF4-FFF2-40B4-BE49-F238E27FC236}">
                    <a16:creationId xmlns:a16="http://schemas.microsoft.com/office/drawing/2014/main" id="{99BCC0E4-2553-BBFB-8D2A-9672D2144C6B}"/>
                  </a:ext>
                </a:extLst>
              </p:cNvPr>
              <p:cNvSpPr txBox="1"/>
              <p:nvPr/>
            </p:nvSpPr>
            <p:spPr>
              <a:xfrm>
                <a:off x="911669" y="3081694"/>
                <a:ext cx="1813202" cy="70785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rPr>
                  <a:t>Lorem ipsum dolor sit amet, </a:t>
                </a:r>
                <a:r>
                  <a:rPr kumimoji="0" lang="en-US" sz="1600" b="1" i="0" u="none" strike="noStrike" kern="1200" cap="none" spc="0" normalizeH="0" baseline="0" noProof="0" dirty="0" err="1">
                    <a:ln>
                      <a:noFill/>
                    </a:ln>
                    <a:solidFill>
                      <a:srgbClr val="000000"/>
                    </a:solidFill>
                    <a:effectLst/>
                    <a:uLnTx/>
                    <a:uFillTx/>
                    <a:latin typeface="NeueHaasGroteskText Pro" panose="020B0504020202020204" pitchFamily="34" charset="77"/>
                    <a:ea typeface="+mn-ea"/>
                    <a:cs typeface="Arial"/>
                  </a:rPr>
                  <a:t>consectetuer</a:t>
                </a:r>
                <a:endPar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endParaRPr>
              </a:p>
            </p:txBody>
          </p:sp>
          <p:sp>
            <p:nvSpPr>
              <p:cNvPr id="34" name="Textfeld 33">
                <a:extLst>
                  <a:ext uri="{FF2B5EF4-FFF2-40B4-BE49-F238E27FC236}">
                    <a16:creationId xmlns:a16="http://schemas.microsoft.com/office/drawing/2014/main" id="{9F3B5E45-A4DF-FCC6-2919-E0CF4FDE2A1D}"/>
                  </a:ext>
                </a:extLst>
              </p:cNvPr>
              <p:cNvSpPr txBox="1"/>
              <p:nvPr/>
            </p:nvSpPr>
            <p:spPr>
              <a:xfrm>
                <a:off x="3242013" y="3081694"/>
                <a:ext cx="3467504" cy="1278916"/>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grpSp>
      <p:grpSp>
        <p:nvGrpSpPr>
          <p:cNvPr id="35" name="Gruppieren 34">
            <a:extLst>
              <a:ext uri="{FF2B5EF4-FFF2-40B4-BE49-F238E27FC236}">
                <a16:creationId xmlns:a16="http://schemas.microsoft.com/office/drawing/2014/main" id="{6A36739F-8408-76DD-1F91-BE80864542D6}"/>
              </a:ext>
            </a:extLst>
          </p:cNvPr>
          <p:cNvGrpSpPr/>
          <p:nvPr/>
        </p:nvGrpSpPr>
        <p:grpSpPr>
          <a:xfrm>
            <a:off x="4097867" y="4990673"/>
            <a:ext cx="7578196" cy="1138664"/>
            <a:chOff x="1704113" y="1790274"/>
            <a:chExt cx="9971950" cy="1138664"/>
          </a:xfrm>
        </p:grpSpPr>
        <p:sp>
          <p:nvSpPr>
            <p:cNvPr id="36" name="Textfeld 35">
              <a:extLst>
                <a:ext uri="{FF2B5EF4-FFF2-40B4-BE49-F238E27FC236}">
                  <a16:creationId xmlns:a16="http://schemas.microsoft.com/office/drawing/2014/main" id="{271E0D1F-6317-BD0D-D31E-7A97489DE12D}"/>
                </a:ext>
              </a:extLst>
            </p:cNvPr>
            <p:cNvSpPr txBox="1"/>
            <p:nvPr/>
          </p:nvSpPr>
          <p:spPr>
            <a:xfrm>
              <a:off x="1704113" y="1790274"/>
              <a:ext cx="1019351" cy="707886"/>
            </a:xfrm>
            <a:prstGeom prst="rect">
              <a:avLst/>
            </a:prstGeom>
            <a:noFill/>
          </p:spPr>
          <p:txBody>
            <a:bodyPr wrap="square" lIns="0" rIns="0">
              <a:spAutoFit/>
            </a:bodyPr>
            <a:lstStyle/>
            <a:p>
              <a:r>
                <a:rPr lang="en-US" sz="4000" b="1" dirty="0">
                  <a:solidFill>
                    <a:schemeClr val="accent1"/>
                  </a:solidFill>
                </a:rPr>
                <a:t>3</a:t>
              </a:r>
            </a:p>
          </p:txBody>
        </p:sp>
        <p:cxnSp>
          <p:nvCxnSpPr>
            <p:cNvPr id="37" name="Gerade Verbindung 36">
              <a:extLst>
                <a:ext uri="{FF2B5EF4-FFF2-40B4-BE49-F238E27FC236}">
                  <a16:creationId xmlns:a16="http://schemas.microsoft.com/office/drawing/2014/main" id="{F2B12E47-EE0C-E36B-CFAB-43FB558F2C78}"/>
                </a:ext>
              </a:extLst>
            </p:cNvPr>
            <p:cNvCxnSpPr>
              <a:cxnSpLocks/>
            </p:cNvCxnSpPr>
            <p:nvPr/>
          </p:nvCxnSpPr>
          <p:spPr>
            <a:xfrm>
              <a:off x="1704113" y="1790274"/>
              <a:ext cx="9971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8" name="Gruppieren 37">
              <a:extLst>
                <a:ext uri="{FF2B5EF4-FFF2-40B4-BE49-F238E27FC236}">
                  <a16:creationId xmlns:a16="http://schemas.microsoft.com/office/drawing/2014/main" id="{D8110818-F5A9-7438-33CF-32D2FBE3D899}"/>
                </a:ext>
              </a:extLst>
            </p:cNvPr>
            <p:cNvGrpSpPr/>
            <p:nvPr/>
          </p:nvGrpSpPr>
          <p:grpSpPr>
            <a:xfrm>
              <a:off x="2349067" y="1895401"/>
              <a:ext cx="9322293" cy="1033537"/>
              <a:chOff x="911669" y="3081693"/>
              <a:chExt cx="5797848" cy="1033537"/>
            </a:xfrm>
          </p:grpSpPr>
          <p:sp>
            <p:nvSpPr>
              <p:cNvPr id="39" name="Textfeld 38">
                <a:extLst>
                  <a:ext uri="{FF2B5EF4-FFF2-40B4-BE49-F238E27FC236}">
                    <a16:creationId xmlns:a16="http://schemas.microsoft.com/office/drawing/2014/main" id="{0EF4C14C-5B76-AE09-2AE2-B6E0176208F3}"/>
                  </a:ext>
                </a:extLst>
              </p:cNvPr>
              <p:cNvSpPr txBox="1"/>
              <p:nvPr/>
            </p:nvSpPr>
            <p:spPr>
              <a:xfrm>
                <a:off x="911669" y="3081694"/>
                <a:ext cx="1813202" cy="70785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rPr>
                  <a:t>Lorem ipsum dolor sit amet, </a:t>
                </a:r>
                <a:r>
                  <a:rPr kumimoji="0" lang="en-US" sz="1600" b="1" i="0" u="none" strike="noStrike" kern="1200" cap="none" spc="0" normalizeH="0" baseline="0" noProof="0" dirty="0" err="1">
                    <a:ln>
                      <a:noFill/>
                    </a:ln>
                    <a:solidFill>
                      <a:srgbClr val="000000"/>
                    </a:solidFill>
                    <a:effectLst/>
                    <a:uLnTx/>
                    <a:uFillTx/>
                    <a:latin typeface="NeueHaasGroteskText Pro" panose="020B0504020202020204" pitchFamily="34" charset="77"/>
                    <a:ea typeface="+mn-ea"/>
                    <a:cs typeface="Arial"/>
                  </a:rPr>
                  <a:t>consectetuer</a:t>
                </a:r>
                <a:endParaRPr kumimoji="0" lang="en-US" sz="1600" b="1" i="0" u="none" strike="noStrike" kern="1200" cap="none" spc="0" normalizeH="0" baseline="0" noProof="0" dirty="0">
                  <a:ln>
                    <a:noFill/>
                  </a:ln>
                  <a:solidFill>
                    <a:srgbClr val="000000"/>
                  </a:solidFill>
                  <a:effectLst/>
                  <a:uLnTx/>
                  <a:uFillTx/>
                  <a:latin typeface="NeueHaasGroteskText Pro" panose="020B0504020202020204" pitchFamily="34" charset="77"/>
                  <a:ea typeface="+mn-ea"/>
                  <a:cs typeface="Arial"/>
                </a:endParaRPr>
              </a:p>
            </p:txBody>
          </p:sp>
          <p:sp>
            <p:nvSpPr>
              <p:cNvPr id="40" name="Textfeld 39">
                <a:extLst>
                  <a:ext uri="{FF2B5EF4-FFF2-40B4-BE49-F238E27FC236}">
                    <a16:creationId xmlns:a16="http://schemas.microsoft.com/office/drawing/2014/main" id="{D72FB824-8CD6-146A-4538-45433E76A472}"/>
                  </a:ext>
                </a:extLst>
              </p:cNvPr>
              <p:cNvSpPr txBox="1"/>
              <p:nvPr/>
            </p:nvSpPr>
            <p:spPr>
              <a:xfrm>
                <a:off x="3242013" y="3081693"/>
                <a:ext cx="3467504" cy="1033537"/>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accent3"/>
                    </a:solidFill>
                    <a:effectLst/>
                    <a:uLnTx/>
                    <a:uFillTx/>
                    <a:latin typeface="NeueHaasGroteskText Pro" panose="020B0504020202020204" pitchFamily="34" charset="77"/>
                    <a:ea typeface="+mn-ea"/>
                    <a:cs typeface="Arial"/>
                  </a:rPr>
                  <a:t>Lorem ipsum dolor sit amet, consectetuer adipiscing elit. Maecenas porttitor congue massa. Fusce posuere, magna sed pulvinar ultricies, purus lectus malesuada libero, sit amet commodo magna eros quis urna.</a:t>
                </a:r>
              </a:p>
            </p:txBody>
          </p:sp>
        </p:grpSp>
      </p:grpSp>
    </p:spTree>
    <p:extLst>
      <p:ext uri="{BB962C8B-B14F-4D97-AF65-F5344CB8AC3E}">
        <p14:creationId xmlns:p14="http://schemas.microsoft.com/office/powerpoint/2010/main" val="750015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62713E2-B54D-BDD2-E022-AB251F21EEC1}"/>
              </a:ext>
            </a:extLst>
          </p:cNvPr>
          <p:cNvSpPr/>
          <p:nvPr/>
        </p:nvSpPr>
        <p:spPr>
          <a:xfrm>
            <a:off x="7481840" y="0"/>
            <a:ext cx="47101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NeueHaasGroteskText Pro"/>
              <a:ea typeface="+mn-ea"/>
              <a:cs typeface="Arial"/>
            </a:endParaRPr>
          </a:p>
        </p:txBody>
      </p:sp>
      <p:sp>
        <p:nvSpPr>
          <p:cNvPr id="2" name="Datumsplatzhalter 1">
            <a:extLst>
              <a:ext uri="{FF2B5EF4-FFF2-40B4-BE49-F238E27FC236}">
                <a16:creationId xmlns:a16="http://schemas.microsoft.com/office/drawing/2014/main" id="{59C4F19A-91C8-525A-DD29-6C245233249C}"/>
              </a:ext>
            </a:extLst>
          </p:cNvPr>
          <p:cNvSpPr>
            <a:spLocks noGrp="1"/>
          </p:cNvSpPr>
          <p:nvPr>
            <p:ph type="dt" sz="half" idx="10"/>
          </p:nvPr>
        </p:nvSpPr>
        <p:spPr/>
        <p:txBody>
          <a:bodyPr/>
          <a:lstStyle/>
          <a:p>
            <a:r>
              <a:rPr lang="de-DE">
                <a:solidFill>
                  <a:schemeClr val="bg1"/>
                </a:solidFill>
              </a:rPr>
              <a:t>02.08.2024</a:t>
            </a:r>
            <a:endParaRPr lang="de-DE" dirty="0">
              <a:solidFill>
                <a:schemeClr val="bg1"/>
              </a:solidFill>
            </a:endParaRPr>
          </a:p>
        </p:txBody>
      </p:sp>
      <p:sp>
        <p:nvSpPr>
          <p:cNvPr id="3" name="Fußzeilenplatzhalter 2">
            <a:extLst>
              <a:ext uri="{FF2B5EF4-FFF2-40B4-BE49-F238E27FC236}">
                <a16:creationId xmlns:a16="http://schemas.microsoft.com/office/drawing/2014/main" id="{A9C39BEC-7CF5-2F2B-8933-233B648F1209}"/>
              </a:ext>
            </a:extLst>
          </p:cNvPr>
          <p:cNvSpPr>
            <a:spLocks noGrp="1"/>
          </p:cNvSpPr>
          <p:nvPr>
            <p:ph type="ftr" sz="quarter" idx="11"/>
          </p:nvPr>
        </p:nvSpPr>
        <p:spPr/>
        <p:txBody>
          <a:bodyPr/>
          <a:lstStyle/>
          <a:p>
            <a:r>
              <a:rPr lang="de-DE">
                <a:solidFill>
                  <a:schemeClr val="bg1"/>
                </a:solidFill>
              </a:rPr>
              <a:t>PowerPoint Folienmaster</a:t>
            </a:r>
            <a:endParaRPr lang="de-DE" dirty="0">
              <a:solidFill>
                <a:schemeClr val="bg1"/>
              </a:solidFill>
            </a:endParaRPr>
          </a:p>
        </p:txBody>
      </p:sp>
      <p:sp>
        <p:nvSpPr>
          <p:cNvPr id="4" name="Foliennummernplatzhalter 3">
            <a:extLst>
              <a:ext uri="{FF2B5EF4-FFF2-40B4-BE49-F238E27FC236}">
                <a16:creationId xmlns:a16="http://schemas.microsoft.com/office/drawing/2014/main" id="{665C2541-4BE4-432C-8CF0-8164CC4BEC8A}"/>
              </a:ext>
            </a:extLst>
          </p:cNvPr>
          <p:cNvSpPr>
            <a:spLocks noGrp="1"/>
          </p:cNvSpPr>
          <p:nvPr>
            <p:ph type="sldNum" sz="quarter" idx="12"/>
          </p:nvPr>
        </p:nvSpPr>
        <p:spPr/>
        <p:txBody>
          <a:bodyPr/>
          <a:lstStyle/>
          <a:p>
            <a:fld id="{E84006A6-0E15-460A-BCD4-002C20F8AC9F}" type="slidenum">
              <a:rPr lang="de-DE" smtClean="0">
                <a:solidFill>
                  <a:schemeClr val="bg1"/>
                </a:solidFill>
              </a:rPr>
              <a:pPr/>
              <a:t>84</a:t>
            </a:fld>
            <a:endParaRPr lang="de-DE">
              <a:solidFill>
                <a:schemeClr val="bg1"/>
              </a:solidFill>
            </a:endParaRPr>
          </a:p>
        </p:txBody>
      </p:sp>
      <p:sp>
        <p:nvSpPr>
          <p:cNvPr id="5" name="Titel 4">
            <a:extLst>
              <a:ext uri="{FF2B5EF4-FFF2-40B4-BE49-F238E27FC236}">
                <a16:creationId xmlns:a16="http://schemas.microsoft.com/office/drawing/2014/main" id="{88C77C4E-262B-697D-4A35-0A47A363E239}"/>
              </a:ext>
            </a:extLst>
          </p:cNvPr>
          <p:cNvSpPr>
            <a:spLocks noGrp="1"/>
          </p:cNvSpPr>
          <p:nvPr>
            <p:ph type="title"/>
          </p:nvPr>
        </p:nvSpPr>
        <p:spPr>
          <a:xfrm>
            <a:off x="515939" y="788711"/>
            <a:ext cx="2950024" cy="738664"/>
          </a:xfrm>
        </p:spPr>
        <p:txBody>
          <a:bodyPr/>
          <a:lstStyle/>
          <a:p>
            <a:r>
              <a:rPr lang="de-DE" dirty="0"/>
              <a:t>Prozess</a:t>
            </a:r>
          </a:p>
        </p:txBody>
      </p:sp>
      <p:cxnSp>
        <p:nvCxnSpPr>
          <p:cNvPr id="8" name="Gerade Verbindung 7">
            <a:extLst>
              <a:ext uri="{FF2B5EF4-FFF2-40B4-BE49-F238E27FC236}">
                <a16:creationId xmlns:a16="http://schemas.microsoft.com/office/drawing/2014/main" id="{67FB3621-DA30-F56F-C31A-84D6E4AF41B2}"/>
              </a:ext>
            </a:extLst>
          </p:cNvPr>
          <p:cNvCxnSpPr>
            <a:cxnSpLocks/>
          </p:cNvCxnSpPr>
          <p:nvPr/>
        </p:nvCxnSpPr>
        <p:spPr>
          <a:xfrm>
            <a:off x="7481840" y="6343228"/>
            <a:ext cx="41942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9" name="Tabelle 8">
            <a:extLst>
              <a:ext uri="{FF2B5EF4-FFF2-40B4-BE49-F238E27FC236}">
                <a16:creationId xmlns:a16="http://schemas.microsoft.com/office/drawing/2014/main" id="{94E38A1C-9F9E-BBCD-D47E-2BBDA037D4EC}"/>
              </a:ext>
            </a:extLst>
          </p:cNvPr>
          <p:cNvGraphicFramePr>
            <a:graphicFrameLocks noGrp="1"/>
          </p:cNvGraphicFramePr>
          <p:nvPr>
            <p:extLst>
              <p:ext uri="{D42A27DB-BD31-4B8C-83A1-F6EECF244321}">
                <p14:modId xmlns:p14="http://schemas.microsoft.com/office/powerpoint/2010/main" val="2036560785"/>
              </p:ext>
            </p:extLst>
          </p:nvPr>
        </p:nvGraphicFramePr>
        <p:xfrm>
          <a:off x="515938" y="2113434"/>
          <a:ext cx="11160123" cy="2864648"/>
        </p:xfrm>
        <a:graphic>
          <a:graphicData uri="http://schemas.openxmlformats.org/drawingml/2006/table">
            <a:tbl>
              <a:tblPr firstRow="1" bandRow="1">
                <a:tableStyleId>{2D5ABB26-0587-4C30-8999-92F81FD0307C}</a:tableStyleId>
              </a:tblPr>
              <a:tblGrid>
                <a:gridCol w="3568382">
                  <a:extLst>
                    <a:ext uri="{9D8B030D-6E8A-4147-A177-3AD203B41FA5}">
                      <a16:colId xmlns:a16="http://schemas.microsoft.com/office/drawing/2014/main" val="1633625253"/>
                    </a:ext>
                  </a:extLst>
                </a:gridCol>
                <a:gridCol w="3596640">
                  <a:extLst>
                    <a:ext uri="{9D8B030D-6E8A-4147-A177-3AD203B41FA5}">
                      <a16:colId xmlns:a16="http://schemas.microsoft.com/office/drawing/2014/main" val="3877533974"/>
                    </a:ext>
                  </a:extLst>
                </a:gridCol>
                <a:gridCol w="3995101">
                  <a:extLst>
                    <a:ext uri="{9D8B030D-6E8A-4147-A177-3AD203B41FA5}">
                      <a16:colId xmlns:a16="http://schemas.microsoft.com/office/drawing/2014/main" val="3080257173"/>
                    </a:ext>
                  </a:extLst>
                </a:gridCol>
              </a:tblGrid>
              <a:tr h="6321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i="0" dirty="0">
                          <a:solidFill>
                            <a:schemeClr val="tx1"/>
                          </a:solidFill>
                          <a:latin typeface="Arial" panose="020B0604020202020204" pitchFamily="34" charset="0"/>
                          <a:cs typeface="Arial" panose="020B0604020202020204" pitchFamily="34" charset="0"/>
                        </a:rPr>
                        <a:t>Lorem ipsum dolor </a:t>
                      </a:r>
                      <a:br>
                        <a:rPr lang="de-DE" sz="1600" b="1" i="0" dirty="0">
                          <a:solidFill>
                            <a:schemeClr val="tx1"/>
                          </a:solidFill>
                          <a:latin typeface="Arial" panose="020B0604020202020204" pitchFamily="34" charset="0"/>
                          <a:cs typeface="Arial" panose="020B0604020202020204" pitchFamily="34" charset="0"/>
                        </a:rPr>
                      </a:br>
                      <a:r>
                        <a:rPr lang="de-DE" sz="1600" b="1" i="0" dirty="0">
                          <a:solidFill>
                            <a:schemeClr val="tx1"/>
                          </a:solidFill>
                          <a:latin typeface="Arial" panose="020B0604020202020204" pitchFamily="34" charset="0"/>
                          <a:cs typeface="Arial" panose="020B0604020202020204" pitchFamily="34" charset="0"/>
                        </a:rPr>
                        <a:t>sit amet </a:t>
                      </a:r>
                      <a:r>
                        <a:rPr lang="de-DE" sz="1600" b="1" i="0" dirty="0" err="1">
                          <a:solidFill>
                            <a:schemeClr val="tx1"/>
                          </a:solidFill>
                          <a:latin typeface="Arial" panose="020B0604020202020204" pitchFamily="34" charset="0"/>
                          <a:cs typeface="Arial" panose="020B0604020202020204" pitchFamily="34" charset="0"/>
                        </a:rPr>
                        <a:t>consetetur</a:t>
                      </a:r>
                      <a:r>
                        <a:rPr lang="de-DE" sz="1600" b="1" i="0" dirty="0">
                          <a:solidFill>
                            <a:schemeClr val="tx1"/>
                          </a:solidFill>
                          <a:latin typeface="Arial" panose="020B0604020202020204" pitchFamily="34" charset="0"/>
                          <a:cs typeface="Arial" panose="020B0604020202020204" pitchFamily="34" charset="0"/>
                        </a:rPr>
                        <a:t> </a:t>
                      </a:r>
                    </a:p>
                  </a:txBody>
                  <a:tcPr marL="0" marR="360000" marT="90000" marB="90000" anchor="ctr">
                    <a:lnL>
                      <a:noFill/>
                    </a:lnL>
                    <a:lnR w="6350"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i="0" err="1">
                          <a:solidFill>
                            <a:schemeClr val="tx1"/>
                          </a:solidFill>
                          <a:latin typeface="Arial" panose="020B0604020202020204" pitchFamily="34" charset="0"/>
                          <a:cs typeface="Arial" panose="020B0604020202020204" pitchFamily="34" charset="0"/>
                        </a:rPr>
                        <a:t>Lorem</a:t>
                      </a:r>
                      <a:r>
                        <a:rPr lang="de-DE" sz="1600" b="1" i="0">
                          <a:solidFill>
                            <a:schemeClr val="tx1"/>
                          </a:solidFill>
                          <a:latin typeface="Arial" panose="020B0604020202020204" pitchFamily="34" charset="0"/>
                          <a:cs typeface="Arial" panose="020B0604020202020204" pitchFamily="34" charset="0"/>
                        </a:rPr>
                        <a:t> </a:t>
                      </a:r>
                      <a:r>
                        <a:rPr lang="de-DE" sz="1600" b="1" i="0" err="1">
                          <a:solidFill>
                            <a:schemeClr val="tx1"/>
                          </a:solidFill>
                          <a:latin typeface="Arial" panose="020B0604020202020204" pitchFamily="34" charset="0"/>
                          <a:cs typeface="Arial" panose="020B0604020202020204" pitchFamily="34" charset="0"/>
                        </a:rPr>
                        <a:t>ipsum</a:t>
                      </a:r>
                      <a:r>
                        <a:rPr lang="de-DE" sz="1600" b="1" i="0">
                          <a:solidFill>
                            <a:schemeClr val="tx1"/>
                          </a:solidFill>
                          <a:latin typeface="Arial" panose="020B0604020202020204" pitchFamily="34" charset="0"/>
                          <a:cs typeface="Arial" panose="020B0604020202020204" pitchFamily="34" charset="0"/>
                        </a:rPr>
                        <a:t> </a:t>
                      </a:r>
                      <a:r>
                        <a:rPr lang="de-DE" sz="1600" b="1" i="0" err="1">
                          <a:solidFill>
                            <a:schemeClr val="tx1"/>
                          </a:solidFill>
                          <a:latin typeface="Arial" panose="020B0604020202020204" pitchFamily="34" charset="0"/>
                          <a:cs typeface="Arial" panose="020B0604020202020204" pitchFamily="34" charset="0"/>
                        </a:rPr>
                        <a:t>dolor</a:t>
                      </a:r>
                      <a:r>
                        <a:rPr lang="de-DE" sz="1600" b="1" i="0">
                          <a:solidFill>
                            <a:schemeClr val="tx1"/>
                          </a:solidFill>
                          <a:latin typeface="Arial" panose="020B0604020202020204" pitchFamily="34" charset="0"/>
                          <a:cs typeface="Arial" panose="020B0604020202020204" pitchFamily="34" charset="0"/>
                        </a:rPr>
                        <a:t> </a:t>
                      </a:r>
                      <a:br>
                        <a:rPr lang="de-DE" sz="1600" b="1" i="0">
                          <a:solidFill>
                            <a:schemeClr val="tx1"/>
                          </a:solidFill>
                          <a:latin typeface="Arial" panose="020B0604020202020204" pitchFamily="34" charset="0"/>
                          <a:cs typeface="Arial" panose="020B0604020202020204" pitchFamily="34" charset="0"/>
                        </a:rPr>
                      </a:br>
                      <a:r>
                        <a:rPr lang="de-DE" sz="1600" b="1" i="0" err="1">
                          <a:solidFill>
                            <a:schemeClr val="tx1"/>
                          </a:solidFill>
                          <a:latin typeface="Arial" panose="020B0604020202020204" pitchFamily="34" charset="0"/>
                          <a:cs typeface="Arial" panose="020B0604020202020204" pitchFamily="34" charset="0"/>
                        </a:rPr>
                        <a:t>sit</a:t>
                      </a:r>
                      <a:r>
                        <a:rPr lang="de-DE" sz="1600" b="1" i="0">
                          <a:solidFill>
                            <a:schemeClr val="tx1"/>
                          </a:solidFill>
                          <a:latin typeface="Arial" panose="020B0604020202020204" pitchFamily="34" charset="0"/>
                          <a:cs typeface="Arial" panose="020B0604020202020204" pitchFamily="34" charset="0"/>
                        </a:rPr>
                        <a:t> </a:t>
                      </a:r>
                      <a:r>
                        <a:rPr lang="de-DE" sz="1600" b="1" i="0" err="1">
                          <a:solidFill>
                            <a:schemeClr val="tx1"/>
                          </a:solidFill>
                          <a:latin typeface="Arial" panose="020B0604020202020204" pitchFamily="34" charset="0"/>
                          <a:cs typeface="Arial" panose="020B0604020202020204" pitchFamily="34" charset="0"/>
                        </a:rPr>
                        <a:t>amet</a:t>
                      </a:r>
                      <a:r>
                        <a:rPr lang="de-DE" sz="1600" b="1" i="0">
                          <a:solidFill>
                            <a:schemeClr val="tx1"/>
                          </a:solidFill>
                          <a:latin typeface="Arial" panose="020B0604020202020204" pitchFamily="34" charset="0"/>
                          <a:cs typeface="Arial" panose="020B0604020202020204" pitchFamily="34" charset="0"/>
                        </a:rPr>
                        <a:t> </a:t>
                      </a:r>
                      <a:r>
                        <a:rPr lang="de-DE" sz="1600" b="1" i="0" err="1">
                          <a:solidFill>
                            <a:schemeClr val="tx1"/>
                          </a:solidFill>
                          <a:latin typeface="Arial" panose="020B0604020202020204" pitchFamily="34" charset="0"/>
                          <a:cs typeface="Arial" panose="020B0604020202020204" pitchFamily="34" charset="0"/>
                        </a:rPr>
                        <a:t>consetetur</a:t>
                      </a:r>
                      <a:r>
                        <a:rPr lang="de-DE" sz="1600" b="1" i="0">
                          <a:solidFill>
                            <a:schemeClr val="tx1"/>
                          </a:solidFill>
                          <a:latin typeface="Arial" panose="020B0604020202020204" pitchFamily="34" charset="0"/>
                          <a:cs typeface="Arial" panose="020B0604020202020204" pitchFamily="34" charset="0"/>
                        </a:rPr>
                        <a:t> </a:t>
                      </a:r>
                    </a:p>
                  </a:txBody>
                  <a:tcPr marL="0" marR="360000" marT="90000" marB="90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1" i="0" dirty="0">
                          <a:solidFill>
                            <a:schemeClr val="bg1"/>
                          </a:solidFill>
                          <a:latin typeface="Arial" panose="020B0604020202020204" pitchFamily="34" charset="0"/>
                          <a:cs typeface="Arial" panose="020B0604020202020204" pitchFamily="34" charset="0"/>
                        </a:rPr>
                        <a:t>Lorem ipsum dolor </a:t>
                      </a:r>
                      <a:br>
                        <a:rPr lang="de-DE" sz="1600" b="1" i="0" dirty="0">
                          <a:solidFill>
                            <a:schemeClr val="bg1"/>
                          </a:solidFill>
                          <a:latin typeface="Arial" panose="020B0604020202020204" pitchFamily="34" charset="0"/>
                          <a:cs typeface="Arial" panose="020B0604020202020204" pitchFamily="34" charset="0"/>
                        </a:rPr>
                      </a:br>
                      <a:r>
                        <a:rPr lang="de-DE" sz="1600" b="1" i="0" dirty="0">
                          <a:solidFill>
                            <a:schemeClr val="bg1"/>
                          </a:solidFill>
                          <a:latin typeface="Arial" panose="020B0604020202020204" pitchFamily="34" charset="0"/>
                          <a:cs typeface="Arial" panose="020B0604020202020204" pitchFamily="34" charset="0"/>
                        </a:rPr>
                        <a:t>sit amet </a:t>
                      </a:r>
                      <a:r>
                        <a:rPr lang="de-DE" sz="1600" b="1" i="0" dirty="0" err="1">
                          <a:solidFill>
                            <a:schemeClr val="bg1"/>
                          </a:solidFill>
                          <a:latin typeface="Arial" panose="020B0604020202020204" pitchFamily="34" charset="0"/>
                          <a:cs typeface="Arial" panose="020B0604020202020204" pitchFamily="34" charset="0"/>
                        </a:rPr>
                        <a:t>consetetur</a:t>
                      </a:r>
                      <a:r>
                        <a:rPr lang="de-DE" sz="1600" b="1" i="0" dirty="0">
                          <a:solidFill>
                            <a:schemeClr val="bg1"/>
                          </a:solidFill>
                          <a:latin typeface="Arial" panose="020B0604020202020204" pitchFamily="34" charset="0"/>
                          <a:cs typeface="Arial" panose="020B0604020202020204" pitchFamily="34" charset="0"/>
                        </a:rPr>
                        <a:t> </a:t>
                      </a:r>
                    </a:p>
                  </a:txBody>
                  <a:tcPr marL="0" marR="360000" marT="90000" marB="90000" anchor="ctr">
                    <a:lnL w="9525" cap="flat" cmpd="sng" algn="ctr">
                      <a:noFill/>
                      <a:prstDash val="solid"/>
                      <a:round/>
                      <a:headEnd type="none" w="med" len="med"/>
                      <a:tailEnd type="none" w="med" len="med"/>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678867"/>
                  </a:ext>
                </a:extLst>
              </a:tr>
              <a:tr h="2196968">
                <a:tc>
                  <a:txBody>
                    <a:bodyPr/>
                    <a:lstStyle/>
                    <a:p>
                      <a:pPr algn="l"/>
                      <a:r>
                        <a:rPr lang="de-DE" sz="1400" b="0" i="0" dirty="0">
                          <a:solidFill>
                            <a:schemeClr val="accent3"/>
                          </a:solidFill>
                          <a:latin typeface="Arial" panose="020B0604020202020204" pitchFamily="34"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algn="l"/>
                      <a:endParaRPr lang="de-DE" sz="1400" b="0" i="0" dirty="0">
                        <a:solidFill>
                          <a:schemeClr val="accent3"/>
                        </a:solidFill>
                        <a:latin typeface="Arial" panose="020B0604020202020204" pitchFamily="34" charset="0"/>
                        <a:cs typeface="Arial" panose="020B0604020202020204" pitchFamily="34" charset="0"/>
                      </a:endParaRPr>
                    </a:p>
                    <a:p>
                      <a:pPr algn="l"/>
                      <a:r>
                        <a:rPr lang="de-DE" sz="1400" b="0" i="0" dirty="0">
                          <a:solidFill>
                            <a:schemeClr val="accent3"/>
                          </a:solidFill>
                          <a:latin typeface="Arial" panose="020B0604020202020204" pitchFamily="34" charset="0"/>
                          <a:cs typeface="Arial" panose="020B0604020202020204" pitchFamily="34" charset="0"/>
                        </a:rPr>
                        <a:t>Pellentesque habitant morbi tristique senectus et netus.</a:t>
                      </a:r>
                    </a:p>
                  </a:txBody>
                  <a:tcPr marL="0" marR="360000" marT="216000">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666666"/>
                          </a:solidFill>
                          <a:effectLst/>
                          <a:uLnTx/>
                          <a:uFillTx/>
                          <a:latin typeface="Arial" panose="020B0604020202020204" pitchFamily="34" charset="0"/>
                          <a:ea typeface="+mn-ea"/>
                          <a:cs typeface="Arial" panose="020B0604020202020204" pitchFamily="34" charset="0"/>
                        </a:rPr>
                        <a:t>Pellentesque habitant morbi tristique senectus et netus.</a:t>
                      </a:r>
                      <a:endParaRPr kumimoji="0" lang="de-DE" sz="1400" b="0" i="0" u="none" strike="noStrike" kern="1200" cap="none" spc="0" normalizeH="0" baseline="0" noProof="0" dirty="0">
                        <a:ln>
                          <a:noFill/>
                        </a:ln>
                        <a:solidFill>
                          <a:srgbClr val="666666"/>
                        </a:solidFill>
                        <a:effectLst/>
                        <a:uLnTx/>
                        <a:uFillTx/>
                        <a:latin typeface="Arial" panose="020B0604020202020204" pitchFamily="34" charset="0"/>
                        <a:ea typeface="+mn-ea"/>
                        <a:cs typeface="Arial" panose="020B0604020202020204" pitchFamily="34" charset="0"/>
                      </a:endParaRPr>
                    </a:p>
                  </a:txBody>
                  <a:tcPr marL="0" marR="360000" marT="216000">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orem ipsum dolor sit amet, </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sectetuer adipiscing elit. Maecenas porttitor congue massa. Fusce posuere, magna sed pulvinar ultricies, purus </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ctus malesuada libero, sit amet </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mmodo magna eros quis ur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ellentesque habitant morbi tristique </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enectus et netus.</a:t>
                      </a:r>
                    </a:p>
                  </a:txBody>
                  <a:tcPr marL="0" marR="360000" marT="216000">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828612647"/>
                  </a:ext>
                </a:extLst>
              </a:tr>
            </a:tbl>
          </a:graphicData>
        </a:graphic>
      </p:graphicFrame>
      <p:grpSp>
        <p:nvGrpSpPr>
          <p:cNvPr id="10" name="Gruppieren 9">
            <a:extLst>
              <a:ext uri="{FF2B5EF4-FFF2-40B4-BE49-F238E27FC236}">
                <a16:creationId xmlns:a16="http://schemas.microsoft.com/office/drawing/2014/main" id="{67B99828-E71A-400E-F9FF-6B35749FFFAA}"/>
              </a:ext>
            </a:extLst>
          </p:cNvPr>
          <p:cNvGrpSpPr/>
          <p:nvPr/>
        </p:nvGrpSpPr>
        <p:grpSpPr>
          <a:xfrm>
            <a:off x="520031" y="5180524"/>
            <a:ext cx="2942847" cy="242847"/>
            <a:chOff x="1174064" y="5222089"/>
            <a:chExt cx="2942847" cy="242847"/>
          </a:xfrm>
        </p:grpSpPr>
        <p:cxnSp>
          <p:nvCxnSpPr>
            <p:cNvPr id="11" name="Gerade Verbindung 10">
              <a:extLst>
                <a:ext uri="{FF2B5EF4-FFF2-40B4-BE49-F238E27FC236}">
                  <a16:creationId xmlns:a16="http://schemas.microsoft.com/office/drawing/2014/main" id="{9739B7AD-7041-4C54-0FB8-B990BC4D09D2}"/>
                </a:ext>
              </a:extLst>
            </p:cNvPr>
            <p:cNvCxnSpPr>
              <a:cxnSpLocks/>
            </p:cNvCxnSpPr>
            <p:nvPr/>
          </p:nvCxnSpPr>
          <p:spPr>
            <a:xfrm>
              <a:off x="1174064" y="5343513"/>
              <a:ext cx="2700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uppieren 11">
              <a:extLst>
                <a:ext uri="{FF2B5EF4-FFF2-40B4-BE49-F238E27FC236}">
                  <a16:creationId xmlns:a16="http://schemas.microsoft.com/office/drawing/2014/main" id="{0952F166-E70E-A7D7-40E3-96955A4921B7}"/>
                </a:ext>
              </a:extLst>
            </p:cNvPr>
            <p:cNvGrpSpPr/>
            <p:nvPr/>
          </p:nvGrpSpPr>
          <p:grpSpPr>
            <a:xfrm>
              <a:off x="3874064" y="5222089"/>
              <a:ext cx="242847" cy="242847"/>
              <a:chOff x="3466173" y="1969476"/>
              <a:chExt cx="391734" cy="391734"/>
            </a:xfrm>
          </p:grpSpPr>
          <p:sp>
            <p:nvSpPr>
              <p:cNvPr id="13" name="Oval 12">
                <a:extLst>
                  <a:ext uri="{FF2B5EF4-FFF2-40B4-BE49-F238E27FC236}">
                    <a16:creationId xmlns:a16="http://schemas.microsoft.com/office/drawing/2014/main" id="{F7769C5F-0756-DD4D-7861-29D9C5B8D94F}"/>
                  </a:ext>
                </a:extLst>
              </p:cNvPr>
              <p:cNvSpPr/>
              <p:nvPr/>
            </p:nvSpPr>
            <p:spPr>
              <a:xfrm>
                <a:off x="3466173" y="1969476"/>
                <a:ext cx="391734" cy="39173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14" name="Grafik 13">
                <a:extLst>
                  <a:ext uri="{FF2B5EF4-FFF2-40B4-BE49-F238E27FC236}">
                    <a16:creationId xmlns:a16="http://schemas.microsoft.com/office/drawing/2014/main" id="{6FA0928B-38EB-2D14-3809-61967D70689D}"/>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50247" y="2050298"/>
                <a:ext cx="223587" cy="223587"/>
              </a:xfrm>
              <a:prstGeom prst="rect">
                <a:avLst/>
              </a:prstGeom>
            </p:spPr>
          </p:pic>
        </p:grpSp>
      </p:grpSp>
      <p:grpSp>
        <p:nvGrpSpPr>
          <p:cNvPr id="15" name="Gruppieren 14">
            <a:extLst>
              <a:ext uri="{FF2B5EF4-FFF2-40B4-BE49-F238E27FC236}">
                <a16:creationId xmlns:a16="http://schemas.microsoft.com/office/drawing/2014/main" id="{6950B0C5-5D82-63C2-7758-D45797CC5CA5}"/>
              </a:ext>
            </a:extLst>
          </p:cNvPr>
          <p:cNvGrpSpPr/>
          <p:nvPr/>
        </p:nvGrpSpPr>
        <p:grpSpPr>
          <a:xfrm>
            <a:off x="4115885" y="5180524"/>
            <a:ext cx="2942847" cy="242847"/>
            <a:chOff x="4952112" y="5222089"/>
            <a:chExt cx="2942847" cy="242847"/>
          </a:xfrm>
        </p:grpSpPr>
        <p:cxnSp>
          <p:nvCxnSpPr>
            <p:cNvPr id="16" name="Gerade Verbindung 15">
              <a:extLst>
                <a:ext uri="{FF2B5EF4-FFF2-40B4-BE49-F238E27FC236}">
                  <a16:creationId xmlns:a16="http://schemas.microsoft.com/office/drawing/2014/main" id="{155CA9A3-E0B9-C984-BEE6-7CC658C15A89}"/>
                </a:ext>
              </a:extLst>
            </p:cNvPr>
            <p:cNvCxnSpPr>
              <a:cxnSpLocks/>
            </p:cNvCxnSpPr>
            <p:nvPr/>
          </p:nvCxnSpPr>
          <p:spPr>
            <a:xfrm>
              <a:off x="4952112" y="5343513"/>
              <a:ext cx="2700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14732B7D-2CE1-20B0-CFF3-B7B31A363FCB}"/>
                </a:ext>
              </a:extLst>
            </p:cNvPr>
            <p:cNvGrpSpPr/>
            <p:nvPr/>
          </p:nvGrpSpPr>
          <p:grpSpPr>
            <a:xfrm>
              <a:off x="7652112" y="5222089"/>
              <a:ext cx="242847" cy="242847"/>
              <a:chOff x="3466173" y="1969476"/>
              <a:chExt cx="391734" cy="391734"/>
            </a:xfrm>
          </p:grpSpPr>
          <p:sp>
            <p:nvSpPr>
              <p:cNvPr id="18" name="Oval 17">
                <a:extLst>
                  <a:ext uri="{FF2B5EF4-FFF2-40B4-BE49-F238E27FC236}">
                    <a16:creationId xmlns:a16="http://schemas.microsoft.com/office/drawing/2014/main" id="{DD2B76B7-4F43-19CF-3CF2-0368E952C7A6}"/>
                  </a:ext>
                </a:extLst>
              </p:cNvPr>
              <p:cNvSpPr/>
              <p:nvPr/>
            </p:nvSpPr>
            <p:spPr>
              <a:xfrm>
                <a:off x="3466173" y="1969476"/>
                <a:ext cx="391734" cy="39173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a:ln>
                    <a:noFill/>
                  </a:ln>
                  <a:solidFill>
                    <a:srgbClr val="FFFFFF"/>
                  </a:solidFill>
                  <a:effectLst/>
                  <a:uLnTx/>
                  <a:uFillTx/>
                  <a:latin typeface="Arial"/>
                  <a:ea typeface="+mn-ea"/>
                  <a:cs typeface="+mn-cs"/>
                </a:endParaRPr>
              </a:p>
            </p:txBody>
          </p:sp>
          <p:pic>
            <p:nvPicPr>
              <p:cNvPr id="19" name="Grafik 18">
                <a:extLst>
                  <a:ext uri="{FF2B5EF4-FFF2-40B4-BE49-F238E27FC236}">
                    <a16:creationId xmlns:a16="http://schemas.microsoft.com/office/drawing/2014/main" id="{FE8A6CF8-C780-1F4F-45C6-62C09D189B8A}"/>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50247" y="2050298"/>
                <a:ext cx="223587" cy="223587"/>
              </a:xfrm>
              <a:prstGeom prst="rect">
                <a:avLst/>
              </a:prstGeom>
            </p:spPr>
          </p:pic>
        </p:grpSp>
      </p:grpSp>
      <p:grpSp>
        <p:nvGrpSpPr>
          <p:cNvPr id="20" name="Gruppieren 19">
            <a:extLst>
              <a:ext uri="{FF2B5EF4-FFF2-40B4-BE49-F238E27FC236}">
                <a16:creationId xmlns:a16="http://schemas.microsoft.com/office/drawing/2014/main" id="{C8FFC994-4C78-6C91-5FAB-B41C2FD59211}"/>
              </a:ext>
            </a:extLst>
          </p:cNvPr>
          <p:cNvGrpSpPr/>
          <p:nvPr/>
        </p:nvGrpSpPr>
        <p:grpSpPr>
          <a:xfrm>
            <a:off x="7681686" y="5180524"/>
            <a:ext cx="2942847" cy="242847"/>
            <a:chOff x="4952112" y="5222089"/>
            <a:chExt cx="2942847" cy="242847"/>
          </a:xfrm>
        </p:grpSpPr>
        <p:cxnSp>
          <p:nvCxnSpPr>
            <p:cNvPr id="21" name="Gerade Verbindung 20">
              <a:extLst>
                <a:ext uri="{FF2B5EF4-FFF2-40B4-BE49-F238E27FC236}">
                  <a16:creationId xmlns:a16="http://schemas.microsoft.com/office/drawing/2014/main" id="{30211323-0B29-B65F-5183-A8042D55432B}"/>
                </a:ext>
              </a:extLst>
            </p:cNvPr>
            <p:cNvCxnSpPr>
              <a:cxnSpLocks/>
            </p:cNvCxnSpPr>
            <p:nvPr/>
          </p:nvCxnSpPr>
          <p:spPr>
            <a:xfrm>
              <a:off x="4952112" y="5343513"/>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F2767F25-E4A3-7B2C-4026-081E77FA0EBF}"/>
                </a:ext>
              </a:extLst>
            </p:cNvPr>
            <p:cNvGrpSpPr/>
            <p:nvPr/>
          </p:nvGrpSpPr>
          <p:grpSpPr>
            <a:xfrm>
              <a:off x="7652112" y="5222089"/>
              <a:ext cx="242847" cy="242847"/>
              <a:chOff x="3466173" y="1969476"/>
              <a:chExt cx="391734" cy="391734"/>
            </a:xfrm>
          </p:grpSpPr>
          <p:sp>
            <p:nvSpPr>
              <p:cNvPr id="24" name="Oval 23">
                <a:extLst>
                  <a:ext uri="{FF2B5EF4-FFF2-40B4-BE49-F238E27FC236}">
                    <a16:creationId xmlns:a16="http://schemas.microsoft.com/office/drawing/2014/main" id="{C65D0577-CC1E-D57E-9DA2-54BBAF498099}"/>
                  </a:ext>
                </a:extLst>
              </p:cNvPr>
              <p:cNvSpPr/>
              <p:nvPr/>
            </p:nvSpPr>
            <p:spPr>
              <a:xfrm>
                <a:off x="3466173" y="1969476"/>
                <a:ext cx="391734" cy="39173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a:ln>
                    <a:noFill/>
                  </a:ln>
                  <a:solidFill>
                    <a:srgbClr val="FFFFFF"/>
                  </a:solidFill>
                  <a:effectLst/>
                  <a:uLnTx/>
                  <a:uFillTx/>
                  <a:latin typeface="Arial"/>
                  <a:ea typeface="+mn-ea"/>
                  <a:cs typeface="+mn-cs"/>
                </a:endParaRPr>
              </a:p>
            </p:txBody>
          </p:sp>
          <p:pic>
            <p:nvPicPr>
              <p:cNvPr id="41" name="Grafik 40">
                <a:extLst>
                  <a:ext uri="{FF2B5EF4-FFF2-40B4-BE49-F238E27FC236}">
                    <a16:creationId xmlns:a16="http://schemas.microsoft.com/office/drawing/2014/main" id="{3E6F8ACA-6EA2-461F-4245-8ADF845583C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550247" y="2050298"/>
                <a:ext cx="223587" cy="223587"/>
              </a:xfrm>
              <a:prstGeom prst="rect">
                <a:avLst/>
              </a:prstGeom>
            </p:spPr>
          </p:pic>
        </p:grpSp>
      </p:grpSp>
    </p:spTree>
    <p:extLst>
      <p:ext uri="{BB962C8B-B14F-4D97-AF65-F5344CB8AC3E}">
        <p14:creationId xmlns:p14="http://schemas.microsoft.com/office/powerpoint/2010/main" val="18114170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44BD635-4E57-BE31-1DC2-CBF2CF798A8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61664CF-2E0F-3AD7-18FB-34190E228248}"/>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B84DDC6-B600-6027-1383-45509CB3D183}"/>
              </a:ext>
            </a:extLst>
          </p:cNvPr>
          <p:cNvSpPr>
            <a:spLocks noGrp="1"/>
          </p:cNvSpPr>
          <p:nvPr>
            <p:ph type="sldNum" sz="quarter" idx="12"/>
          </p:nvPr>
        </p:nvSpPr>
        <p:spPr/>
        <p:txBody>
          <a:bodyPr/>
          <a:lstStyle/>
          <a:p>
            <a:fld id="{E84006A6-0E15-460A-BCD4-002C20F8AC9F}" type="slidenum">
              <a:rPr lang="de-DE" smtClean="0"/>
              <a:pPr/>
              <a:t>85</a:t>
            </a:fld>
            <a:endParaRPr lang="de-DE"/>
          </a:p>
        </p:txBody>
      </p:sp>
      <p:sp>
        <p:nvSpPr>
          <p:cNvPr id="5" name="Titel 4">
            <a:extLst>
              <a:ext uri="{FF2B5EF4-FFF2-40B4-BE49-F238E27FC236}">
                <a16:creationId xmlns:a16="http://schemas.microsoft.com/office/drawing/2014/main" id="{8DBF679E-853D-2EBC-1B27-07CE145DA376}"/>
              </a:ext>
            </a:extLst>
          </p:cNvPr>
          <p:cNvSpPr>
            <a:spLocks noGrp="1"/>
          </p:cNvSpPr>
          <p:nvPr>
            <p:ph type="title"/>
          </p:nvPr>
        </p:nvSpPr>
        <p:spPr/>
        <p:txBody>
          <a:bodyPr/>
          <a:lstStyle/>
          <a:p>
            <a:r>
              <a:rPr lang="de-DE" dirty="0"/>
              <a:t>Prozess</a:t>
            </a:r>
          </a:p>
        </p:txBody>
      </p:sp>
      <p:grpSp>
        <p:nvGrpSpPr>
          <p:cNvPr id="16" name="Gruppieren 15">
            <a:extLst>
              <a:ext uri="{FF2B5EF4-FFF2-40B4-BE49-F238E27FC236}">
                <a16:creationId xmlns:a16="http://schemas.microsoft.com/office/drawing/2014/main" id="{30C4B378-EDFF-EC14-4831-F5588326D7C0}"/>
              </a:ext>
            </a:extLst>
          </p:cNvPr>
          <p:cNvGrpSpPr/>
          <p:nvPr/>
        </p:nvGrpSpPr>
        <p:grpSpPr>
          <a:xfrm>
            <a:off x="525862" y="2243081"/>
            <a:ext cx="11136346" cy="3555798"/>
            <a:chOff x="525862" y="2243081"/>
            <a:chExt cx="11136346" cy="3555798"/>
          </a:xfrm>
        </p:grpSpPr>
        <p:sp>
          <p:nvSpPr>
            <p:cNvPr id="6" name="Textplatzhalter 4">
              <a:extLst>
                <a:ext uri="{FF2B5EF4-FFF2-40B4-BE49-F238E27FC236}">
                  <a16:creationId xmlns:a16="http://schemas.microsoft.com/office/drawing/2014/main" id="{8D541A75-BA3E-0EBC-07D7-38B6610F7A3E}"/>
                </a:ext>
              </a:extLst>
            </p:cNvPr>
            <p:cNvSpPr txBox="1">
              <a:spLocks/>
            </p:cNvSpPr>
            <p:nvPr/>
          </p:nvSpPr>
          <p:spPr bwMode="black">
            <a:xfrm>
              <a:off x="692122"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tx2"/>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7" name="Freihandform 6">
              <a:extLst>
                <a:ext uri="{FF2B5EF4-FFF2-40B4-BE49-F238E27FC236}">
                  <a16:creationId xmlns:a16="http://schemas.microsoft.com/office/drawing/2014/main" id="{FCD773FC-CE4E-82D5-23F8-36B3AF3AFBFF}"/>
                </a:ext>
              </a:extLst>
            </p:cNvPr>
            <p:cNvSpPr/>
            <p:nvPr/>
          </p:nvSpPr>
          <p:spPr>
            <a:xfrm>
              <a:off x="274102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8" name="Freihandform 7">
              <a:extLst>
                <a:ext uri="{FF2B5EF4-FFF2-40B4-BE49-F238E27FC236}">
                  <a16:creationId xmlns:a16="http://schemas.microsoft.com/office/drawing/2014/main" id="{1AF8F2EE-EAB4-AA70-E0CF-4F6EB2BACEE7}"/>
                </a:ext>
              </a:extLst>
            </p:cNvPr>
            <p:cNvSpPr/>
            <p:nvPr/>
          </p:nvSpPr>
          <p:spPr>
            <a:xfrm>
              <a:off x="52586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9" name="Freihandform 8">
              <a:extLst>
                <a:ext uri="{FF2B5EF4-FFF2-40B4-BE49-F238E27FC236}">
                  <a16:creationId xmlns:a16="http://schemas.microsoft.com/office/drawing/2014/main" id="{09516B10-F960-9B9F-EFFE-A5D18593501E}"/>
                </a:ext>
              </a:extLst>
            </p:cNvPr>
            <p:cNvSpPr/>
            <p:nvPr/>
          </p:nvSpPr>
          <p:spPr>
            <a:xfrm>
              <a:off x="495225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0" name="Freihandform 9">
              <a:extLst>
                <a:ext uri="{FF2B5EF4-FFF2-40B4-BE49-F238E27FC236}">
                  <a16:creationId xmlns:a16="http://schemas.microsoft.com/office/drawing/2014/main" id="{174BFC5D-EECD-3E9A-E280-AB5652F3F4EC}"/>
                </a:ext>
              </a:extLst>
            </p:cNvPr>
            <p:cNvSpPr/>
            <p:nvPr/>
          </p:nvSpPr>
          <p:spPr>
            <a:xfrm>
              <a:off x="716348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1" name="Freihandform 10">
              <a:extLst>
                <a:ext uri="{FF2B5EF4-FFF2-40B4-BE49-F238E27FC236}">
                  <a16:creationId xmlns:a16="http://schemas.microsoft.com/office/drawing/2014/main" id="{A196FF55-A43B-5470-02E8-705E60EE7BD3}"/>
                </a:ext>
              </a:extLst>
            </p:cNvPr>
            <p:cNvSpPr/>
            <p:nvPr/>
          </p:nvSpPr>
          <p:spPr>
            <a:xfrm>
              <a:off x="9374711"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2" name="Textplatzhalter 4">
              <a:extLst>
                <a:ext uri="{FF2B5EF4-FFF2-40B4-BE49-F238E27FC236}">
                  <a16:creationId xmlns:a16="http://schemas.microsoft.com/office/drawing/2014/main" id="{85D2EA7D-28C9-5959-25D1-CB66342F31DC}"/>
                </a:ext>
              </a:extLst>
            </p:cNvPr>
            <p:cNvSpPr txBox="1">
              <a:spLocks/>
            </p:cNvSpPr>
            <p:nvPr/>
          </p:nvSpPr>
          <p:spPr bwMode="black">
            <a:xfrm>
              <a:off x="2904334"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tx2"/>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3" name="Textplatzhalter 4">
              <a:extLst>
                <a:ext uri="{FF2B5EF4-FFF2-40B4-BE49-F238E27FC236}">
                  <a16:creationId xmlns:a16="http://schemas.microsoft.com/office/drawing/2014/main" id="{49B23AE9-A1E6-3807-D651-2A87FF4FB02D}"/>
                </a:ext>
              </a:extLst>
            </p:cNvPr>
            <p:cNvSpPr txBox="1">
              <a:spLocks/>
            </p:cNvSpPr>
            <p:nvPr/>
          </p:nvSpPr>
          <p:spPr bwMode="black">
            <a:xfrm>
              <a:off x="5116546"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tx2"/>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4" name="Textplatzhalter 4">
              <a:extLst>
                <a:ext uri="{FF2B5EF4-FFF2-40B4-BE49-F238E27FC236}">
                  <a16:creationId xmlns:a16="http://schemas.microsoft.com/office/drawing/2014/main" id="{0BE5DDBC-57F9-F363-0DBF-B0118476F85F}"/>
                </a:ext>
              </a:extLst>
            </p:cNvPr>
            <p:cNvSpPr txBox="1">
              <a:spLocks/>
            </p:cNvSpPr>
            <p:nvPr/>
          </p:nvSpPr>
          <p:spPr bwMode="black">
            <a:xfrm>
              <a:off x="7328758"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tx2"/>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5" name="Textplatzhalter 4">
              <a:extLst>
                <a:ext uri="{FF2B5EF4-FFF2-40B4-BE49-F238E27FC236}">
                  <a16:creationId xmlns:a16="http://schemas.microsoft.com/office/drawing/2014/main" id="{18F17506-6E55-D6C5-4AF6-691AC1DD7123}"/>
                </a:ext>
              </a:extLst>
            </p:cNvPr>
            <p:cNvSpPr txBox="1">
              <a:spLocks/>
            </p:cNvSpPr>
            <p:nvPr/>
          </p:nvSpPr>
          <p:spPr bwMode="black">
            <a:xfrm>
              <a:off x="9540971"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tx2"/>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grpSp>
    </p:spTree>
    <p:extLst>
      <p:ext uri="{BB962C8B-B14F-4D97-AF65-F5344CB8AC3E}">
        <p14:creationId xmlns:p14="http://schemas.microsoft.com/office/powerpoint/2010/main" val="25379316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DBF679E-853D-2EBC-1B27-07CE145DA376}"/>
              </a:ext>
            </a:extLst>
          </p:cNvPr>
          <p:cNvSpPr>
            <a:spLocks noGrp="1"/>
          </p:cNvSpPr>
          <p:nvPr>
            <p:ph type="title"/>
          </p:nvPr>
        </p:nvSpPr>
        <p:spPr/>
        <p:txBody>
          <a:bodyPr/>
          <a:lstStyle/>
          <a:p>
            <a:r>
              <a:rPr lang="de-DE" dirty="0"/>
              <a:t>Prozess</a:t>
            </a:r>
          </a:p>
        </p:txBody>
      </p:sp>
      <p:sp>
        <p:nvSpPr>
          <p:cNvPr id="2" name="Datumsplatzhalter 1">
            <a:extLst>
              <a:ext uri="{FF2B5EF4-FFF2-40B4-BE49-F238E27FC236}">
                <a16:creationId xmlns:a16="http://schemas.microsoft.com/office/drawing/2014/main" id="{644BD635-4E57-BE31-1DC2-CBF2CF798A82}"/>
              </a:ext>
            </a:extLst>
          </p:cNvPr>
          <p:cNvSpPr>
            <a:spLocks noGrp="1"/>
          </p:cNvSpPr>
          <p:nvPr>
            <p:ph type="dt" sz="half" idx="2"/>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61664CF-2E0F-3AD7-18FB-34190E228248}"/>
              </a:ext>
            </a:extLst>
          </p:cNvPr>
          <p:cNvSpPr>
            <a:spLocks noGrp="1"/>
          </p:cNvSpPr>
          <p:nvPr>
            <p:ph type="ftr" sz="quarter" idx="3"/>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B84DDC6-B600-6027-1383-45509CB3D183}"/>
              </a:ext>
            </a:extLst>
          </p:cNvPr>
          <p:cNvSpPr>
            <a:spLocks noGrp="1"/>
          </p:cNvSpPr>
          <p:nvPr>
            <p:ph type="sldNum" sz="quarter" idx="4"/>
          </p:nvPr>
        </p:nvSpPr>
        <p:spPr/>
        <p:txBody>
          <a:bodyPr/>
          <a:lstStyle/>
          <a:p>
            <a:fld id="{E84006A6-0E15-460A-BCD4-002C20F8AC9F}" type="slidenum">
              <a:rPr lang="de-DE" smtClean="0"/>
              <a:pPr/>
              <a:t>86</a:t>
            </a:fld>
            <a:endParaRPr lang="de-DE"/>
          </a:p>
        </p:txBody>
      </p:sp>
      <p:grpSp>
        <p:nvGrpSpPr>
          <p:cNvPr id="16" name="Gruppieren 15">
            <a:extLst>
              <a:ext uri="{FF2B5EF4-FFF2-40B4-BE49-F238E27FC236}">
                <a16:creationId xmlns:a16="http://schemas.microsoft.com/office/drawing/2014/main" id="{30C4B378-EDFF-EC14-4831-F5588326D7C0}"/>
              </a:ext>
            </a:extLst>
          </p:cNvPr>
          <p:cNvGrpSpPr/>
          <p:nvPr/>
        </p:nvGrpSpPr>
        <p:grpSpPr>
          <a:xfrm>
            <a:off x="525862" y="2243081"/>
            <a:ext cx="11136346" cy="3555798"/>
            <a:chOff x="525862" y="2243081"/>
            <a:chExt cx="11136346" cy="3555798"/>
          </a:xfrm>
        </p:grpSpPr>
        <p:sp>
          <p:nvSpPr>
            <p:cNvPr id="6" name="Textplatzhalter 4">
              <a:extLst>
                <a:ext uri="{FF2B5EF4-FFF2-40B4-BE49-F238E27FC236}">
                  <a16:creationId xmlns:a16="http://schemas.microsoft.com/office/drawing/2014/main" id="{8D541A75-BA3E-0EBC-07D7-38B6610F7A3E}"/>
                </a:ext>
              </a:extLst>
            </p:cNvPr>
            <p:cNvSpPr txBox="1">
              <a:spLocks/>
            </p:cNvSpPr>
            <p:nvPr/>
          </p:nvSpPr>
          <p:spPr bwMode="black">
            <a:xfrm>
              <a:off x="692122"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7" name="Freihandform 6">
              <a:extLst>
                <a:ext uri="{FF2B5EF4-FFF2-40B4-BE49-F238E27FC236}">
                  <a16:creationId xmlns:a16="http://schemas.microsoft.com/office/drawing/2014/main" id="{FCD773FC-CE4E-82D5-23F8-36B3AF3AFBFF}"/>
                </a:ext>
              </a:extLst>
            </p:cNvPr>
            <p:cNvSpPr/>
            <p:nvPr/>
          </p:nvSpPr>
          <p:spPr>
            <a:xfrm>
              <a:off x="274102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8" name="Freihandform 7">
              <a:extLst>
                <a:ext uri="{FF2B5EF4-FFF2-40B4-BE49-F238E27FC236}">
                  <a16:creationId xmlns:a16="http://schemas.microsoft.com/office/drawing/2014/main" id="{1AF8F2EE-EAB4-AA70-E0CF-4F6EB2BACEE7}"/>
                </a:ext>
              </a:extLst>
            </p:cNvPr>
            <p:cNvSpPr/>
            <p:nvPr/>
          </p:nvSpPr>
          <p:spPr>
            <a:xfrm>
              <a:off x="52586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9" name="Freihandform 8">
              <a:extLst>
                <a:ext uri="{FF2B5EF4-FFF2-40B4-BE49-F238E27FC236}">
                  <a16:creationId xmlns:a16="http://schemas.microsoft.com/office/drawing/2014/main" id="{09516B10-F960-9B9F-EFFE-A5D18593501E}"/>
                </a:ext>
              </a:extLst>
            </p:cNvPr>
            <p:cNvSpPr/>
            <p:nvPr/>
          </p:nvSpPr>
          <p:spPr>
            <a:xfrm>
              <a:off x="495225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0" name="Freihandform 9">
              <a:extLst>
                <a:ext uri="{FF2B5EF4-FFF2-40B4-BE49-F238E27FC236}">
                  <a16:creationId xmlns:a16="http://schemas.microsoft.com/office/drawing/2014/main" id="{174BFC5D-EECD-3E9A-E280-AB5652F3F4EC}"/>
                </a:ext>
              </a:extLst>
            </p:cNvPr>
            <p:cNvSpPr/>
            <p:nvPr/>
          </p:nvSpPr>
          <p:spPr>
            <a:xfrm>
              <a:off x="7163482"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1" name="Freihandform 10">
              <a:extLst>
                <a:ext uri="{FF2B5EF4-FFF2-40B4-BE49-F238E27FC236}">
                  <a16:creationId xmlns:a16="http://schemas.microsoft.com/office/drawing/2014/main" id="{A196FF55-A43B-5470-02E8-705E60EE7BD3}"/>
                </a:ext>
              </a:extLst>
            </p:cNvPr>
            <p:cNvSpPr/>
            <p:nvPr/>
          </p:nvSpPr>
          <p:spPr>
            <a:xfrm>
              <a:off x="9374711" y="2243081"/>
              <a:ext cx="2287497" cy="586105"/>
            </a:xfrm>
            <a:custGeom>
              <a:avLst/>
              <a:gdLst>
                <a:gd name="connsiteX0" fmla="*/ 1958083 w 2126588"/>
                <a:gd name="connsiteY0" fmla="*/ 2 h 586105"/>
                <a:gd name="connsiteX1" fmla="*/ 2126588 w 2126588"/>
                <a:gd name="connsiteY1" fmla="*/ 296963 h 586105"/>
                <a:gd name="connsiteX2" fmla="*/ 1958083 w 2126588"/>
                <a:gd name="connsiteY2" fmla="*/ 586105 h 586105"/>
                <a:gd name="connsiteX3" fmla="*/ 0 w 2126588"/>
                <a:gd name="connsiteY3" fmla="*/ 0 h 586105"/>
                <a:gd name="connsiteX4" fmla="*/ 1958082 w 2126588"/>
                <a:gd name="connsiteY4" fmla="*/ 0 h 586105"/>
                <a:gd name="connsiteX5" fmla="*/ 1958082 w 2126588"/>
                <a:gd name="connsiteY5" fmla="*/ 586103 h 586105"/>
                <a:gd name="connsiteX6" fmla="*/ 0 w 2126588"/>
                <a:gd name="connsiteY6" fmla="*/ 586103 h 586105"/>
                <a:gd name="connsiteX7" fmla="*/ 0 w 2126588"/>
                <a:gd name="connsiteY7" fmla="*/ 585324 h 586105"/>
                <a:gd name="connsiteX8" fmla="*/ 168050 w 2126588"/>
                <a:gd name="connsiteY8" fmla="*/ 296963 h 586105"/>
                <a:gd name="connsiteX9" fmla="*/ 0 w 2126588"/>
                <a:gd name="connsiteY9" fmla="*/ 804 h 586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6588" h="586105">
                  <a:moveTo>
                    <a:pt x="1958083" y="2"/>
                  </a:moveTo>
                  <a:lnTo>
                    <a:pt x="2126588" y="296963"/>
                  </a:lnTo>
                  <a:lnTo>
                    <a:pt x="1958083" y="586105"/>
                  </a:lnTo>
                  <a:close/>
                  <a:moveTo>
                    <a:pt x="0" y="0"/>
                  </a:moveTo>
                  <a:lnTo>
                    <a:pt x="1958082" y="0"/>
                  </a:lnTo>
                  <a:lnTo>
                    <a:pt x="1958082" y="586103"/>
                  </a:lnTo>
                  <a:lnTo>
                    <a:pt x="0" y="586103"/>
                  </a:lnTo>
                  <a:lnTo>
                    <a:pt x="0" y="585324"/>
                  </a:lnTo>
                  <a:lnTo>
                    <a:pt x="168050" y="296963"/>
                  </a:lnTo>
                  <a:lnTo>
                    <a:pt x="0" y="80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NeueHaasGroteskText Pro" panose="020B0504020202020204" pitchFamily="34" charset="77"/>
                  <a:cs typeface="Arial" panose="020B0604020202020204" pitchFamily="34" charset="0"/>
                </a:rPr>
                <a:t>Lorem ipsum</a:t>
              </a:r>
            </a:p>
          </p:txBody>
        </p:sp>
        <p:sp>
          <p:nvSpPr>
            <p:cNvPr id="12" name="Textplatzhalter 4">
              <a:extLst>
                <a:ext uri="{FF2B5EF4-FFF2-40B4-BE49-F238E27FC236}">
                  <a16:creationId xmlns:a16="http://schemas.microsoft.com/office/drawing/2014/main" id="{85D2EA7D-28C9-5959-25D1-CB66342F31DC}"/>
                </a:ext>
              </a:extLst>
            </p:cNvPr>
            <p:cNvSpPr txBox="1">
              <a:spLocks/>
            </p:cNvSpPr>
            <p:nvPr/>
          </p:nvSpPr>
          <p:spPr bwMode="black">
            <a:xfrm>
              <a:off x="2904334"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3" name="Textplatzhalter 4">
              <a:extLst>
                <a:ext uri="{FF2B5EF4-FFF2-40B4-BE49-F238E27FC236}">
                  <a16:creationId xmlns:a16="http://schemas.microsoft.com/office/drawing/2014/main" id="{49B23AE9-A1E6-3807-D651-2A87FF4FB02D}"/>
                </a:ext>
              </a:extLst>
            </p:cNvPr>
            <p:cNvSpPr txBox="1">
              <a:spLocks/>
            </p:cNvSpPr>
            <p:nvPr/>
          </p:nvSpPr>
          <p:spPr bwMode="black">
            <a:xfrm>
              <a:off x="5116546"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4" name="Textplatzhalter 4">
              <a:extLst>
                <a:ext uri="{FF2B5EF4-FFF2-40B4-BE49-F238E27FC236}">
                  <a16:creationId xmlns:a16="http://schemas.microsoft.com/office/drawing/2014/main" id="{0BE5DDBC-57F9-F363-0DBF-B0118476F85F}"/>
                </a:ext>
              </a:extLst>
            </p:cNvPr>
            <p:cNvSpPr txBox="1">
              <a:spLocks/>
            </p:cNvSpPr>
            <p:nvPr/>
          </p:nvSpPr>
          <p:spPr bwMode="black">
            <a:xfrm>
              <a:off x="7328758"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sp>
          <p:nvSpPr>
            <p:cNvPr id="15" name="Textplatzhalter 4">
              <a:extLst>
                <a:ext uri="{FF2B5EF4-FFF2-40B4-BE49-F238E27FC236}">
                  <a16:creationId xmlns:a16="http://schemas.microsoft.com/office/drawing/2014/main" id="{18F17506-6E55-D6C5-4AF6-691AC1DD7123}"/>
                </a:ext>
              </a:extLst>
            </p:cNvPr>
            <p:cNvSpPr txBox="1">
              <a:spLocks/>
            </p:cNvSpPr>
            <p:nvPr/>
          </p:nvSpPr>
          <p:spPr bwMode="black">
            <a:xfrm>
              <a:off x="9540971" y="3428999"/>
              <a:ext cx="1805514" cy="2369880"/>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l"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 Maecenas porttitor congue massa. Fusce posuere, magna sed pulvinar ultricies, purus lectus male-suada libero, sit amet commodo magna eros quis urna.</a:t>
              </a:r>
            </a:p>
          </p:txBody>
        </p:sp>
      </p:grpSp>
    </p:spTree>
    <p:extLst>
      <p:ext uri="{BB962C8B-B14F-4D97-AF65-F5344CB8AC3E}">
        <p14:creationId xmlns:p14="http://schemas.microsoft.com/office/powerpoint/2010/main" val="220861013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44BD635-4E57-BE31-1DC2-CBF2CF798A8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61664CF-2E0F-3AD7-18FB-34190E228248}"/>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B84DDC6-B600-6027-1383-45509CB3D183}"/>
              </a:ext>
            </a:extLst>
          </p:cNvPr>
          <p:cNvSpPr>
            <a:spLocks noGrp="1"/>
          </p:cNvSpPr>
          <p:nvPr>
            <p:ph type="sldNum" sz="quarter" idx="12"/>
          </p:nvPr>
        </p:nvSpPr>
        <p:spPr/>
        <p:txBody>
          <a:bodyPr/>
          <a:lstStyle/>
          <a:p>
            <a:fld id="{E84006A6-0E15-460A-BCD4-002C20F8AC9F}" type="slidenum">
              <a:rPr lang="de-DE" smtClean="0"/>
              <a:pPr/>
              <a:t>87</a:t>
            </a:fld>
            <a:endParaRPr lang="de-DE"/>
          </a:p>
        </p:txBody>
      </p:sp>
      <p:sp>
        <p:nvSpPr>
          <p:cNvPr id="5" name="Titel 4">
            <a:extLst>
              <a:ext uri="{FF2B5EF4-FFF2-40B4-BE49-F238E27FC236}">
                <a16:creationId xmlns:a16="http://schemas.microsoft.com/office/drawing/2014/main" id="{8DBF679E-853D-2EBC-1B27-07CE145DA376}"/>
              </a:ext>
            </a:extLst>
          </p:cNvPr>
          <p:cNvSpPr>
            <a:spLocks noGrp="1"/>
          </p:cNvSpPr>
          <p:nvPr>
            <p:ph type="title"/>
          </p:nvPr>
        </p:nvSpPr>
        <p:spPr/>
        <p:txBody>
          <a:bodyPr/>
          <a:lstStyle/>
          <a:p>
            <a:r>
              <a:rPr lang="de-DE" dirty="0"/>
              <a:t>Prozess</a:t>
            </a:r>
          </a:p>
        </p:txBody>
      </p:sp>
      <p:grpSp>
        <p:nvGrpSpPr>
          <p:cNvPr id="17" name="Gruppieren 16">
            <a:extLst>
              <a:ext uri="{FF2B5EF4-FFF2-40B4-BE49-F238E27FC236}">
                <a16:creationId xmlns:a16="http://schemas.microsoft.com/office/drawing/2014/main" id="{8807258F-8DAB-089D-7066-55B1C1ED576F}"/>
              </a:ext>
            </a:extLst>
          </p:cNvPr>
          <p:cNvGrpSpPr/>
          <p:nvPr/>
        </p:nvGrpSpPr>
        <p:grpSpPr>
          <a:xfrm>
            <a:off x="515938" y="1249594"/>
            <a:ext cx="11160125" cy="4878156"/>
            <a:chOff x="515938" y="1249594"/>
            <a:chExt cx="11160125" cy="4878156"/>
          </a:xfrm>
        </p:grpSpPr>
        <p:grpSp>
          <p:nvGrpSpPr>
            <p:cNvPr id="18" name="Gruppieren 17">
              <a:extLst>
                <a:ext uri="{FF2B5EF4-FFF2-40B4-BE49-F238E27FC236}">
                  <a16:creationId xmlns:a16="http://schemas.microsoft.com/office/drawing/2014/main" id="{2760064D-A6F1-A5BA-4E97-0361D44B5BCF}"/>
                </a:ext>
              </a:extLst>
            </p:cNvPr>
            <p:cNvGrpSpPr/>
            <p:nvPr/>
          </p:nvGrpSpPr>
          <p:grpSpPr>
            <a:xfrm>
              <a:off x="9296401" y="1249594"/>
              <a:ext cx="2379662" cy="4878156"/>
              <a:chOff x="9774061" y="1996883"/>
              <a:chExt cx="1915028" cy="4878156"/>
            </a:xfrm>
          </p:grpSpPr>
          <p:sp>
            <p:nvSpPr>
              <p:cNvPr id="35" name="Rechteck 34">
                <a:extLst>
                  <a:ext uri="{FF2B5EF4-FFF2-40B4-BE49-F238E27FC236}">
                    <a16:creationId xmlns:a16="http://schemas.microsoft.com/office/drawing/2014/main" id="{3CA3F00D-7C28-1CE3-7CB2-569EE7141DC5}"/>
                  </a:ext>
                </a:extLst>
              </p:cNvPr>
              <p:cNvSpPr/>
              <p:nvPr/>
            </p:nvSpPr>
            <p:spPr>
              <a:xfrm>
                <a:off x="9774061" y="2539818"/>
                <a:ext cx="1915028" cy="43352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feld 35">
                <a:extLst>
                  <a:ext uri="{FF2B5EF4-FFF2-40B4-BE49-F238E27FC236}">
                    <a16:creationId xmlns:a16="http://schemas.microsoft.com/office/drawing/2014/main" id="{FE65A4C1-E64A-84F4-5B91-CFFF8D3019EA}"/>
                  </a:ext>
                </a:extLst>
              </p:cNvPr>
              <p:cNvSpPr txBox="1"/>
              <p:nvPr/>
            </p:nvSpPr>
            <p:spPr>
              <a:xfrm>
                <a:off x="10246345" y="1996883"/>
                <a:ext cx="970460" cy="523220"/>
              </a:xfrm>
              <a:prstGeom prst="rect">
                <a:avLst/>
              </a:prstGeom>
              <a:noFill/>
            </p:spPr>
            <p:txBody>
              <a:bodyPr wrap="square" lIns="0" rIns="0">
                <a:spAutoFit/>
              </a:bodyPr>
              <a:lstStyle/>
              <a:p>
                <a:pPr algn="ctr"/>
                <a:r>
                  <a:rPr lang="en-US" sz="2800" b="1" dirty="0">
                    <a:solidFill>
                      <a:schemeClr val="accent1"/>
                    </a:solidFill>
                  </a:rPr>
                  <a:t>04</a:t>
                </a:r>
                <a:endParaRPr lang="en-US" sz="2800" dirty="0">
                  <a:solidFill>
                    <a:schemeClr val="accent1"/>
                  </a:solidFill>
                </a:endParaRPr>
              </a:p>
            </p:txBody>
          </p:sp>
        </p:grpSp>
        <p:grpSp>
          <p:nvGrpSpPr>
            <p:cNvPr id="19" name="Gruppieren 18">
              <a:extLst>
                <a:ext uri="{FF2B5EF4-FFF2-40B4-BE49-F238E27FC236}">
                  <a16:creationId xmlns:a16="http://schemas.microsoft.com/office/drawing/2014/main" id="{2ED08A45-BBFE-1330-2084-F53C5938600E}"/>
                </a:ext>
              </a:extLst>
            </p:cNvPr>
            <p:cNvGrpSpPr/>
            <p:nvPr/>
          </p:nvGrpSpPr>
          <p:grpSpPr>
            <a:xfrm>
              <a:off x="3442759" y="2863105"/>
              <a:ext cx="2379662" cy="3264645"/>
              <a:chOff x="3601979" y="1996883"/>
              <a:chExt cx="1915028" cy="3264645"/>
            </a:xfrm>
          </p:grpSpPr>
          <p:sp>
            <p:nvSpPr>
              <p:cNvPr id="33" name="Rechteck 32">
                <a:extLst>
                  <a:ext uri="{FF2B5EF4-FFF2-40B4-BE49-F238E27FC236}">
                    <a16:creationId xmlns:a16="http://schemas.microsoft.com/office/drawing/2014/main" id="{1079B39A-0D3C-07D0-A90D-23DBFD538EDC}"/>
                  </a:ext>
                </a:extLst>
              </p:cNvPr>
              <p:cNvSpPr/>
              <p:nvPr/>
            </p:nvSpPr>
            <p:spPr>
              <a:xfrm>
                <a:off x="3601979" y="2539819"/>
                <a:ext cx="1915028" cy="27217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feld 33">
                <a:extLst>
                  <a:ext uri="{FF2B5EF4-FFF2-40B4-BE49-F238E27FC236}">
                    <a16:creationId xmlns:a16="http://schemas.microsoft.com/office/drawing/2014/main" id="{FE766877-0C4C-B16B-BC5B-6EF443FD3F91}"/>
                  </a:ext>
                </a:extLst>
              </p:cNvPr>
              <p:cNvSpPr txBox="1"/>
              <p:nvPr/>
            </p:nvSpPr>
            <p:spPr>
              <a:xfrm>
                <a:off x="4074263" y="1996883"/>
                <a:ext cx="970460" cy="523220"/>
              </a:xfrm>
              <a:prstGeom prst="rect">
                <a:avLst/>
              </a:prstGeom>
              <a:noFill/>
            </p:spPr>
            <p:txBody>
              <a:bodyPr wrap="square" lIns="0" rIns="0">
                <a:spAutoFit/>
              </a:bodyPr>
              <a:lstStyle/>
              <a:p>
                <a:pPr algn="ctr"/>
                <a:r>
                  <a:rPr lang="en-US" sz="2800" b="1" dirty="0">
                    <a:solidFill>
                      <a:schemeClr val="accent1"/>
                    </a:solidFill>
                  </a:rPr>
                  <a:t>02</a:t>
                </a:r>
                <a:endParaRPr lang="en-US" sz="2800" dirty="0">
                  <a:solidFill>
                    <a:schemeClr val="accent1"/>
                  </a:solidFill>
                </a:endParaRPr>
              </a:p>
            </p:txBody>
          </p:sp>
        </p:grpSp>
        <p:grpSp>
          <p:nvGrpSpPr>
            <p:cNvPr id="20" name="Gruppieren 19">
              <a:extLst>
                <a:ext uri="{FF2B5EF4-FFF2-40B4-BE49-F238E27FC236}">
                  <a16:creationId xmlns:a16="http://schemas.microsoft.com/office/drawing/2014/main" id="{483F2454-B8F9-98BE-B7AA-96ADA9175B3B}"/>
                </a:ext>
              </a:extLst>
            </p:cNvPr>
            <p:cNvGrpSpPr/>
            <p:nvPr/>
          </p:nvGrpSpPr>
          <p:grpSpPr>
            <a:xfrm>
              <a:off x="6369580" y="2056349"/>
              <a:ext cx="2379662" cy="4071401"/>
              <a:chOff x="6688020" y="1996883"/>
              <a:chExt cx="1915028" cy="4071401"/>
            </a:xfrm>
          </p:grpSpPr>
          <p:sp>
            <p:nvSpPr>
              <p:cNvPr id="31" name="Rechteck 30">
                <a:extLst>
                  <a:ext uri="{FF2B5EF4-FFF2-40B4-BE49-F238E27FC236}">
                    <a16:creationId xmlns:a16="http://schemas.microsoft.com/office/drawing/2014/main" id="{F0C2D131-2011-48B0-3B0F-3FE328C9EF50}"/>
                  </a:ext>
                </a:extLst>
              </p:cNvPr>
              <p:cNvSpPr/>
              <p:nvPr/>
            </p:nvSpPr>
            <p:spPr>
              <a:xfrm>
                <a:off x="6688020" y="2539819"/>
                <a:ext cx="1915028" cy="35284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feld 31">
                <a:extLst>
                  <a:ext uri="{FF2B5EF4-FFF2-40B4-BE49-F238E27FC236}">
                    <a16:creationId xmlns:a16="http://schemas.microsoft.com/office/drawing/2014/main" id="{8BF0E2BF-E1FB-8F1D-704F-6F80B35C7C11}"/>
                  </a:ext>
                </a:extLst>
              </p:cNvPr>
              <p:cNvSpPr txBox="1"/>
              <p:nvPr/>
            </p:nvSpPr>
            <p:spPr>
              <a:xfrm>
                <a:off x="7160304" y="1996883"/>
                <a:ext cx="970460" cy="523220"/>
              </a:xfrm>
              <a:prstGeom prst="rect">
                <a:avLst/>
              </a:prstGeom>
              <a:noFill/>
            </p:spPr>
            <p:txBody>
              <a:bodyPr wrap="square" lIns="0" rIns="0">
                <a:spAutoFit/>
              </a:bodyPr>
              <a:lstStyle/>
              <a:p>
                <a:pPr algn="ctr"/>
                <a:r>
                  <a:rPr lang="en-US" sz="2800" b="1" dirty="0">
                    <a:solidFill>
                      <a:schemeClr val="accent1"/>
                    </a:solidFill>
                  </a:rPr>
                  <a:t>03</a:t>
                </a:r>
                <a:endParaRPr lang="en-US" sz="2800" dirty="0">
                  <a:solidFill>
                    <a:schemeClr val="accent1"/>
                  </a:solidFill>
                </a:endParaRPr>
              </a:p>
            </p:txBody>
          </p:sp>
        </p:grpSp>
        <p:grpSp>
          <p:nvGrpSpPr>
            <p:cNvPr id="21" name="Gruppieren 20">
              <a:extLst>
                <a:ext uri="{FF2B5EF4-FFF2-40B4-BE49-F238E27FC236}">
                  <a16:creationId xmlns:a16="http://schemas.microsoft.com/office/drawing/2014/main" id="{139762DF-2AEF-2CE9-C118-78A8E489C94F}"/>
                </a:ext>
              </a:extLst>
            </p:cNvPr>
            <p:cNvGrpSpPr/>
            <p:nvPr/>
          </p:nvGrpSpPr>
          <p:grpSpPr>
            <a:xfrm>
              <a:off x="515938" y="3669861"/>
              <a:ext cx="2379662" cy="2457889"/>
              <a:chOff x="515938" y="1996883"/>
              <a:chExt cx="1915028" cy="2457889"/>
            </a:xfrm>
          </p:grpSpPr>
          <p:sp>
            <p:nvSpPr>
              <p:cNvPr id="29" name="Rechteck 28">
                <a:extLst>
                  <a:ext uri="{FF2B5EF4-FFF2-40B4-BE49-F238E27FC236}">
                    <a16:creationId xmlns:a16="http://schemas.microsoft.com/office/drawing/2014/main" id="{7DFFBF75-37B4-2CE9-59FF-30225B3C9673}"/>
                  </a:ext>
                </a:extLst>
              </p:cNvPr>
              <p:cNvSpPr/>
              <p:nvPr/>
            </p:nvSpPr>
            <p:spPr>
              <a:xfrm>
                <a:off x="515938" y="2539819"/>
                <a:ext cx="1915028" cy="19149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feld 29">
                <a:extLst>
                  <a:ext uri="{FF2B5EF4-FFF2-40B4-BE49-F238E27FC236}">
                    <a16:creationId xmlns:a16="http://schemas.microsoft.com/office/drawing/2014/main" id="{CA4901C3-A466-54D3-A013-1A4E8731714C}"/>
                  </a:ext>
                </a:extLst>
              </p:cNvPr>
              <p:cNvSpPr txBox="1"/>
              <p:nvPr/>
            </p:nvSpPr>
            <p:spPr>
              <a:xfrm>
                <a:off x="988222" y="1996883"/>
                <a:ext cx="970460" cy="523220"/>
              </a:xfrm>
              <a:prstGeom prst="rect">
                <a:avLst/>
              </a:prstGeom>
              <a:noFill/>
            </p:spPr>
            <p:txBody>
              <a:bodyPr wrap="square" lIns="0" rIns="0">
                <a:spAutoFit/>
              </a:bodyPr>
              <a:lstStyle/>
              <a:p>
                <a:pPr algn="ctr"/>
                <a:r>
                  <a:rPr lang="en-US" sz="2800" b="1" dirty="0">
                    <a:solidFill>
                      <a:schemeClr val="accent1"/>
                    </a:solidFill>
                  </a:rPr>
                  <a:t>01</a:t>
                </a:r>
                <a:endParaRPr lang="en-US" sz="2800" dirty="0">
                  <a:solidFill>
                    <a:schemeClr val="accent1"/>
                  </a:solidFill>
                </a:endParaRPr>
              </a:p>
            </p:txBody>
          </p:sp>
        </p:grpSp>
        <p:sp>
          <p:nvSpPr>
            <p:cNvPr id="22" name="Textplatzhalter 4">
              <a:extLst>
                <a:ext uri="{FF2B5EF4-FFF2-40B4-BE49-F238E27FC236}">
                  <a16:creationId xmlns:a16="http://schemas.microsoft.com/office/drawing/2014/main" id="{642F3E8B-04EB-E9FE-189B-CDF12861FE45}"/>
                </a:ext>
              </a:extLst>
            </p:cNvPr>
            <p:cNvSpPr txBox="1">
              <a:spLocks/>
            </p:cNvSpPr>
            <p:nvPr/>
          </p:nvSpPr>
          <p:spPr bwMode="black">
            <a:xfrm>
              <a:off x="701012" y="4462785"/>
              <a:ext cx="2009514" cy="114133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Maecenas porttitor congue massa. </a:t>
              </a:r>
            </a:p>
          </p:txBody>
        </p:sp>
        <p:sp>
          <p:nvSpPr>
            <p:cNvPr id="23" name="Textplatzhalter 4">
              <a:extLst>
                <a:ext uri="{FF2B5EF4-FFF2-40B4-BE49-F238E27FC236}">
                  <a16:creationId xmlns:a16="http://schemas.microsoft.com/office/drawing/2014/main" id="{0C54D5B3-1D68-73DD-E26B-39FE3CCBB8F0}"/>
                </a:ext>
              </a:extLst>
            </p:cNvPr>
            <p:cNvSpPr txBox="1">
              <a:spLocks/>
            </p:cNvSpPr>
            <p:nvPr/>
          </p:nvSpPr>
          <p:spPr bwMode="black">
            <a:xfrm>
              <a:off x="3627833" y="3656029"/>
              <a:ext cx="2009514" cy="114133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Maecenas porttitor congue massa. </a:t>
              </a:r>
            </a:p>
          </p:txBody>
        </p:sp>
        <p:sp>
          <p:nvSpPr>
            <p:cNvPr id="24" name="Textplatzhalter 4">
              <a:extLst>
                <a:ext uri="{FF2B5EF4-FFF2-40B4-BE49-F238E27FC236}">
                  <a16:creationId xmlns:a16="http://schemas.microsoft.com/office/drawing/2014/main" id="{E2076B84-5804-F0AE-529B-0086877EC6CE}"/>
                </a:ext>
              </a:extLst>
            </p:cNvPr>
            <p:cNvSpPr txBox="1">
              <a:spLocks/>
            </p:cNvSpPr>
            <p:nvPr/>
          </p:nvSpPr>
          <p:spPr bwMode="black">
            <a:xfrm>
              <a:off x="6554654" y="2849273"/>
              <a:ext cx="2009514" cy="114133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Maecenas porttitor congue massa. </a:t>
              </a:r>
            </a:p>
          </p:txBody>
        </p:sp>
        <p:sp>
          <p:nvSpPr>
            <p:cNvPr id="25" name="Textplatzhalter 4">
              <a:extLst>
                <a:ext uri="{FF2B5EF4-FFF2-40B4-BE49-F238E27FC236}">
                  <a16:creationId xmlns:a16="http://schemas.microsoft.com/office/drawing/2014/main" id="{CDF7C839-9F78-8227-F229-625EA6DCC284}"/>
                </a:ext>
              </a:extLst>
            </p:cNvPr>
            <p:cNvSpPr txBox="1">
              <a:spLocks/>
            </p:cNvSpPr>
            <p:nvPr/>
          </p:nvSpPr>
          <p:spPr bwMode="black">
            <a:xfrm>
              <a:off x="9481475" y="2042517"/>
              <a:ext cx="2009514" cy="1141338"/>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800" b="1" i="0" kern="1200">
                  <a:solidFill>
                    <a:schemeClr val="tx1"/>
                  </a:solidFill>
                  <a:latin typeface="TeleNeo ExtraBold" panose="020B0504040202090203" pitchFamily="34" charset="77"/>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i="0" kern="1200">
                  <a:solidFill>
                    <a:schemeClr val="tx1"/>
                  </a:solidFill>
                  <a:latin typeface="TeleNeo" panose="020B0504040202090203" pitchFamily="34" charset="77"/>
                  <a:ea typeface="+mn-ea"/>
                  <a:cs typeface="+mn-cs"/>
                </a:defRPr>
              </a:lvl2pPr>
              <a:lvl3pPr marL="14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3pPr>
              <a:lvl4pPr marL="28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4pPr>
              <a:lvl5pPr marL="432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5pPr>
              <a:lvl6pPr marL="576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6pPr>
              <a:lvl7pPr marL="720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7pPr>
              <a:lvl8pPr marL="864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8pPr>
              <a:lvl9pPr marL="1008000" indent="-144000" algn="l" defTabSz="914400" rtl="0" eaLnBrk="1" latinLnBrk="0" hangingPunct="1">
                <a:lnSpc>
                  <a:spcPct val="100000"/>
                </a:lnSpc>
                <a:spcBef>
                  <a:spcPts val="0"/>
                </a:spcBef>
                <a:spcAft>
                  <a:spcPts val="600"/>
                </a:spcAft>
                <a:buClr>
                  <a:schemeClr val="tx2"/>
                </a:buClr>
                <a:buSzPct val="100000"/>
                <a:buFont typeface="TeleNeo Office" panose="020B0504040202090203" pitchFamily="34" charset="0"/>
                <a:buChar char="•"/>
                <a:defRPr sz="1800" b="0" i="0" kern="1200">
                  <a:solidFill>
                    <a:schemeClr val="tx1"/>
                  </a:solidFill>
                  <a:latin typeface="TeleNeo" panose="020B0504040202090203" pitchFamily="34" charset="77"/>
                  <a:ea typeface="+mn-ea"/>
                  <a:cs typeface="+mn-cs"/>
                </a:defRPr>
              </a:lvl9pPr>
            </a:lstStyle>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Lorem ipsum dolor sit amet, consectetuer adipiscing elit.</a:t>
              </a:r>
            </a:p>
            <a:p>
              <a:pPr marL="0" marR="0" lvl="0" indent="0" algn="ctr" defTabSz="914377" rtl="0" eaLnBrk="1" fontAlgn="auto" latinLnBrk="0" hangingPunct="1">
                <a:lnSpc>
                  <a:spcPct val="100000"/>
                </a:lnSpc>
                <a:spcBef>
                  <a:spcPts val="0"/>
                </a:spcBef>
                <a:spcAft>
                  <a:spcPts val="500"/>
                </a:spcAft>
                <a:buClr>
                  <a:srgbClr val="E20074"/>
                </a:buClr>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NeueHaasGroteskText Pro" panose="020B0504020202020204" pitchFamily="34" charset="77"/>
                  <a:ea typeface="TeleNeo Thin" charset="0"/>
                  <a:cs typeface="Arial" panose="020B0604020202020204" pitchFamily="34" charset="0"/>
                </a:rPr>
                <a:t>Maecenas porttitor congue massa. </a:t>
              </a:r>
            </a:p>
          </p:txBody>
        </p:sp>
        <p:pic>
          <p:nvPicPr>
            <p:cNvPr id="26" name="Grafik 25">
              <a:extLst>
                <a:ext uri="{FF2B5EF4-FFF2-40B4-BE49-F238E27FC236}">
                  <a16:creationId xmlns:a16="http://schemas.microsoft.com/office/drawing/2014/main" id="{3FC0DBD3-5B3B-F9B6-8CB1-B1381BB09F3C}"/>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586102" y="3390717"/>
              <a:ext cx="566074" cy="566074"/>
            </a:xfrm>
            <a:prstGeom prst="rect">
              <a:avLst/>
            </a:prstGeom>
          </p:spPr>
        </p:pic>
        <p:pic>
          <p:nvPicPr>
            <p:cNvPr id="27" name="Grafik 26">
              <a:extLst>
                <a:ext uri="{FF2B5EF4-FFF2-40B4-BE49-F238E27FC236}">
                  <a16:creationId xmlns:a16="http://schemas.microsoft.com/office/drawing/2014/main" id="{02A33115-D3F3-BABD-E912-91A6BE6DE57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19527" y="2599285"/>
              <a:ext cx="566074" cy="566074"/>
            </a:xfrm>
            <a:prstGeom prst="rect">
              <a:avLst/>
            </a:prstGeom>
          </p:spPr>
        </p:pic>
        <p:pic>
          <p:nvPicPr>
            <p:cNvPr id="28" name="Grafik 27">
              <a:extLst>
                <a:ext uri="{FF2B5EF4-FFF2-40B4-BE49-F238E27FC236}">
                  <a16:creationId xmlns:a16="http://schemas.microsoft.com/office/drawing/2014/main" id="{21ADE085-1C44-FDC5-D56E-1711D007AB3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52952" y="1807853"/>
              <a:ext cx="566074" cy="566074"/>
            </a:xfrm>
            <a:prstGeom prst="rect">
              <a:avLst/>
            </a:prstGeom>
          </p:spPr>
        </p:pic>
      </p:grpSp>
    </p:spTree>
    <p:extLst>
      <p:ext uri="{BB962C8B-B14F-4D97-AF65-F5344CB8AC3E}">
        <p14:creationId xmlns:p14="http://schemas.microsoft.com/office/powerpoint/2010/main" val="31216062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1861454-4DC4-B5AD-8784-C6F4CEDC3BB2}"/>
              </a:ext>
            </a:extLst>
          </p:cNvPr>
          <p:cNvPicPr>
            <a:picLocks noChangeAspect="1"/>
          </p:cNvPicPr>
          <p:nvPr/>
        </p:nvPicPr>
        <p:blipFill rotWithShape="1">
          <a:blip r:embed="rId2">
            <a:extLst>
              <a:ext uri="{28A0092B-C50C-407E-A947-70E740481C1C}">
                <a14:useLocalDpi xmlns:a14="http://schemas.microsoft.com/office/drawing/2010/main"/>
              </a:ext>
            </a:extLst>
          </a:blip>
          <a:srcRect t="5005" b="44089"/>
          <a:stretch/>
        </p:blipFill>
        <p:spPr>
          <a:xfrm>
            <a:off x="1" y="1231"/>
            <a:ext cx="12192000" cy="3315406"/>
          </a:xfrm>
          <a:prstGeom prst="rect">
            <a:avLst/>
          </a:prstGeom>
        </p:spPr>
      </p:pic>
      <p:grpSp>
        <p:nvGrpSpPr>
          <p:cNvPr id="14" name="Gruppieren 13">
            <a:extLst>
              <a:ext uri="{FF2B5EF4-FFF2-40B4-BE49-F238E27FC236}">
                <a16:creationId xmlns:a16="http://schemas.microsoft.com/office/drawing/2014/main" id="{F4BC1C77-02D5-1645-4DC9-419E79C80382}"/>
              </a:ext>
            </a:extLst>
          </p:cNvPr>
          <p:cNvGrpSpPr/>
          <p:nvPr/>
        </p:nvGrpSpPr>
        <p:grpSpPr>
          <a:xfrm>
            <a:off x="515937" y="3647421"/>
            <a:ext cx="3346069" cy="2019494"/>
            <a:chOff x="515937" y="3647421"/>
            <a:chExt cx="3346069" cy="2019494"/>
          </a:xfrm>
        </p:grpSpPr>
        <p:sp>
          <p:nvSpPr>
            <p:cNvPr id="7" name="Textfeld 6">
              <a:extLst>
                <a:ext uri="{FF2B5EF4-FFF2-40B4-BE49-F238E27FC236}">
                  <a16:creationId xmlns:a16="http://schemas.microsoft.com/office/drawing/2014/main" id="{F53C753B-C3CD-ABFB-B96E-70288E0BF532}"/>
                </a:ext>
              </a:extLst>
            </p:cNvPr>
            <p:cNvSpPr txBox="1"/>
            <p:nvPr/>
          </p:nvSpPr>
          <p:spPr>
            <a:xfrm>
              <a:off x="515937" y="4220365"/>
              <a:ext cx="3346069" cy="1446550"/>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de-DE" sz="2400" b="1"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01.</a:t>
              </a:r>
              <a:endParaRPr lang="de-DE" sz="2400" b="1" dirty="0">
                <a:solidFill>
                  <a:schemeClr val="accent1"/>
                </a:solidFill>
                <a:latin typeface="NeueHaasGroteskText Pro" panose="020B0504020202020204" pitchFamily="34" charset="77"/>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Lorem ipsum </a:t>
              </a:r>
              <a:r>
                <a:rPr kumimoji="0" lang="de-DE" b="1" i="0" u="none" strike="noStrike" kern="1200" cap="none" spc="0" normalizeH="0" baseline="0" noProof="0" dirty="0" err="1">
                  <a:ln>
                    <a:noFill/>
                  </a:ln>
                  <a:effectLst/>
                  <a:uLnTx/>
                  <a:uFillTx/>
                  <a:latin typeface="NeueHaasGroteskText Pro" panose="020B0504020202020204" pitchFamily="34" charset="77"/>
                  <a:ea typeface="+mn-ea"/>
                  <a:cs typeface="Arial"/>
                </a:rPr>
                <a:t>dolo</a:t>
              </a:r>
              <a:r>
                <a:rPr lang="de-DE" b="1" dirty="0" err="1">
                  <a:latin typeface="NeueHaasGroteskText Pro" panose="020B0504020202020204" pitchFamily="34" charset="77"/>
                  <a:cs typeface="Arial"/>
                </a:rPr>
                <a:t>r</a:t>
              </a:r>
              <a:r>
                <a:rPr lang="de-DE" b="1" dirty="0">
                  <a:latin typeface="NeueHaasGroteskText Pro" panose="020B0504020202020204" pitchFamily="34" charset="77"/>
                  <a:cs typeface="Arial"/>
                </a:rPr>
                <a:t> sit amet</a:t>
              </a:r>
              <a:endPar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 Maecenas porttitor congue massa. </a:t>
              </a:r>
            </a:p>
          </p:txBody>
        </p:sp>
        <p:pic>
          <p:nvPicPr>
            <p:cNvPr id="8" name="Grafik 7">
              <a:extLst>
                <a:ext uri="{FF2B5EF4-FFF2-40B4-BE49-F238E27FC236}">
                  <a16:creationId xmlns:a16="http://schemas.microsoft.com/office/drawing/2014/main" id="{B86ECED3-91E6-B432-3A3E-F3048DEFBEC0}"/>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5938" y="3647421"/>
              <a:ext cx="315336" cy="315336"/>
            </a:xfrm>
            <a:prstGeom prst="rect">
              <a:avLst/>
            </a:prstGeom>
          </p:spPr>
        </p:pic>
      </p:grpSp>
      <p:grpSp>
        <p:nvGrpSpPr>
          <p:cNvPr id="15" name="Gruppieren 14">
            <a:extLst>
              <a:ext uri="{FF2B5EF4-FFF2-40B4-BE49-F238E27FC236}">
                <a16:creationId xmlns:a16="http://schemas.microsoft.com/office/drawing/2014/main" id="{ACF473DD-DB20-73F3-E179-5C2EDC468DAB}"/>
              </a:ext>
            </a:extLst>
          </p:cNvPr>
          <p:cNvGrpSpPr/>
          <p:nvPr/>
        </p:nvGrpSpPr>
        <p:grpSpPr>
          <a:xfrm>
            <a:off x="4422921" y="3647420"/>
            <a:ext cx="3346069" cy="2019495"/>
            <a:chOff x="4422921" y="3647420"/>
            <a:chExt cx="3346069" cy="2019495"/>
          </a:xfrm>
        </p:grpSpPr>
        <p:pic>
          <p:nvPicPr>
            <p:cNvPr id="9" name="Grafik 8">
              <a:extLst>
                <a:ext uri="{FF2B5EF4-FFF2-40B4-BE49-F238E27FC236}">
                  <a16:creationId xmlns:a16="http://schemas.microsoft.com/office/drawing/2014/main" id="{CD8F44BD-499E-7DB8-DE84-5AD90134DB5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422922" y="3647420"/>
              <a:ext cx="315336" cy="315336"/>
            </a:xfrm>
            <a:prstGeom prst="rect">
              <a:avLst/>
            </a:prstGeom>
          </p:spPr>
        </p:pic>
        <p:sp>
          <p:nvSpPr>
            <p:cNvPr id="11" name="Textfeld 10">
              <a:extLst>
                <a:ext uri="{FF2B5EF4-FFF2-40B4-BE49-F238E27FC236}">
                  <a16:creationId xmlns:a16="http://schemas.microsoft.com/office/drawing/2014/main" id="{5504EE27-12DC-E0BB-0E81-DD4438B97C4A}"/>
                </a:ext>
              </a:extLst>
            </p:cNvPr>
            <p:cNvSpPr txBox="1"/>
            <p:nvPr/>
          </p:nvSpPr>
          <p:spPr>
            <a:xfrm>
              <a:off x="4422921" y="4220365"/>
              <a:ext cx="3346069" cy="1446550"/>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de-DE" sz="2400" b="1"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02.</a:t>
              </a:r>
              <a:endParaRPr lang="de-DE" sz="2400" b="1" dirty="0">
                <a:solidFill>
                  <a:schemeClr val="accent1"/>
                </a:solidFill>
                <a:latin typeface="NeueHaasGroteskText Pro" panose="020B0504020202020204" pitchFamily="34" charset="77"/>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Lorem ipsum </a:t>
              </a:r>
              <a:r>
                <a:rPr kumimoji="0" lang="de-DE" b="1" i="0" u="none" strike="noStrike" kern="1200" cap="none" spc="0" normalizeH="0" baseline="0" noProof="0" dirty="0" err="1">
                  <a:ln>
                    <a:noFill/>
                  </a:ln>
                  <a:effectLst/>
                  <a:uLnTx/>
                  <a:uFillTx/>
                  <a:latin typeface="NeueHaasGroteskText Pro" panose="020B0504020202020204" pitchFamily="34" charset="77"/>
                  <a:ea typeface="+mn-ea"/>
                  <a:cs typeface="Arial"/>
                </a:rPr>
                <a:t>dolo</a:t>
              </a:r>
              <a:r>
                <a:rPr lang="de-DE" b="1" dirty="0" err="1">
                  <a:latin typeface="NeueHaasGroteskText Pro" panose="020B0504020202020204" pitchFamily="34" charset="77"/>
                  <a:cs typeface="Arial"/>
                </a:rPr>
                <a:t>r</a:t>
              </a:r>
              <a:r>
                <a:rPr lang="de-DE" b="1" dirty="0">
                  <a:latin typeface="NeueHaasGroteskText Pro" panose="020B0504020202020204" pitchFamily="34" charset="77"/>
                  <a:cs typeface="Arial"/>
                </a:rPr>
                <a:t> sit amet</a:t>
              </a:r>
              <a:endPar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 Maecenas porttitor congue massa. </a:t>
              </a:r>
            </a:p>
          </p:txBody>
        </p:sp>
      </p:grpSp>
      <p:grpSp>
        <p:nvGrpSpPr>
          <p:cNvPr id="16" name="Gruppieren 15">
            <a:extLst>
              <a:ext uri="{FF2B5EF4-FFF2-40B4-BE49-F238E27FC236}">
                <a16:creationId xmlns:a16="http://schemas.microsoft.com/office/drawing/2014/main" id="{4BDFD407-A69A-CB12-347C-10F112980A9D}"/>
              </a:ext>
            </a:extLst>
          </p:cNvPr>
          <p:cNvGrpSpPr/>
          <p:nvPr/>
        </p:nvGrpSpPr>
        <p:grpSpPr>
          <a:xfrm>
            <a:off x="8329905" y="3647419"/>
            <a:ext cx="3346069" cy="2019496"/>
            <a:chOff x="8329905" y="3647419"/>
            <a:chExt cx="3346069" cy="2019496"/>
          </a:xfrm>
        </p:grpSpPr>
        <p:pic>
          <p:nvPicPr>
            <p:cNvPr id="10" name="Grafik 9">
              <a:extLst>
                <a:ext uri="{FF2B5EF4-FFF2-40B4-BE49-F238E27FC236}">
                  <a16:creationId xmlns:a16="http://schemas.microsoft.com/office/drawing/2014/main" id="{A7AE2D73-BFAA-0D2B-9152-62695DA44E6C}"/>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8329906" y="3647419"/>
              <a:ext cx="315336" cy="315336"/>
            </a:xfrm>
            <a:prstGeom prst="rect">
              <a:avLst/>
            </a:prstGeom>
          </p:spPr>
        </p:pic>
        <p:sp>
          <p:nvSpPr>
            <p:cNvPr id="12" name="Textfeld 11">
              <a:extLst>
                <a:ext uri="{FF2B5EF4-FFF2-40B4-BE49-F238E27FC236}">
                  <a16:creationId xmlns:a16="http://schemas.microsoft.com/office/drawing/2014/main" id="{5E8C621C-CAC9-62E3-405F-A95570937918}"/>
                </a:ext>
              </a:extLst>
            </p:cNvPr>
            <p:cNvSpPr txBox="1"/>
            <p:nvPr/>
          </p:nvSpPr>
          <p:spPr>
            <a:xfrm>
              <a:off x="8329905" y="4220365"/>
              <a:ext cx="3346069" cy="1446550"/>
            </a:xfrm>
            <a:prstGeom prst="rect">
              <a:avLst/>
            </a:prstGeom>
            <a:noFill/>
          </p:spPr>
          <p:txBody>
            <a:bodyPr wrap="square" lIns="0" tIns="0" rIns="0" bIns="0" rtlCol="0" anchor="t" anchorCtr="0">
              <a:spAutoFit/>
            </a:bodyPr>
            <a:lstStyle/>
            <a:p>
              <a:pPr marL="0" marR="0" lvl="0" indent="0" defTabSz="914400" rtl="0" eaLnBrk="1" fontAlgn="auto" latinLnBrk="0" hangingPunct="1">
                <a:lnSpc>
                  <a:spcPct val="100000"/>
                </a:lnSpc>
                <a:spcBef>
                  <a:spcPts val="0"/>
                </a:spcBef>
                <a:spcAft>
                  <a:spcPts val="500"/>
                </a:spcAft>
                <a:buClrTx/>
                <a:buSzTx/>
                <a:buFontTx/>
                <a:buNone/>
                <a:tabLst/>
                <a:defRPr/>
              </a:pPr>
              <a:r>
                <a:rPr kumimoji="0" lang="de-DE" sz="2400" b="1" i="0" u="none" strike="noStrike" kern="1200" cap="none" spc="0" normalizeH="0" baseline="0" noProof="0" dirty="0">
                  <a:ln>
                    <a:noFill/>
                  </a:ln>
                  <a:solidFill>
                    <a:schemeClr val="accent1"/>
                  </a:solidFill>
                  <a:effectLst/>
                  <a:uLnTx/>
                  <a:uFillTx/>
                  <a:latin typeface="NeueHaasGroteskText Pro" panose="020B0504020202020204" pitchFamily="34" charset="77"/>
                  <a:ea typeface="+mn-ea"/>
                  <a:cs typeface="Arial"/>
                </a:rPr>
                <a:t>03.</a:t>
              </a:r>
              <a:endParaRPr lang="de-DE" sz="2400" b="1" dirty="0">
                <a:solidFill>
                  <a:schemeClr val="accent1"/>
                </a:solidFill>
                <a:latin typeface="NeueHaasGroteskText Pro" panose="020B0504020202020204" pitchFamily="34" charset="77"/>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rPr>
                <a:t>Lorem ipsum </a:t>
              </a:r>
              <a:r>
                <a:rPr kumimoji="0" lang="de-DE" b="1" i="0" u="none" strike="noStrike" kern="1200" cap="none" spc="0" normalizeH="0" baseline="0" noProof="0" dirty="0" err="1">
                  <a:ln>
                    <a:noFill/>
                  </a:ln>
                  <a:effectLst/>
                  <a:uLnTx/>
                  <a:uFillTx/>
                  <a:latin typeface="NeueHaasGroteskText Pro" panose="020B0504020202020204" pitchFamily="34" charset="77"/>
                  <a:ea typeface="+mn-ea"/>
                  <a:cs typeface="Arial"/>
                </a:rPr>
                <a:t>dolo</a:t>
              </a:r>
              <a:r>
                <a:rPr lang="de-DE" b="1" dirty="0" err="1">
                  <a:latin typeface="NeueHaasGroteskText Pro" panose="020B0504020202020204" pitchFamily="34" charset="77"/>
                  <a:cs typeface="Arial"/>
                </a:rPr>
                <a:t>r</a:t>
              </a:r>
              <a:r>
                <a:rPr lang="de-DE" b="1" dirty="0">
                  <a:latin typeface="NeueHaasGroteskText Pro" panose="020B0504020202020204" pitchFamily="34" charset="77"/>
                  <a:cs typeface="Arial"/>
                </a:rPr>
                <a:t> sit amet</a:t>
              </a:r>
              <a:endParaRPr kumimoji="0" lang="de-DE" b="1" i="0" u="none" strike="noStrike" kern="1200" cap="none" spc="0" normalizeH="0" baseline="0" noProof="0" dirty="0">
                <a:ln>
                  <a:noFill/>
                </a:ln>
                <a:effectLst/>
                <a:uLnTx/>
                <a:uFillTx/>
                <a:latin typeface="NeueHaasGroteskText Pro" panose="020B0504020202020204" pitchFamily="34" charset="77"/>
                <a:ea typeface="+mn-ea"/>
                <a:cs typeface="Arial"/>
              </a:endParaRPr>
            </a:p>
            <a:p>
              <a:pPr marL="0" marR="0" lvl="0" indent="0" defTabSz="914400" rtl="0" eaLnBrk="1" fontAlgn="auto" latinLnBrk="0" hangingPunct="1">
                <a:lnSpc>
                  <a:spcPct val="100000"/>
                </a:lnSpc>
                <a:spcBef>
                  <a:spcPts val="0"/>
                </a:spcBef>
                <a:spcAft>
                  <a:spcPts val="500"/>
                </a:spcAft>
                <a:buClrTx/>
                <a:buSzTx/>
                <a:buFontTx/>
                <a:buNone/>
                <a:tabLst/>
                <a:defRPr/>
              </a:pPr>
              <a:r>
                <a:rPr lang="de-DE" sz="1400" dirty="0">
                  <a:solidFill>
                    <a:schemeClr val="accent3"/>
                  </a:solidFill>
                  <a:latin typeface="NeueHaasGroteskText Pro" panose="020B0504020202020204" pitchFamily="34" charset="77"/>
                  <a:cs typeface="Arial"/>
                </a:rPr>
                <a:t>Lorem ipsum dolor sit amet, consectetuer adipiscing elit. Maecenas porttitor congue massa. </a:t>
              </a:r>
            </a:p>
          </p:txBody>
        </p:sp>
      </p:grpSp>
      <p:pic>
        <p:nvPicPr>
          <p:cNvPr id="13" name="Grafik 12">
            <a:extLst>
              <a:ext uri="{FF2B5EF4-FFF2-40B4-BE49-F238E27FC236}">
                <a16:creationId xmlns:a16="http://schemas.microsoft.com/office/drawing/2014/main" id="{F32EEC2E-2352-9846-6704-C1548B2D6FE1}"/>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21876" y="259570"/>
            <a:ext cx="1015670" cy="253918"/>
          </a:xfrm>
          <a:prstGeom prst="rect">
            <a:avLst/>
          </a:prstGeom>
        </p:spPr>
      </p:pic>
      <p:sp>
        <p:nvSpPr>
          <p:cNvPr id="2" name="Datumsplatzhalter 1">
            <a:extLst>
              <a:ext uri="{FF2B5EF4-FFF2-40B4-BE49-F238E27FC236}">
                <a16:creationId xmlns:a16="http://schemas.microsoft.com/office/drawing/2014/main" id="{644BD635-4E57-BE31-1DC2-CBF2CF798A82}"/>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61664CF-2E0F-3AD7-18FB-34190E228248}"/>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2B84DDC6-B600-6027-1383-45509CB3D183}"/>
              </a:ext>
            </a:extLst>
          </p:cNvPr>
          <p:cNvSpPr>
            <a:spLocks noGrp="1"/>
          </p:cNvSpPr>
          <p:nvPr>
            <p:ph type="sldNum" sz="quarter" idx="12"/>
          </p:nvPr>
        </p:nvSpPr>
        <p:spPr/>
        <p:txBody>
          <a:bodyPr/>
          <a:lstStyle/>
          <a:p>
            <a:fld id="{E84006A6-0E15-460A-BCD4-002C20F8AC9F}" type="slidenum">
              <a:rPr lang="de-DE" smtClean="0"/>
              <a:pPr/>
              <a:t>88</a:t>
            </a:fld>
            <a:endParaRPr lang="de-DE"/>
          </a:p>
        </p:txBody>
      </p:sp>
      <p:sp>
        <p:nvSpPr>
          <p:cNvPr id="5" name="Titel 4">
            <a:extLst>
              <a:ext uri="{FF2B5EF4-FFF2-40B4-BE49-F238E27FC236}">
                <a16:creationId xmlns:a16="http://schemas.microsoft.com/office/drawing/2014/main" id="{8DBF679E-853D-2EBC-1B27-07CE145DA376}"/>
              </a:ext>
            </a:extLst>
          </p:cNvPr>
          <p:cNvSpPr>
            <a:spLocks noGrp="1"/>
          </p:cNvSpPr>
          <p:nvPr>
            <p:ph type="title"/>
          </p:nvPr>
        </p:nvSpPr>
        <p:spPr/>
        <p:txBody>
          <a:bodyPr/>
          <a:lstStyle/>
          <a:p>
            <a:r>
              <a:rPr lang="de-DE" dirty="0">
                <a:solidFill>
                  <a:schemeClr val="bg1"/>
                </a:solidFill>
              </a:rPr>
              <a:t>Prozess</a:t>
            </a:r>
          </a:p>
        </p:txBody>
      </p:sp>
    </p:spTree>
    <p:extLst>
      <p:ext uri="{BB962C8B-B14F-4D97-AF65-F5344CB8AC3E}">
        <p14:creationId xmlns:p14="http://schemas.microsoft.com/office/powerpoint/2010/main" val="360131513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019003B-A641-3E78-B8DF-341856910D0C}"/>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A64E315E-6EE9-590C-C921-34849089F4B8}"/>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1060E9E4-0489-CDEF-C1C5-64CA722480D1}"/>
              </a:ext>
            </a:extLst>
          </p:cNvPr>
          <p:cNvSpPr>
            <a:spLocks noGrp="1"/>
          </p:cNvSpPr>
          <p:nvPr>
            <p:ph type="sldNum" sz="quarter" idx="12"/>
          </p:nvPr>
        </p:nvSpPr>
        <p:spPr/>
        <p:txBody>
          <a:bodyPr/>
          <a:lstStyle/>
          <a:p>
            <a:fld id="{E84006A6-0E15-460A-BCD4-002C20F8AC9F}" type="slidenum">
              <a:rPr lang="de-DE" smtClean="0"/>
              <a:pPr/>
              <a:t>89</a:t>
            </a:fld>
            <a:endParaRPr lang="de-DE"/>
          </a:p>
        </p:txBody>
      </p:sp>
      <p:sp>
        <p:nvSpPr>
          <p:cNvPr id="5" name="Titel 4">
            <a:extLst>
              <a:ext uri="{FF2B5EF4-FFF2-40B4-BE49-F238E27FC236}">
                <a16:creationId xmlns:a16="http://schemas.microsoft.com/office/drawing/2014/main" id="{5701F701-9D7E-1912-4C81-8023D6C7F82E}"/>
              </a:ext>
            </a:extLst>
          </p:cNvPr>
          <p:cNvSpPr>
            <a:spLocks noGrp="1"/>
          </p:cNvSpPr>
          <p:nvPr>
            <p:ph type="title"/>
          </p:nvPr>
        </p:nvSpPr>
        <p:spPr/>
        <p:txBody>
          <a:bodyPr/>
          <a:lstStyle/>
          <a:p>
            <a:r>
              <a:rPr lang="de-DE" dirty="0"/>
              <a:t>Infografik</a:t>
            </a:r>
          </a:p>
        </p:txBody>
      </p:sp>
      <p:grpSp>
        <p:nvGrpSpPr>
          <p:cNvPr id="6" name="Gruppieren 5">
            <a:extLst>
              <a:ext uri="{FF2B5EF4-FFF2-40B4-BE49-F238E27FC236}">
                <a16:creationId xmlns:a16="http://schemas.microsoft.com/office/drawing/2014/main" id="{3298C8B8-50CF-CDD3-AD02-21C45713C2D9}"/>
              </a:ext>
            </a:extLst>
          </p:cNvPr>
          <p:cNvGrpSpPr/>
          <p:nvPr/>
        </p:nvGrpSpPr>
        <p:grpSpPr>
          <a:xfrm>
            <a:off x="524290" y="1942817"/>
            <a:ext cx="11157275" cy="4102148"/>
            <a:chOff x="524290" y="1706815"/>
            <a:chExt cx="11157275" cy="4102148"/>
          </a:xfrm>
        </p:grpSpPr>
        <p:grpSp>
          <p:nvGrpSpPr>
            <p:cNvPr id="7" name="Gruppieren 6">
              <a:extLst>
                <a:ext uri="{FF2B5EF4-FFF2-40B4-BE49-F238E27FC236}">
                  <a16:creationId xmlns:a16="http://schemas.microsoft.com/office/drawing/2014/main" id="{5B900284-5568-54EE-02F1-0216AFEB63CF}"/>
                </a:ext>
              </a:extLst>
            </p:cNvPr>
            <p:cNvGrpSpPr/>
            <p:nvPr/>
          </p:nvGrpSpPr>
          <p:grpSpPr bwMode="gray">
            <a:xfrm>
              <a:off x="4026927" y="1706815"/>
              <a:ext cx="4102148" cy="4102148"/>
              <a:chOff x="4026927" y="1706815"/>
              <a:chExt cx="4102148" cy="4102148"/>
            </a:xfrm>
            <a:solidFill>
              <a:schemeClr val="accent3"/>
            </a:solidFill>
          </p:grpSpPr>
          <p:sp>
            <p:nvSpPr>
              <p:cNvPr id="21" name="Freihandform: Form 16">
                <a:extLst>
                  <a:ext uri="{FF2B5EF4-FFF2-40B4-BE49-F238E27FC236}">
                    <a16:creationId xmlns:a16="http://schemas.microsoft.com/office/drawing/2014/main" id="{3870AEB3-E04B-30CA-8C65-326F7B8C384D}"/>
                  </a:ext>
                </a:extLst>
              </p:cNvPr>
              <p:cNvSpPr/>
              <p:nvPr/>
            </p:nvSpPr>
            <p:spPr bwMode="gray">
              <a:xfrm>
                <a:off x="6144622" y="1706815"/>
                <a:ext cx="1984453" cy="1984453"/>
              </a:xfrm>
              <a:custGeom>
                <a:avLst/>
                <a:gdLst>
                  <a:gd name="connsiteX0" fmla="*/ 0 w 1984453"/>
                  <a:gd name="connsiteY0" fmla="*/ 0 h 1984453"/>
                  <a:gd name="connsiteX1" fmla="*/ 1984453 w 1984453"/>
                  <a:gd name="connsiteY1" fmla="*/ 1984453 h 1984453"/>
                  <a:gd name="connsiteX2" fmla="*/ 1138598 w 1984453"/>
                  <a:gd name="connsiteY2" fmla="*/ 1984453 h 1984453"/>
                  <a:gd name="connsiteX3" fmla="*/ 1136720 w 1984453"/>
                  <a:gd name="connsiteY3" fmla="*/ 1947251 h 1984453"/>
                  <a:gd name="connsiteX4" fmla="*/ 73202 w 1984453"/>
                  <a:gd name="connsiteY4" fmla="*/ 883734 h 1984453"/>
                  <a:gd name="connsiteX5" fmla="*/ 0 w 1984453"/>
                  <a:gd name="connsiteY5" fmla="*/ 880037 h 19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4453" h="1984453">
                    <a:moveTo>
                      <a:pt x="0" y="0"/>
                    </a:moveTo>
                    <a:cubicBezTo>
                      <a:pt x="1095983" y="0"/>
                      <a:pt x="1984453" y="888470"/>
                      <a:pt x="1984453" y="1984453"/>
                    </a:cubicBezTo>
                    <a:lnTo>
                      <a:pt x="1138598" y="1984453"/>
                    </a:lnTo>
                    <a:lnTo>
                      <a:pt x="1136720" y="1947251"/>
                    </a:lnTo>
                    <a:cubicBezTo>
                      <a:pt x="1079771" y="1386488"/>
                      <a:pt x="633965" y="940682"/>
                      <a:pt x="73202" y="883734"/>
                    </a:cubicBezTo>
                    <a:lnTo>
                      <a:pt x="0" y="880037"/>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9378" tIns="905153" rIns="479913" bIns="2142129"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NeueHaasGroteskText Pro" panose="020B0504020202020204" pitchFamily="34" charset="77"/>
                </a:endParaRPr>
              </a:p>
            </p:txBody>
          </p:sp>
          <p:sp>
            <p:nvSpPr>
              <p:cNvPr id="22" name="Freihandform: Form 23">
                <a:extLst>
                  <a:ext uri="{FF2B5EF4-FFF2-40B4-BE49-F238E27FC236}">
                    <a16:creationId xmlns:a16="http://schemas.microsoft.com/office/drawing/2014/main" id="{78ED1AC7-B673-C3AB-FAE5-8D602AC456AD}"/>
                  </a:ext>
                </a:extLst>
              </p:cNvPr>
              <p:cNvSpPr/>
              <p:nvPr/>
            </p:nvSpPr>
            <p:spPr bwMode="gray">
              <a:xfrm>
                <a:off x="6144622" y="3824510"/>
                <a:ext cx="1984453" cy="1984453"/>
              </a:xfrm>
              <a:custGeom>
                <a:avLst/>
                <a:gdLst>
                  <a:gd name="connsiteX0" fmla="*/ 1140416 w 1984453"/>
                  <a:gd name="connsiteY0" fmla="*/ 0 h 1984453"/>
                  <a:gd name="connsiteX1" fmla="*/ 1984453 w 1984453"/>
                  <a:gd name="connsiteY1" fmla="*/ 0 h 1984453"/>
                  <a:gd name="connsiteX2" fmla="*/ 0 w 1984453"/>
                  <a:gd name="connsiteY2" fmla="*/ 1984453 h 1984453"/>
                  <a:gd name="connsiteX3" fmla="*/ 0 w 1984453"/>
                  <a:gd name="connsiteY3" fmla="*/ 1140416 h 1984453"/>
                  <a:gd name="connsiteX4" fmla="*/ 73202 w 1984453"/>
                  <a:gd name="connsiteY4" fmla="*/ 1136720 h 1984453"/>
                  <a:gd name="connsiteX5" fmla="*/ 1136720 w 1984453"/>
                  <a:gd name="connsiteY5" fmla="*/ 73202 h 19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4453" h="1984453">
                    <a:moveTo>
                      <a:pt x="1140416" y="0"/>
                    </a:moveTo>
                    <a:lnTo>
                      <a:pt x="1984453" y="0"/>
                    </a:lnTo>
                    <a:cubicBezTo>
                      <a:pt x="1984453" y="1095983"/>
                      <a:pt x="1095983" y="1984453"/>
                      <a:pt x="0" y="1984453"/>
                    </a:cubicBezTo>
                    <a:lnTo>
                      <a:pt x="0" y="1140416"/>
                    </a:lnTo>
                    <a:lnTo>
                      <a:pt x="73202" y="1136720"/>
                    </a:lnTo>
                    <a:cubicBezTo>
                      <a:pt x="633965" y="1079771"/>
                      <a:pt x="1079771" y="633965"/>
                      <a:pt x="1136720" y="73202"/>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89378" tIns="2142129" rIns="479913" bIns="905153"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NeueHaasGroteskText Pro" panose="020B0504020202020204" pitchFamily="34" charset="77"/>
                </a:endParaRPr>
              </a:p>
            </p:txBody>
          </p:sp>
          <p:sp>
            <p:nvSpPr>
              <p:cNvPr id="23" name="Freihandform: Form 20">
                <a:extLst>
                  <a:ext uri="{FF2B5EF4-FFF2-40B4-BE49-F238E27FC236}">
                    <a16:creationId xmlns:a16="http://schemas.microsoft.com/office/drawing/2014/main" id="{A7AB2B62-6D92-7640-EEC0-D5529CB17654}"/>
                  </a:ext>
                </a:extLst>
              </p:cNvPr>
              <p:cNvSpPr/>
              <p:nvPr/>
            </p:nvSpPr>
            <p:spPr bwMode="gray">
              <a:xfrm>
                <a:off x="4026927" y="3824510"/>
                <a:ext cx="1984453" cy="1984453"/>
              </a:xfrm>
              <a:custGeom>
                <a:avLst/>
                <a:gdLst>
                  <a:gd name="connsiteX0" fmla="*/ 0 w 1984453"/>
                  <a:gd name="connsiteY0" fmla="*/ 0 h 1984453"/>
                  <a:gd name="connsiteX1" fmla="*/ 880037 w 1984453"/>
                  <a:gd name="connsiteY1" fmla="*/ 0 h 1984453"/>
                  <a:gd name="connsiteX2" fmla="*/ 883734 w 1984453"/>
                  <a:gd name="connsiteY2" fmla="*/ 73202 h 1984453"/>
                  <a:gd name="connsiteX3" fmla="*/ 1947251 w 1984453"/>
                  <a:gd name="connsiteY3" fmla="*/ 1136720 h 1984453"/>
                  <a:gd name="connsiteX4" fmla="*/ 1984453 w 1984453"/>
                  <a:gd name="connsiteY4" fmla="*/ 1138598 h 1984453"/>
                  <a:gd name="connsiteX5" fmla="*/ 1984453 w 1984453"/>
                  <a:gd name="connsiteY5" fmla="*/ 1984453 h 1984453"/>
                  <a:gd name="connsiteX6" fmla="*/ 0 w 1984453"/>
                  <a:gd name="connsiteY6" fmla="*/ 0 h 19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4453" h="1984453">
                    <a:moveTo>
                      <a:pt x="0" y="0"/>
                    </a:moveTo>
                    <a:lnTo>
                      <a:pt x="880037" y="0"/>
                    </a:lnTo>
                    <a:lnTo>
                      <a:pt x="883734" y="73202"/>
                    </a:lnTo>
                    <a:cubicBezTo>
                      <a:pt x="940682" y="633965"/>
                      <a:pt x="1386488" y="1079771"/>
                      <a:pt x="1947251" y="1136720"/>
                    </a:cubicBezTo>
                    <a:lnTo>
                      <a:pt x="1984453" y="1138598"/>
                    </a:lnTo>
                    <a:lnTo>
                      <a:pt x="1984453" y="1984453"/>
                    </a:lnTo>
                    <a:cubicBezTo>
                      <a:pt x="888470" y="1984453"/>
                      <a:pt x="0" y="1095983"/>
                      <a:pt x="0"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9913" tIns="2142129" rIns="2189378" bIns="905153"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NeueHaasGroteskText Pro" panose="020B0504020202020204" pitchFamily="34" charset="77"/>
                </a:endParaRPr>
              </a:p>
            </p:txBody>
          </p:sp>
          <p:sp>
            <p:nvSpPr>
              <p:cNvPr id="24" name="Freihandform: Form 18">
                <a:extLst>
                  <a:ext uri="{FF2B5EF4-FFF2-40B4-BE49-F238E27FC236}">
                    <a16:creationId xmlns:a16="http://schemas.microsoft.com/office/drawing/2014/main" id="{6D73EBB3-0A4D-1AF3-0621-34D07F85A73B}"/>
                  </a:ext>
                </a:extLst>
              </p:cNvPr>
              <p:cNvSpPr/>
              <p:nvPr/>
            </p:nvSpPr>
            <p:spPr bwMode="gray">
              <a:xfrm>
                <a:off x="4026927" y="1706815"/>
                <a:ext cx="1984453" cy="1984453"/>
              </a:xfrm>
              <a:custGeom>
                <a:avLst/>
                <a:gdLst>
                  <a:gd name="connsiteX0" fmla="*/ 1984453 w 1984453"/>
                  <a:gd name="connsiteY0" fmla="*/ 0 h 1984453"/>
                  <a:gd name="connsiteX1" fmla="*/ 1984453 w 1984453"/>
                  <a:gd name="connsiteY1" fmla="*/ 881855 h 1984453"/>
                  <a:gd name="connsiteX2" fmla="*/ 1947251 w 1984453"/>
                  <a:gd name="connsiteY2" fmla="*/ 883734 h 1984453"/>
                  <a:gd name="connsiteX3" fmla="*/ 883734 w 1984453"/>
                  <a:gd name="connsiteY3" fmla="*/ 1947251 h 1984453"/>
                  <a:gd name="connsiteX4" fmla="*/ 881855 w 1984453"/>
                  <a:gd name="connsiteY4" fmla="*/ 1984453 h 1984453"/>
                  <a:gd name="connsiteX5" fmla="*/ 0 w 1984453"/>
                  <a:gd name="connsiteY5" fmla="*/ 1984453 h 1984453"/>
                  <a:gd name="connsiteX6" fmla="*/ 1984453 w 1984453"/>
                  <a:gd name="connsiteY6" fmla="*/ 0 h 19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4453" h="1984453">
                    <a:moveTo>
                      <a:pt x="1984453" y="0"/>
                    </a:moveTo>
                    <a:lnTo>
                      <a:pt x="1984453" y="881855"/>
                    </a:lnTo>
                    <a:lnTo>
                      <a:pt x="1947251" y="883734"/>
                    </a:lnTo>
                    <a:cubicBezTo>
                      <a:pt x="1386488" y="940682"/>
                      <a:pt x="940682" y="1386488"/>
                      <a:pt x="883734" y="1947251"/>
                    </a:cubicBezTo>
                    <a:lnTo>
                      <a:pt x="881855" y="1984453"/>
                    </a:lnTo>
                    <a:lnTo>
                      <a:pt x="0" y="1984453"/>
                    </a:lnTo>
                    <a:cubicBezTo>
                      <a:pt x="0" y="888470"/>
                      <a:pt x="888470" y="0"/>
                      <a:pt x="1984453" y="0"/>
                    </a:cubicBezTo>
                    <a:close/>
                  </a:path>
                </a:pathLst>
              </a:custGeom>
              <a:solidFill>
                <a:schemeClr val="tx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79913" tIns="905153" rIns="2189378" bIns="2142129" numCol="1" spcCol="1270" anchor="ctr"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NeueHaasGroteskText Pro" panose="020B0504020202020204" pitchFamily="34" charset="77"/>
                </a:endParaRPr>
              </a:p>
            </p:txBody>
          </p:sp>
        </p:grpSp>
        <p:pic>
          <p:nvPicPr>
            <p:cNvPr id="8" name="Grafik 7">
              <a:extLst>
                <a:ext uri="{FF2B5EF4-FFF2-40B4-BE49-F238E27FC236}">
                  <a16:creationId xmlns:a16="http://schemas.microsoft.com/office/drawing/2014/main" id="{BD257B24-4488-03A0-667F-CF43D27078C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gray">
            <a:xfrm>
              <a:off x="5821017" y="3482906"/>
              <a:ext cx="549966" cy="549966"/>
            </a:xfrm>
            <a:prstGeom prst="rect">
              <a:avLst/>
            </a:prstGeom>
          </p:spPr>
        </p:pic>
        <p:sp>
          <p:nvSpPr>
            <p:cNvPr id="9" name="Text Box 12">
              <a:extLst>
                <a:ext uri="{FF2B5EF4-FFF2-40B4-BE49-F238E27FC236}">
                  <a16:creationId xmlns:a16="http://schemas.microsoft.com/office/drawing/2014/main" id="{FA6C3983-6229-ABC6-E2D8-E3A7159DC4DE}"/>
                </a:ext>
              </a:extLst>
            </p:cNvPr>
            <p:cNvSpPr txBox="1">
              <a:spLocks noChangeArrowheads="1"/>
            </p:cNvSpPr>
            <p:nvPr/>
          </p:nvSpPr>
          <p:spPr bwMode="gray">
            <a:xfrm rot="18909249">
              <a:off x="4399564" y="2551193"/>
              <a:ext cx="1608638" cy="703307"/>
            </a:xfrm>
            <a:prstGeom prst="rect">
              <a:avLst/>
            </a:prstGeom>
            <a:noFill/>
            <a:ln w="9525">
              <a:noFill/>
              <a:miter lim="800000"/>
              <a:headEnd/>
              <a:tailEnd/>
            </a:ln>
          </p:spPr>
          <p:txBody>
            <a:bodyPr wrap="none">
              <a:prstTxWarp prst="textArchUp">
                <a:avLst>
                  <a:gd name="adj" fmla="val 1052070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NeueHaasGroteskText Pro" panose="020B0504020202020204" pitchFamily="34" charset="77"/>
                  <a:cs typeface="Arial" charset="0"/>
                </a:rPr>
                <a:t>Placeholder</a:t>
              </a:r>
            </a:p>
          </p:txBody>
        </p:sp>
        <p:sp>
          <p:nvSpPr>
            <p:cNvPr id="10" name="Text Box 12">
              <a:extLst>
                <a:ext uri="{FF2B5EF4-FFF2-40B4-BE49-F238E27FC236}">
                  <a16:creationId xmlns:a16="http://schemas.microsoft.com/office/drawing/2014/main" id="{B4C8573E-EE5D-3CEF-D165-8A9B1311A434}"/>
                </a:ext>
              </a:extLst>
            </p:cNvPr>
            <p:cNvSpPr txBox="1">
              <a:spLocks noChangeArrowheads="1"/>
            </p:cNvSpPr>
            <p:nvPr/>
          </p:nvSpPr>
          <p:spPr bwMode="gray">
            <a:xfrm rot="2700000">
              <a:off x="6153551" y="2551194"/>
              <a:ext cx="1608638" cy="703307"/>
            </a:xfrm>
            <a:prstGeom prst="rect">
              <a:avLst/>
            </a:prstGeom>
            <a:noFill/>
            <a:ln w="9525">
              <a:noFill/>
              <a:miter lim="800000"/>
              <a:headEnd/>
              <a:tailEnd/>
            </a:ln>
          </p:spPr>
          <p:txBody>
            <a:bodyPr wrap="none">
              <a:prstTxWarp prst="textArchUp">
                <a:avLst>
                  <a:gd name="adj" fmla="val 1052070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NeueHaasGroteskText Pro" panose="020B0504020202020204" pitchFamily="34" charset="77"/>
                  <a:cs typeface="Arial" charset="0"/>
                </a:rPr>
                <a:t>Placeholder</a:t>
              </a:r>
            </a:p>
          </p:txBody>
        </p:sp>
        <p:sp>
          <p:nvSpPr>
            <p:cNvPr id="11" name="Text Box 10">
              <a:extLst>
                <a:ext uri="{FF2B5EF4-FFF2-40B4-BE49-F238E27FC236}">
                  <a16:creationId xmlns:a16="http://schemas.microsoft.com/office/drawing/2014/main" id="{05951915-434C-540B-0554-3B0E110E591E}"/>
                </a:ext>
              </a:extLst>
            </p:cNvPr>
            <p:cNvSpPr txBox="1">
              <a:spLocks noChangeArrowheads="1"/>
            </p:cNvSpPr>
            <p:nvPr/>
          </p:nvSpPr>
          <p:spPr bwMode="gray">
            <a:xfrm rot="2828407">
              <a:off x="4436287" y="4302934"/>
              <a:ext cx="1468693" cy="698489"/>
            </a:xfrm>
            <a:prstGeom prst="rect">
              <a:avLst/>
            </a:prstGeom>
            <a:noFill/>
            <a:ln w="9525">
              <a:noFill/>
              <a:miter lim="800000"/>
              <a:headEnd/>
              <a:tailEnd/>
            </a:ln>
          </p:spPr>
          <p:txBody>
            <a:bodyPr wrap="none">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NeueHaasGroteskText Pro" panose="020B0504020202020204" pitchFamily="34" charset="77"/>
                  <a:cs typeface="Arial" charset="0"/>
                </a:rPr>
                <a:t>Placeholder</a:t>
              </a:r>
            </a:p>
          </p:txBody>
        </p:sp>
        <p:sp>
          <p:nvSpPr>
            <p:cNvPr id="12" name="Text Box 10">
              <a:extLst>
                <a:ext uri="{FF2B5EF4-FFF2-40B4-BE49-F238E27FC236}">
                  <a16:creationId xmlns:a16="http://schemas.microsoft.com/office/drawing/2014/main" id="{5C7BED8E-0242-7A40-C417-81BE174F6BA5}"/>
                </a:ext>
              </a:extLst>
            </p:cNvPr>
            <p:cNvSpPr txBox="1">
              <a:spLocks noChangeArrowheads="1"/>
            </p:cNvSpPr>
            <p:nvPr/>
          </p:nvSpPr>
          <p:spPr bwMode="gray">
            <a:xfrm rot="18780000">
              <a:off x="6324746" y="4302934"/>
              <a:ext cx="1468693" cy="698489"/>
            </a:xfrm>
            <a:prstGeom prst="rect">
              <a:avLst/>
            </a:prstGeom>
            <a:noFill/>
            <a:ln w="9525">
              <a:noFill/>
              <a:miter lim="800000"/>
              <a:headEnd/>
              <a:tailEnd/>
            </a:ln>
          </p:spPr>
          <p:txBody>
            <a:bodyPr wrap="none">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NeueHaasGroteskText Pro" panose="020B0504020202020204" pitchFamily="34" charset="77"/>
                  <a:cs typeface="Arial" charset="0"/>
                </a:rPr>
                <a:t>Placeholder</a:t>
              </a:r>
            </a:p>
          </p:txBody>
        </p:sp>
        <p:sp>
          <p:nvSpPr>
            <p:cNvPr id="13" name="Inhaltsplatzhalter 1">
              <a:extLst>
                <a:ext uri="{FF2B5EF4-FFF2-40B4-BE49-F238E27FC236}">
                  <a16:creationId xmlns:a16="http://schemas.microsoft.com/office/drawing/2014/main" id="{F66C76F1-6D14-570C-DA17-EDB508475380}"/>
                </a:ext>
              </a:extLst>
            </p:cNvPr>
            <p:cNvSpPr txBox="1">
              <a:spLocks/>
            </p:cNvSpPr>
            <p:nvPr/>
          </p:nvSpPr>
          <p:spPr bwMode="gray">
            <a:xfrm>
              <a:off x="524290" y="1916616"/>
              <a:ext cx="3369395" cy="1062162"/>
            </a:xfrm>
            <a:prstGeom prst="rect">
              <a:avLst/>
            </a:prstGeom>
          </p:spPr>
          <p:txBody>
            <a:bodyPr lIns="0" tIns="0" rIns="0" bIns="10800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1" i="0" u="none" strike="noStrike" kern="1200" cap="none" spc="0" normalizeH="0" baseline="0" noProof="0" dirty="0">
                  <a:ln>
                    <a:noFill/>
                  </a:ln>
                  <a:effectLst/>
                  <a:uLnTx/>
                  <a:uFillTx/>
                  <a:latin typeface="NeueHaasGroteskText Pro" panose="020B0504020202020204" pitchFamily="34" charset="77"/>
                </a:rPr>
                <a:t>Lorem ipsum dolor sit amet.</a:t>
              </a:r>
              <a:endParaRPr kumimoji="0" lang="en-US" sz="1400" b="0" i="0" u="none" strike="noStrike" kern="1200" cap="none" spc="0" normalizeH="0" baseline="0" noProof="0" dirty="0">
                <a:ln>
                  <a:noFill/>
                </a:ln>
                <a:effectLst/>
                <a:uLnTx/>
                <a:uFillTx/>
                <a:latin typeface="NeueHaasGroteskText Pro" panose="020B0504020202020204" pitchFamily="34" charset="77"/>
              </a:endParaRP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rPr>
                <a:t>Lorem ipsum dolor sit amet, consectetuer adipiscing elit. Maecenas porttitor congue massa. Fusce posuere</a:t>
              </a:r>
              <a:r>
                <a:rPr lang="en-US" sz="1400" dirty="0">
                  <a:solidFill>
                    <a:schemeClr val="accent3"/>
                  </a:solidFill>
                  <a:latin typeface="NeueHaasGroteskText Pro" panose="020B0504020202020204" pitchFamily="34" charset="77"/>
                </a:rPr>
                <a:t>.</a:t>
              </a:r>
              <a:endPar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endParaRPr>
            </a:p>
          </p:txBody>
        </p:sp>
        <p:cxnSp>
          <p:nvCxnSpPr>
            <p:cNvPr id="14" name="Gerader Verbinder 31">
              <a:extLst>
                <a:ext uri="{FF2B5EF4-FFF2-40B4-BE49-F238E27FC236}">
                  <a16:creationId xmlns:a16="http://schemas.microsoft.com/office/drawing/2014/main" id="{C0488695-6E31-9E96-B7D4-FAE3A4A1EBC3}"/>
                </a:ext>
              </a:extLst>
            </p:cNvPr>
            <p:cNvCxnSpPr>
              <a:cxnSpLocks/>
            </p:cNvCxnSpPr>
            <p:nvPr/>
          </p:nvCxnSpPr>
          <p:spPr bwMode="gray">
            <a:xfrm flipH="1">
              <a:off x="524290" y="2978778"/>
              <a:ext cx="320241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Inhaltsplatzhalter 1">
              <a:extLst>
                <a:ext uri="{FF2B5EF4-FFF2-40B4-BE49-F238E27FC236}">
                  <a16:creationId xmlns:a16="http://schemas.microsoft.com/office/drawing/2014/main" id="{C15DE14F-25DB-DDE0-8A5B-54F2C4A9B50C}"/>
                </a:ext>
              </a:extLst>
            </p:cNvPr>
            <p:cNvSpPr txBox="1">
              <a:spLocks/>
            </p:cNvSpPr>
            <p:nvPr/>
          </p:nvSpPr>
          <p:spPr bwMode="gray">
            <a:xfrm>
              <a:off x="524290" y="4122274"/>
              <a:ext cx="3369395" cy="1062162"/>
            </a:xfrm>
            <a:prstGeom prst="rect">
              <a:avLst/>
            </a:prstGeom>
          </p:spPr>
          <p:txBody>
            <a:bodyPr lIns="0" tIns="0" rIns="0" bIns="10800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1" i="0" u="none" strike="noStrike" kern="1200" cap="none" spc="0" normalizeH="0" baseline="0" noProof="0" dirty="0">
                  <a:ln>
                    <a:noFill/>
                  </a:ln>
                  <a:effectLst/>
                  <a:uLnTx/>
                  <a:uFillTx/>
                  <a:latin typeface="NeueHaasGroteskText Pro" panose="020B0504020202020204" pitchFamily="34" charset="77"/>
                </a:rPr>
                <a:t>Lorem ipsum dolor sit amet.</a:t>
              </a:r>
              <a:endParaRPr kumimoji="0" lang="en-US" sz="1400" b="0" i="0" u="none" strike="noStrike" kern="1200" cap="none" spc="0" normalizeH="0" baseline="0" noProof="0" dirty="0">
                <a:ln>
                  <a:noFill/>
                </a:ln>
                <a:effectLst/>
                <a:uLnTx/>
                <a:uFillTx/>
                <a:latin typeface="NeueHaasGroteskText Pro" panose="020B0504020202020204" pitchFamily="34" charset="77"/>
              </a:endParaRP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rPr>
                <a:t>Lorem ipsum dolor sit amet, consectetuer adipiscing elit. Maecenas porttitor congue massa. Fusce posuere</a:t>
              </a:r>
              <a:r>
                <a:rPr lang="en-US" sz="1400" dirty="0">
                  <a:solidFill>
                    <a:schemeClr val="accent3"/>
                  </a:solidFill>
                  <a:latin typeface="NeueHaasGroteskText Pro" panose="020B0504020202020204" pitchFamily="34" charset="77"/>
                </a:rPr>
                <a:t>.</a:t>
              </a:r>
              <a:endPar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endParaRPr>
            </a:p>
          </p:txBody>
        </p:sp>
        <p:cxnSp>
          <p:nvCxnSpPr>
            <p:cNvPr id="16" name="Gerader Verbinder 33">
              <a:extLst>
                <a:ext uri="{FF2B5EF4-FFF2-40B4-BE49-F238E27FC236}">
                  <a16:creationId xmlns:a16="http://schemas.microsoft.com/office/drawing/2014/main" id="{49900B9F-0778-02E9-DD8C-028B9E8221E7}"/>
                </a:ext>
              </a:extLst>
            </p:cNvPr>
            <p:cNvCxnSpPr>
              <a:cxnSpLocks/>
            </p:cNvCxnSpPr>
            <p:nvPr/>
          </p:nvCxnSpPr>
          <p:spPr bwMode="gray">
            <a:xfrm flipH="1">
              <a:off x="524290" y="5184436"/>
              <a:ext cx="320241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Inhaltsplatzhalter 1">
              <a:extLst>
                <a:ext uri="{FF2B5EF4-FFF2-40B4-BE49-F238E27FC236}">
                  <a16:creationId xmlns:a16="http://schemas.microsoft.com/office/drawing/2014/main" id="{C2845A62-4B36-F916-58A2-1394F6128DA8}"/>
                </a:ext>
              </a:extLst>
            </p:cNvPr>
            <p:cNvSpPr txBox="1">
              <a:spLocks/>
            </p:cNvSpPr>
            <p:nvPr/>
          </p:nvSpPr>
          <p:spPr bwMode="gray">
            <a:xfrm>
              <a:off x="8287301" y="1916616"/>
              <a:ext cx="3394264" cy="1062162"/>
            </a:xfrm>
            <a:prstGeom prst="rect">
              <a:avLst/>
            </a:prstGeom>
          </p:spPr>
          <p:txBody>
            <a:bodyPr lIns="0" tIns="0" rIns="0" bIns="10800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1" i="0" u="none" strike="noStrike" kern="1200" cap="none" spc="0" normalizeH="0" baseline="0" noProof="0" dirty="0">
                  <a:ln>
                    <a:noFill/>
                  </a:ln>
                  <a:effectLst/>
                  <a:uLnTx/>
                  <a:uFillTx/>
                  <a:latin typeface="NeueHaasGroteskText Pro" panose="020B0504020202020204" pitchFamily="34" charset="77"/>
                </a:rPr>
                <a:t>Lorem ipsum dolor sit amet.</a:t>
              </a:r>
              <a:endParaRPr kumimoji="0" lang="en-US" sz="1400" b="0" i="0" u="none" strike="noStrike" kern="1200" cap="none" spc="0" normalizeH="0" baseline="0" noProof="0" dirty="0">
                <a:ln>
                  <a:noFill/>
                </a:ln>
                <a:effectLst/>
                <a:uLnTx/>
                <a:uFillTx/>
                <a:latin typeface="NeueHaasGroteskText Pro" panose="020B0504020202020204" pitchFamily="34" charset="77"/>
              </a:endParaRPr>
            </a:p>
            <a:p>
              <a:pPr marL="0" marR="0" lvl="0" indent="0" algn="r"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rPr>
                <a:t>Lorem ipsum dolor sit amet, consectetuer adipiscing elit. Maecenas porttitor congue massa. Fusce posuere</a:t>
              </a:r>
              <a:r>
                <a:rPr lang="en-US" sz="1400" dirty="0">
                  <a:solidFill>
                    <a:schemeClr val="accent3"/>
                  </a:solidFill>
                  <a:latin typeface="NeueHaasGroteskText Pro" panose="020B0504020202020204" pitchFamily="34" charset="77"/>
                </a:rPr>
                <a:t>.</a:t>
              </a:r>
              <a:endPar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endParaRPr>
            </a:p>
          </p:txBody>
        </p:sp>
        <p:cxnSp>
          <p:nvCxnSpPr>
            <p:cNvPr id="18" name="Gerader Verbinder 35">
              <a:extLst>
                <a:ext uri="{FF2B5EF4-FFF2-40B4-BE49-F238E27FC236}">
                  <a16:creationId xmlns:a16="http://schemas.microsoft.com/office/drawing/2014/main" id="{3475348A-ADE9-7EE6-79EB-86118AF216F4}"/>
                </a:ext>
              </a:extLst>
            </p:cNvPr>
            <p:cNvCxnSpPr>
              <a:cxnSpLocks/>
            </p:cNvCxnSpPr>
            <p:nvPr/>
          </p:nvCxnSpPr>
          <p:spPr bwMode="gray">
            <a:xfrm flipH="1">
              <a:off x="8479146" y="2978778"/>
              <a:ext cx="320241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Inhaltsplatzhalter 1">
              <a:extLst>
                <a:ext uri="{FF2B5EF4-FFF2-40B4-BE49-F238E27FC236}">
                  <a16:creationId xmlns:a16="http://schemas.microsoft.com/office/drawing/2014/main" id="{A222B7B8-D71A-D399-83AE-1288B5C44BBA}"/>
                </a:ext>
              </a:extLst>
            </p:cNvPr>
            <p:cNvSpPr txBox="1">
              <a:spLocks/>
            </p:cNvSpPr>
            <p:nvPr/>
          </p:nvSpPr>
          <p:spPr bwMode="gray">
            <a:xfrm>
              <a:off x="8287301" y="4122274"/>
              <a:ext cx="3394264" cy="1062162"/>
            </a:xfrm>
            <a:prstGeom prst="rect">
              <a:avLst/>
            </a:prstGeom>
          </p:spPr>
          <p:txBody>
            <a:bodyPr lIns="0" tIns="0" rIns="0" bIns="10800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1" i="0" u="none" strike="noStrike" kern="1200" cap="none" spc="0" normalizeH="0" baseline="0" noProof="0" dirty="0">
                  <a:ln>
                    <a:noFill/>
                  </a:ln>
                  <a:effectLst/>
                  <a:uLnTx/>
                  <a:uFillTx/>
                  <a:latin typeface="NeueHaasGroteskText Pro" panose="020B0504020202020204" pitchFamily="34" charset="77"/>
                </a:rPr>
                <a:t>Lorem ipsum dolor sit amet.</a:t>
              </a:r>
              <a:endParaRPr kumimoji="0" lang="en-US" sz="1400" b="0" i="0" u="none" strike="noStrike" kern="1200" cap="none" spc="0" normalizeH="0" baseline="0" noProof="0" dirty="0">
                <a:ln>
                  <a:noFill/>
                </a:ln>
                <a:effectLst/>
                <a:uLnTx/>
                <a:uFillTx/>
                <a:latin typeface="NeueHaasGroteskText Pro" panose="020B0504020202020204" pitchFamily="34" charset="77"/>
              </a:endParaRPr>
            </a:p>
            <a:p>
              <a:pPr marL="0" marR="0" lvl="0" indent="0" algn="r"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rPr>
                <a:t>Lorem ipsum dolor sit amet, consectetuer adipiscing elit. Maecenas porttitor congue massa. Fusce posuere</a:t>
              </a:r>
              <a:r>
                <a:rPr lang="en-US" sz="1400" dirty="0">
                  <a:solidFill>
                    <a:schemeClr val="accent3"/>
                  </a:solidFill>
                  <a:latin typeface="NeueHaasGroteskText Pro" panose="020B0504020202020204" pitchFamily="34" charset="77"/>
                </a:rPr>
                <a:t>.</a:t>
              </a:r>
              <a:endParaRPr kumimoji="0" lang="en-US" sz="1400" b="0" i="0" u="none" strike="noStrike" kern="1200" cap="none" spc="0" normalizeH="0" baseline="0" noProof="0" dirty="0">
                <a:ln>
                  <a:noFill/>
                </a:ln>
                <a:solidFill>
                  <a:schemeClr val="accent3"/>
                </a:solidFill>
                <a:effectLst/>
                <a:uLnTx/>
                <a:uFillTx/>
                <a:latin typeface="NeueHaasGroteskText Pro" panose="020B0504020202020204" pitchFamily="34" charset="77"/>
              </a:endParaRPr>
            </a:p>
          </p:txBody>
        </p:sp>
        <p:cxnSp>
          <p:nvCxnSpPr>
            <p:cNvPr id="20" name="Gerader Verbinder 37">
              <a:extLst>
                <a:ext uri="{FF2B5EF4-FFF2-40B4-BE49-F238E27FC236}">
                  <a16:creationId xmlns:a16="http://schemas.microsoft.com/office/drawing/2014/main" id="{17D7065A-C352-4536-D444-DC1BFE7684FD}"/>
                </a:ext>
              </a:extLst>
            </p:cNvPr>
            <p:cNvCxnSpPr>
              <a:cxnSpLocks/>
            </p:cNvCxnSpPr>
            <p:nvPr/>
          </p:nvCxnSpPr>
          <p:spPr bwMode="gray">
            <a:xfrm flipH="1">
              <a:off x="8479146" y="5184436"/>
              <a:ext cx="3202419"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16662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nhaltsplatzhalter 83">
            <a:extLst>
              <a:ext uri="{FF2B5EF4-FFF2-40B4-BE49-F238E27FC236}">
                <a16:creationId xmlns:a16="http://schemas.microsoft.com/office/drawing/2014/main" id="{DFAA0039-C870-B55A-327B-A14AC9F136CD}"/>
              </a:ext>
            </a:extLst>
          </p:cNvPr>
          <p:cNvPicPr>
            <a:picLocks noGrp="1" noChangeAspect="1"/>
          </p:cNvPicPr>
          <p:nvPr>
            <p:ph sz="quarter" idx="24"/>
          </p:nvPr>
        </p:nvPicPr>
        <p:blipFill rotWithShape="1">
          <a:blip r:embed="rId2">
            <a:extLst>
              <a:ext uri="{28A0092B-C50C-407E-A947-70E740481C1C}">
                <a14:useLocalDpi xmlns:a14="http://schemas.microsoft.com/office/drawing/2010/main"/>
              </a:ext>
            </a:extLst>
          </a:blip>
          <a:srcRect t="12509" b="12509"/>
          <a:stretch/>
        </p:blipFill>
        <p:spPr/>
      </p:pic>
      <p:sp>
        <p:nvSpPr>
          <p:cNvPr id="9" name="Textplatzhalter 8">
            <a:extLst>
              <a:ext uri="{FF2B5EF4-FFF2-40B4-BE49-F238E27FC236}">
                <a16:creationId xmlns:a16="http://schemas.microsoft.com/office/drawing/2014/main" id="{EE1BF80D-31E7-7EC0-5813-034B0695EBD1}"/>
              </a:ext>
            </a:extLst>
          </p:cNvPr>
          <p:cNvSpPr>
            <a:spLocks noGrp="1"/>
          </p:cNvSpPr>
          <p:nvPr>
            <p:ph type="body" sz="quarter" idx="12"/>
          </p:nvPr>
        </p:nvSpPr>
        <p:spPr/>
        <p:txBody>
          <a:bodyPr/>
          <a:lstStyle/>
          <a:p>
            <a:r>
              <a:rPr lang="de-DE" dirty="0"/>
              <a:t>Hier steht der Kapitelname.</a:t>
            </a:r>
          </a:p>
        </p:txBody>
      </p:sp>
      <p:sp>
        <p:nvSpPr>
          <p:cNvPr id="7" name="Titel 6">
            <a:extLst>
              <a:ext uri="{FF2B5EF4-FFF2-40B4-BE49-F238E27FC236}">
                <a16:creationId xmlns:a16="http://schemas.microsoft.com/office/drawing/2014/main" id="{F21A20F6-F18C-A099-A7FD-FDC796CCE2CF}"/>
              </a:ext>
            </a:extLst>
          </p:cNvPr>
          <p:cNvSpPr>
            <a:spLocks noGrp="1"/>
          </p:cNvSpPr>
          <p:nvPr>
            <p:ph type="title"/>
          </p:nvPr>
        </p:nvSpPr>
        <p:spPr/>
        <p:txBody>
          <a:bodyPr/>
          <a:lstStyle/>
          <a:p>
            <a:r>
              <a:rPr lang="de-DE" dirty="0"/>
              <a:t>Agenda.</a:t>
            </a:r>
          </a:p>
        </p:txBody>
      </p:sp>
      <p:sp>
        <p:nvSpPr>
          <p:cNvPr id="8" name="Textplatzhalter 7">
            <a:extLst>
              <a:ext uri="{FF2B5EF4-FFF2-40B4-BE49-F238E27FC236}">
                <a16:creationId xmlns:a16="http://schemas.microsoft.com/office/drawing/2014/main" id="{7A76A0C3-E6D7-047E-6B28-996BC23B3AED}"/>
              </a:ext>
            </a:extLst>
          </p:cNvPr>
          <p:cNvSpPr>
            <a:spLocks noGrp="1"/>
          </p:cNvSpPr>
          <p:nvPr>
            <p:ph type="body" sz="quarter" idx="11"/>
          </p:nvPr>
        </p:nvSpPr>
        <p:spPr/>
        <p:txBody>
          <a:bodyPr/>
          <a:lstStyle/>
          <a:p>
            <a:r>
              <a:rPr lang="de-DE" dirty="0"/>
              <a:t>1</a:t>
            </a:r>
          </a:p>
        </p:txBody>
      </p:sp>
      <p:sp>
        <p:nvSpPr>
          <p:cNvPr id="10" name="Textplatzhalter 9">
            <a:extLst>
              <a:ext uri="{FF2B5EF4-FFF2-40B4-BE49-F238E27FC236}">
                <a16:creationId xmlns:a16="http://schemas.microsoft.com/office/drawing/2014/main" id="{8CD314CC-7874-F320-500D-50F3F962E694}"/>
              </a:ext>
            </a:extLst>
          </p:cNvPr>
          <p:cNvSpPr>
            <a:spLocks noGrp="1"/>
          </p:cNvSpPr>
          <p:nvPr>
            <p:ph type="body" sz="quarter" idx="13"/>
          </p:nvPr>
        </p:nvSpPr>
        <p:spPr/>
        <p:txBody>
          <a:bodyPr/>
          <a:lstStyle/>
          <a:p>
            <a:r>
              <a:rPr lang="de-DE" dirty="0"/>
              <a:t>Hier steht der Kapitelname.</a:t>
            </a:r>
          </a:p>
        </p:txBody>
      </p:sp>
      <p:sp>
        <p:nvSpPr>
          <p:cNvPr id="11" name="Textplatzhalter 10">
            <a:extLst>
              <a:ext uri="{FF2B5EF4-FFF2-40B4-BE49-F238E27FC236}">
                <a16:creationId xmlns:a16="http://schemas.microsoft.com/office/drawing/2014/main" id="{373B64B1-DDD0-A3E8-52D4-2A85994862C5}"/>
              </a:ext>
            </a:extLst>
          </p:cNvPr>
          <p:cNvSpPr>
            <a:spLocks noGrp="1"/>
          </p:cNvSpPr>
          <p:nvPr>
            <p:ph type="body" sz="quarter" idx="14"/>
          </p:nvPr>
        </p:nvSpPr>
        <p:spPr/>
        <p:txBody>
          <a:bodyPr/>
          <a:lstStyle/>
          <a:p>
            <a:r>
              <a:rPr lang="de-DE" dirty="0"/>
              <a:t>2</a:t>
            </a:r>
          </a:p>
        </p:txBody>
      </p:sp>
      <p:sp>
        <p:nvSpPr>
          <p:cNvPr id="12" name="Textplatzhalter 11">
            <a:extLst>
              <a:ext uri="{FF2B5EF4-FFF2-40B4-BE49-F238E27FC236}">
                <a16:creationId xmlns:a16="http://schemas.microsoft.com/office/drawing/2014/main" id="{855C8EE4-4868-0A06-8F8A-AAF70AFB1F04}"/>
              </a:ext>
            </a:extLst>
          </p:cNvPr>
          <p:cNvSpPr>
            <a:spLocks noGrp="1"/>
          </p:cNvSpPr>
          <p:nvPr>
            <p:ph type="body" sz="quarter" idx="15"/>
          </p:nvPr>
        </p:nvSpPr>
        <p:spPr/>
        <p:txBody>
          <a:bodyPr/>
          <a:lstStyle/>
          <a:p>
            <a:r>
              <a:rPr lang="de-DE" dirty="0"/>
              <a:t>Hier steht der Kapitelname.</a:t>
            </a:r>
          </a:p>
        </p:txBody>
      </p:sp>
      <p:sp>
        <p:nvSpPr>
          <p:cNvPr id="13" name="Textplatzhalter 12">
            <a:extLst>
              <a:ext uri="{FF2B5EF4-FFF2-40B4-BE49-F238E27FC236}">
                <a16:creationId xmlns:a16="http://schemas.microsoft.com/office/drawing/2014/main" id="{67ABBD99-624E-2323-596D-B359A5A635F0}"/>
              </a:ext>
            </a:extLst>
          </p:cNvPr>
          <p:cNvSpPr>
            <a:spLocks noGrp="1"/>
          </p:cNvSpPr>
          <p:nvPr>
            <p:ph type="body" sz="quarter" idx="16"/>
          </p:nvPr>
        </p:nvSpPr>
        <p:spPr/>
        <p:txBody>
          <a:bodyPr/>
          <a:lstStyle/>
          <a:p>
            <a:r>
              <a:rPr lang="de-DE" dirty="0"/>
              <a:t>3</a:t>
            </a:r>
          </a:p>
        </p:txBody>
      </p:sp>
      <p:sp>
        <p:nvSpPr>
          <p:cNvPr id="14" name="Textplatzhalter 13">
            <a:extLst>
              <a:ext uri="{FF2B5EF4-FFF2-40B4-BE49-F238E27FC236}">
                <a16:creationId xmlns:a16="http://schemas.microsoft.com/office/drawing/2014/main" id="{A3D62065-E069-DA02-BACB-9A512CF63F20}"/>
              </a:ext>
            </a:extLst>
          </p:cNvPr>
          <p:cNvSpPr>
            <a:spLocks noGrp="1"/>
          </p:cNvSpPr>
          <p:nvPr>
            <p:ph type="body" sz="quarter" idx="17"/>
          </p:nvPr>
        </p:nvSpPr>
        <p:spPr/>
        <p:txBody>
          <a:bodyPr/>
          <a:lstStyle/>
          <a:p>
            <a:r>
              <a:rPr lang="de-DE" dirty="0"/>
              <a:t>Hier steht der Kapitelname.</a:t>
            </a:r>
          </a:p>
        </p:txBody>
      </p:sp>
      <p:sp>
        <p:nvSpPr>
          <p:cNvPr id="15" name="Textplatzhalter 14">
            <a:extLst>
              <a:ext uri="{FF2B5EF4-FFF2-40B4-BE49-F238E27FC236}">
                <a16:creationId xmlns:a16="http://schemas.microsoft.com/office/drawing/2014/main" id="{FDD10315-F876-9B5A-3680-8DAF95BD353A}"/>
              </a:ext>
            </a:extLst>
          </p:cNvPr>
          <p:cNvSpPr>
            <a:spLocks noGrp="1"/>
          </p:cNvSpPr>
          <p:nvPr>
            <p:ph type="body" sz="quarter" idx="18"/>
          </p:nvPr>
        </p:nvSpPr>
        <p:spPr/>
        <p:txBody>
          <a:bodyPr/>
          <a:lstStyle/>
          <a:p>
            <a:r>
              <a:rPr lang="de-DE" dirty="0"/>
              <a:t>4</a:t>
            </a:r>
          </a:p>
        </p:txBody>
      </p:sp>
      <p:sp>
        <p:nvSpPr>
          <p:cNvPr id="16" name="Textplatzhalter 15">
            <a:extLst>
              <a:ext uri="{FF2B5EF4-FFF2-40B4-BE49-F238E27FC236}">
                <a16:creationId xmlns:a16="http://schemas.microsoft.com/office/drawing/2014/main" id="{9E4A448D-9ABE-5C52-8A40-ED4823D23BCB}"/>
              </a:ext>
            </a:extLst>
          </p:cNvPr>
          <p:cNvSpPr>
            <a:spLocks noGrp="1"/>
          </p:cNvSpPr>
          <p:nvPr>
            <p:ph type="body" sz="quarter" idx="19"/>
          </p:nvPr>
        </p:nvSpPr>
        <p:spPr/>
        <p:txBody>
          <a:bodyPr/>
          <a:lstStyle/>
          <a:p>
            <a:r>
              <a:rPr lang="de-DE" dirty="0"/>
              <a:t>Hier steht der Kapitelname.</a:t>
            </a:r>
          </a:p>
        </p:txBody>
      </p:sp>
      <p:sp>
        <p:nvSpPr>
          <p:cNvPr id="17" name="Textplatzhalter 16">
            <a:extLst>
              <a:ext uri="{FF2B5EF4-FFF2-40B4-BE49-F238E27FC236}">
                <a16:creationId xmlns:a16="http://schemas.microsoft.com/office/drawing/2014/main" id="{68902584-3835-31EC-DA8D-108A3E2F5E39}"/>
              </a:ext>
            </a:extLst>
          </p:cNvPr>
          <p:cNvSpPr>
            <a:spLocks noGrp="1"/>
          </p:cNvSpPr>
          <p:nvPr>
            <p:ph type="body" sz="quarter" idx="20"/>
          </p:nvPr>
        </p:nvSpPr>
        <p:spPr/>
        <p:txBody>
          <a:bodyPr/>
          <a:lstStyle/>
          <a:p>
            <a:r>
              <a:rPr lang="de-DE" dirty="0"/>
              <a:t>5</a:t>
            </a:r>
          </a:p>
        </p:txBody>
      </p:sp>
      <p:sp>
        <p:nvSpPr>
          <p:cNvPr id="18" name="Textplatzhalter 17">
            <a:extLst>
              <a:ext uri="{FF2B5EF4-FFF2-40B4-BE49-F238E27FC236}">
                <a16:creationId xmlns:a16="http://schemas.microsoft.com/office/drawing/2014/main" id="{AE8C41EE-1F73-561E-C3E4-17D8FD5A765B}"/>
              </a:ext>
            </a:extLst>
          </p:cNvPr>
          <p:cNvSpPr>
            <a:spLocks noGrp="1"/>
          </p:cNvSpPr>
          <p:nvPr>
            <p:ph type="body" sz="quarter" idx="21"/>
          </p:nvPr>
        </p:nvSpPr>
        <p:spPr/>
        <p:txBody>
          <a:bodyPr/>
          <a:lstStyle/>
          <a:p>
            <a:r>
              <a:rPr lang="de-DE" dirty="0"/>
              <a:t>Hier steht der Kapitelname.</a:t>
            </a:r>
          </a:p>
        </p:txBody>
      </p:sp>
      <p:sp>
        <p:nvSpPr>
          <p:cNvPr id="19" name="Textplatzhalter 18">
            <a:extLst>
              <a:ext uri="{FF2B5EF4-FFF2-40B4-BE49-F238E27FC236}">
                <a16:creationId xmlns:a16="http://schemas.microsoft.com/office/drawing/2014/main" id="{0CE3AC06-5B2C-FB0E-EA5E-337CA87BAB45}"/>
              </a:ext>
            </a:extLst>
          </p:cNvPr>
          <p:cNvSpPr>
            <a:spLocks noGrp="1"/>
          </p:cNvSpPr>
          <p:nvPr>
            <p:ph type="body" sz="quarter" idx="22"/>
          </p:nvPr>
        </p:nvSpPr>
        <p:spPr/>
        <p:txBody>
          <a:bodyPr/>
          <a:lstStyle/>
          <a:p>
            <a:r>
              <a:rPr lang="de-DE" dirty="0"/>
              <a:t>6</a:t>
            </a:r>
          </a:p>
        </p:txBody>
      </p:sp>
      <p:sp>
        <p:nvSpPr>
          <p:cNvPr id="59" name="Textplatzhalter 58">
            <a:extLst>
              <a:ext uri="{FF2B5EF4-FFF2-40B4-BE49-F238E27FC236}">
                <a16:creationId xmlns:a16="http://schemas.microsoft.com/office/drawing/2014/main" id="{994D6C52-EC8A-E87F-497E-F40D28B7AB44}"/>
              </a:ext>
            </a:extLst>
          </p:cNvPr>
          <p:cNvSpPr>
            <a:spLocks noGrp="1"/>
          </p:cNvSpPr>
          <p:nvPr>
            <p:ph type="body" sz="quarter" idx="23"/>
          </p:nvPr>
        </p:nvSpPr>
        <p:spPr/>
        <p:txBody>
          <a:bodyPr/>
          <a:lstStyle/>
          <a:p>
            <a:endParaRPr lang="de-DE"/>
          </a:p>
        </p:txBody>
      </p:sp>
      <p:sp>
        <p:nvSpPr>
          <p:cNvPr id="4" name="Datumsplatzhalter 3">
            <a:extLst>
              <a:ext uri="{FF2B5EF4-FFF2-40B4-BE49-F238E27FC236}">
                <a16:creationId xmlns:a16="http://schemas.microsoft.com/office/drawing/2014/main" id="{1038C874-AE9C-88F1-9F39-BAD20826B628}"/>
              </a:ext>
            </a:extLst>
          </p:cNvPr>
          <p:cNvSpPr>
            <a:spLocks noGrp="1"/>
          </p:cNvSpPr>
          <p:nvPr>
            <p:ph type="dt" sz="half" idx="2"/>
          </p:nvPr>
        </p:nvSpPr>
        <p:spPr/>
        <p:txBody>
          <a:bodyPr/>
          <a:lstStyle/>
          <a:p>
            <a:r>
              <a:rPr lang="de-DE"/>
              <a:t>02.08.2024</a:t>
            </a:r>
            <a:endParaRPr lang="de-DE" dirty="0"/>
          </a:p>
        </p:txBody>
      </p:sp>
      <p:sp>
        <p:nvSpPr>
          <p:cNvPr id="5" name="Fußzeilenplatzhalter 4">
            <a:extLst>
              <a:ext uri="{FF2B5EF4-FFF2-40B4-BE49-F238E27FC236}">
                <a16:creationId xmlns:a16="http://schemas.microsoft.com/office/drawing/2014/main" id="{FDF3A415-78D1-6A01-85A1-1F9C5AB6500E}"/>
              </a:ext>
            </a:extLst>
          </p:cNvPr>
          <p:cNvSpPr>
            <a:spLocks noGrp="1"/>
          </p:cNvSpPr>
          <p:nvPr>
            <p:ph type="ftr" sz="quarter" idx="3"/>
          </p:nvPr>
        </p:nvSpPr>
        <p:spPr/>
        <p:txBody>
          <a:bodyPr/>
          <a:lstStyle/>
          <a:p>
            <a:r>
              <a:rPr lang="de-DE"/>
              <a:t>PowerPoint Folienmaster</a:t>
            </a:r>
            <a:endParaRPr lang="de-DE" dirty="0"/>
          </a:p>
        </p:txBody>
      </p:sp>
      <p:sp>
        <p:nvSpPr>
          <p:cNvPr id="6" name="Foliennummernplatzhalter 5">
            <a:extLst>
              <a:ext uri="{FF2B5EF4-FFF2-40B4-BE49-F238E27FC236}">
                <a16:creationId xmlns:a16="http://schemas.microsoft.com/office/drawing/2014/main" id="{87CA8221-ADDE-4A13-DB37-5F53D0ED3B1F}"/>
              </a:ext>
            </a:extLst>
          </p:cNvPr>
          <p:cNvSpPr>
            <a:spLocks noGrp="1"/>
          </p:cNvSpPr>
          <p:nvPr>
            <p:ph type="sldNum" sz="quarter" idx="4"/>
          </p:nvPr>
        </p:nvSpPr>
        <p:spPr/>
        <p:txBody>
          <a:bodyPr/>
          <a:lstStyle/>
          <a:p>
            <a:fld id="{E84006A6-0E15-460A-BCD4-002C20F8AC9F}" type="slidenum">
              <a:rPr lang="de-DE" smtClean="0"/>
              <a:pPr/>
              <a:t>9</a:t>
            </a:fld>
            <a:endParaRPr lang="de-DE"/>
          </a:p>
        </p:txBody>
      </p:sp>
    </p:spTree>
    <p:extLst>
      <p:ext uri="{BB962C8B-B14F-4D97-AF65-F5344CB8AC3E}">
        <p14:creationId xmlns:p14="http://schemas.microsoft.com/office/powerpoint/2010/main" val="14432330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A548B02-730D-54C5-6DD4-6D38F3FE095F}"/>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94A18F6-81D7-5C41-433D-DC60B248EC4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5FB52976-CB1E-E52F-1C74-985F8EE46D2D}"/>
              </a:ext>
            </a:extLst>
          </p:cNvPr>
          <p:cNvSpPr>
            <a:spLocks noGrp="1"/>
          </p:cNvSpPr>
          <p:nvPr>
            <p:ph type="sldNum" sz="quarter" idx="12"/>
          </p:nvPr>
        </p:nvSpPr>
        <p:spPr/>
        <p:txBody>
          <a:bodyPr/>
          <a:lstStyle/>
          <a:p>
            <a:fld id="{E84006A6-0E15-460A-BCD4-002C20F8AC9F}" type="slidenum">
              <a:rPr lang="de-DE" smtClean="0"/>
              <a:pPr/>
              <a:t>90</a:t>
            </a:fld>
            <a:endParaRPr lang="de-DE"/>
          </a:p>
        </p:txBody>
      </p:sp>
      <p:sp>
        <p:nvSpPr>
          <p:cNvPr id="5" name="Titel 4">
            <a:extLst>
              <a:ext uri="{FF2B5EF4-FFF2-40B4-BE49-F238E27FC236}">
                <a16:creationId xmlns:a16="http://schemas.microsoft.com/office/drawing/2014/main" id="{85F1B63C-4F1D-DDF9-7400-3035DB8764FC}"/>
              </a:ext>
            </a:extLst>
          </p:cNvPr>
          <p:cNvSpPr>
            <a:spLocks noGrp="1"/>
          </p:cNvSpPr>
          <p:nvPr>
            <p:ph type="title"/>
          </p:nvPr>
        </p:nvSpPr>
        <p:spPr/>
        <p:txBody>
          <a:bodyPr/>
          <a:lstStyle/>
          <a:p>
            <a:r>
              <a:rPr lang="de-DE" dirty="0"/>
              <a:t>Farbpalette</a:t>
            </a:r>
            <a:br>
              <a:rPr lang="de-DE" dirty="0"/>
            </a:br>
            <a:r>
              <a:rPr lang="de-DE" dirty="0"/>
              <a:t>Unsere Primärfarben mit Abstufung</a:t>
            </a:r>
          </a:p>
        </p:txBody>
      </p:sp>
      <p:grpSp>
        <p:nvGrpSpPr>
          <p:cNvPr id="8" name="Gruppieren 7">
            <a:extLst>
              <a:ext uri="{FF2B5EF4-FFF2-40B4-BE49-F238E27FC236}">
                <a16:creationId xmlns:a16="http://schemas.microsoft.com/office/drawing/2014/main" id="{13A5C35C-C83F-3740-86A4-11B14EC2B663}"/>
              </a:ext>
            </a:extLst>
          </p:cNvPr>
          <p:cNvGrpSpPr/>
          <p:nvPr/>
        </p:nvGrpSpPr>
        <p:grpSpPr>
          <a:xfrm>
            <a:off x="515938" y="1777944"/>
            <a:ext cx="11160125" cy="1239189"/>
            <a:chOff x="515938" y="1945784"/>
            <a:chExt cx="11160125" cy="1239189"/>
          </a:xfrm>
        </p:grpSpPr>
        <p:sp>
          <p:nvSpPr>
            <p:cNvPr id="9" name="Rechteck 8">
              <a:extLst>
                <a:ext uri="{FF2B5EF4-FFF2-40B4-BE49-F238E27FC236}">
                  <a16:creationId xmlns:a16="http://schemas.microsoft.com/office/drawing/2014/main" id="{AFDF77E5-8BB3-343F-192A-CFAAFBB52EFF}"/>
                </a:ext>
              </a:extLst>
            </p:cNvPr>
            <p:cNvSpPr/>
            <p:nvPr/>
          </p:nvSpPr>
          <p:spPr>
            <a:xfrm>
              <a:off x="515938" y="1945788"/>
              <a:ext cx="1235365" cy="12353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100%</a:t>
              </a:r>
            </a:p>
          </p:txBody>
        </p:sp>
        <p:sp>
          <p:nvSpPr>
            <p:cNvPr id="10" name="Inhaltsplatzhalter 1">
              <a:extLst>
                <a:ext uri="{FF2B5EF4-FFF2-40B4-BE49-F238E27FC236}">
                  <a16:creationId xmlns:a16="http://schemas.microsoft.com/office/drawing/2014/main" id="{55A10281-83FA-B0E3-874F-90E6B09FC9AC}"/>
                </a:ext>
              </a:extLst>
            </p:cNvPr>
            <p:cNvSpPr txBox="1">
              <a:spLocks/>
            </p:cNvSpPr>
            <p:nvPr/>
          </p:nvSpPr>
          <p:spPr bwMode="gray">
            <a:xfrm>
              <a:off x="1751303" y="2491930"/>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0/51/15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003399</a:t>
              </a:r>
            </a:p>
          </p:txBody>
        </p:sp>
        <p:sp>
          <p:nvSpPr>
            <p:cNvPr id="11" name="Rechteck 10">
              <a:extLst>
                <a:ext uri="{FF2B5EF4-FFF2-40B4-BE49-F238E27FC236}">
                  <a16:creationId xmlns:a16="http://schemas.microsoft.com/office/drawing/2014/main" id="{E4634690-CC77-8D58-3009-74B67740F735}"/>
                </a:ext>
              </a:extLst>
            </p:cNvPr>
            <p:cNvSpPr/>
            <p:nvPr/>
          </p:nvSpPr>
          <p:spPr>
            <a:xfrm>
              <a:off x="2794441" y="1945787"/>
              <a:ext cx="1235365" cy="1235365"/>
            </a:xfrm>
            <a:prstGeom prst="rect">
              <a:avLst/>
            </a:prstGeom>
            <a:solidFill>
              <a:srgbClr val="365D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80%</a:t>
              </a:r>
            </a:p>
          </p:txBody>
        </p:sp>
        <p:sp>
          <p:nvSpPr>
            <p:cNvPr id="12" name="Inhaltsplatzhalter 1">
              <a:extLst>
                <a:ext uri="{FF2B5EF4-FFF2-40B4-BE49-F238E27FC236}">
                  <a16:creationId xmlns:a16="http://schemas.microsoft.com/office/drawing/2014/main" id="{A30E20F6-DFEE-E5B4-EB1E-FF1F76FE545F}"/>
                </a:ext>
              </a:extLst>
            </p:cNvPr>
            <p:cNvSpPr txBox="1">
              <a:spLocks/>
            </p:cNvSpPr>
            <p:nvPr/>
          </p:nvSpPr>
          <p:spPr bwMode="gray">
            <a:xfrm>
              <a:off x="4029806"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54/193/174</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365DAE</a:t>
              </a:r>
            </a:p>
          </p:txBody>
        </p:sp>
        <p:sp>
          <p:nvSpPr>
            <p:cNvPr id="13" name="Rechteck 12">
              <a:extLst>
                <a:ext uri="{FF2B5EF4-FFF2-40B4-BE49-F238E27FC236}">
                  <a16:creationId xmlns:a16="http://schemas.microsoft.com/office/drawing/2014/main" id="{10FC7392-646B-47B2-1817-1FCC89B99C50}"/>
                </a:ext>
              </a:extLst>
            </p:cNvPr>
            <p:cNvSpPr/>
            <p:nvPr/>
          </p:nvSpPr>
          <p:spPr>
            <a:xfrm>
              <a:off x="5072944" y="1945786"/>
              <a:ext cx="1235365" cy="12353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60%</a:t>
              </a:r>
            </a:p>
          </p:txBody>
        </p:sp>
        <p:sp>
          <p:nvSpPr>
            <p:cNvPr id="14" name="Inhaltsplatzhalter 1">
              <a:extLst>
                <a:ext uri="{FF2B5EF4-FFF2-40B4-BE49-F238E27FC236}">
                  <a16:creationId xmlns:a16="http://schemas.microsoft.com/office/drawing/2014/main" id="{FC0BCBA8-BD41-353E-255E-147AB2063927}"/>
                </a:ext>
              </a:extLst>
            </p:cNvPr>
            <p:cNvSpPr txBox="1">
              <a:spLocks/>
            </p:cNvSpPr>
            <p:nvPr/>
          </p:nvSpPr>
          <p:spPr bwMode="gray">
            <a:xfrm>
              <a:off x="6319824"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03/131/191</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6783BF</a:t>
              </a:r>
            </a:p>
          </p:txBody>
        </p:sp>
        <p:sp>
          <p:nvSpPr>
            <p:cNvPr id="15" name="Rechteck 14">
              <a:extLst>
                <a:ext uri="{FF2B5EF4-FFF2-40B4-BE49-F238E27FC236}">
                  <a16:creationId xmlns:a16="http://schemas.microsoft.com/office/drawing/2014/main" id="{5065DCE9-9598-4C9E-1E92-CD9BA18AC485}"/>
                </a:ext>
              </a:extLst>
            </p:cNvPr>
            <p:cNvSpPr/>
            <p:nvPr/>
          </p:nvSpPr>
          <p:spPr>
            <a:xfrm>
              <a:off x="7362962" y="1945785"/>
              <a:ext cx="1235365" cy="1235365"/>
            </a:xfrm>
            <a:prstGeom prst="rect">
              <a:avLst/>
            </a:prstGeom>
            <a:solidFill>
              <a:srgbClr val="9BAED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40%</a:t>
              </a:r>
            </a:p>
          </p:txBody>
        </p:sp>
        <p:sp>
          <p:nvSpPr>
            <p:cNvPr id="16" name="Inhaltsplatzhalter 1">
              <a:extLst>
                <a:ext uri="{FF2B5EF4-FFF2-40B4-BE49-F238E27FC236}">
                  <a16:creationId xmlns:a16="http://schemas.microsoft.com/office/drawing/2014/main" id="{85B03299-A87A-44D4-93D0-F4E6E65056CE}"/>
                </a:ext>
              </a:extLst>
            </p:cNvPr>
            <p:cNvSpPr txBox="1">
              <a:spLocks/>
            </p:cNvSpPr>
            <p:nvPr/>
          </p:nvSpPr>
          <p:spPr bwMode="gray">
            <a:xfrm>
              <a:off x="8598327"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55/174/216</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9BAED8</a:t>
              </a:r>
            </a:p>
          </p:txBody>
        </p:sp>
        <p:sp>
          <p:nvSpPr>
            <p:cNvPr id="17" name="Rechteck 16">
              <a:extLst>
                <a:ext uri="{FF2B5EF4-FFF2-40B4-BE49-F238E27FC236}">
                  <a16:creationId xmlns:a16="http://schemas.microsoft.com/office/drawing/2014/main" id="{991D13BA-176D-87F5-DD9B-6BF00C294A3E}"/>
                </a:ext>
              </a:extLst>
            </p:cNvPr>
            <p:cNvSpPr/>
            <p:nvPr/>
          </p:nvSpPr>
          <p:spPr>
            <a:xfrm>
              <a:off x="9641466" y="1945784"/>
              <a:ext cx="1235365" cy="1235365"/>
            </a:xfrm>
            <a:prstGeom prst="rect">
              <a:avLst/>
            </a:prstGeom>
            <a:solidFill>
              <a:srgbClr val="DAE2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15%</a:t>
              </a:r>
            </a:p>
          </p:txBody>
        </p:sp>
        <p:sp>
          <p:nvSpPr>
            <p:cNvPr id="18" name="Inhaltsplatzhalter 1">
              <a:extLst>
                <a:ext uri="{FF2B5EF4-FFF2-40B4-BE49-F238E27FC236}">
                  <a16:creationId xmlns:a16="http://schemas.microsoft.com/office/drawing/2014/main" id="{1AE8F8A6-0C74-6946-9A18-145DD682A0AB}"/>
                </a:ext>
              </a:extLst>
            </p:cNvPr>
            <p:cNvSpPr txBox="1">
              <a:spLocks/>
            </p:cNvSpPr>
            <p:nvPr/>
          </p:nvSpPr>
          <p:spPr bwMode="gray">
            <a:xfrm>
              <a:off x="10876831"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18/226/241</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DAE2F1</a:t>
              </a:r>
            </a:p>
          </p:txBody>
        </p:sp>
      </p:grpSp>
      <p:grpSp>
        <p:nvGrpSpPr>
          <p:cNvPr id="19" name="Gruppieren 18">
            <a:extLst>
              <a:ext uri="{FF2B5EF4-FFF2-40B4-BE49-F238E27FC236}">
                <a16:creationId xmlns:a16="http://schemas.microsoft.com/office/drawing/2014/main" id="{9358E4DA-3441-1C05-2954-5382C645074B}"/>
              </a:ext>
            </a:extLst>
          </p:cNvPr>
          <p:cNvGrpSpPr/>
          <p:nvPr/>
        </p:nvGrpSpPr>
        <p:grpSpPr>
          <a:xfrm>
            <a:off x="515938" y="3335958"/>
            <a:ext cx="11160125" cy="1239189"/>
            <a:chOff x="515938" y="3411829"/>
            <a:chExt cx="11160125" cy="1239189"/>
          </a:xfrm>
        </p:grpSpPr>
        <p:sp>
          <p:nvSpPr>
            <p:cNvPr id="20" name="Rechteck 19">
              <a:extLst>
                <a:ext uri="{FF2B5EF4-FFF2-40B4-BE49-F238E27FC236}">
                  <a16:creationId xmlns:a16="http://schemas.microsoft.com/office/drawing/2014/main" id="{9183F307-642A-71BB-B685-C73914EE475C}"/>
                </a:ext>
              </a:extLst>
            </p:cNvPr>
            <p:cNvSpPr/>
            <p:nvPr/>
          </p:nvSpPr>
          <p:spPr>
            <a:xfrm>
              <a:off x="515938" y="3411833"/>
              <a:ext cx="1235365" cy="12353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100%</a:t>
              </a:r>
            </a:p>
          </p:txBody>
        </p:sp>
        <p:sp>
          <p:nvSpPr>
            <p:cNvPr id="21" name="Inhaltsplatzhalter 1">
              <a:extLst>
                <a:ext uri="{FF2B5EF4-FFF2-40B4-BE49-F238E27FC236}">
                  <a16:creationId xmlns:a16="http://schemas.microsoft.com/office/drawing/2014/main" id="{85C59305-3CAD-6B89-718F-F86A11A58702}"/>
                </a:ext>
              </a:extLst>
            </p:cNvPr>
            <p:cNvSpPr txBox="1">
              <a:spLocks/>
            </p:cNvSpPr>
            <p:nvPr/>
          </p:nvSpPr>
          <p:spPr bwMode="gray">
            <a:xfrm>
              <a:off x="1751303" y="3957975"/>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55/102/0</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F6600</a:t>
              </a:r>
            </a:p>
          </p:txBody>
        </p:sp>
        <p:sp>
          <p:nvSpPr>
            <p:cNvPr id="22" name="Rechteck 21">
              <a:extLst>
                <a:ext uri="{FF2B5EF4-FFF2-40B4-BE49-F238E27FC236}">
                  <a16:creationId xmlns:a16="http://schemas.microsoft.com/office/drawing/2014/main" id="{25D98018-6769-7952-5E30-1824B88C0300}"/>
                </a:ext>
              </a:extLst>
            </p:cNvPr>
            <p:cNvSpPr/>
            <p:nvPr/>
          </p:nvSpPr>
          <p:spPr>
            <a:xfrm>
              <a:off x="2794441" y="3411832"/>
              <a:ext cx="1235365" cy="1235365"/>
            </a:xfrm>
            <a:prstGeom prst="rect">
              <a:avLst/>
            </a:prstGeom>
            <a:solidFill>
              <a:srgbClr val="FF884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80%</a:t>
              </a:r>
            </a:p>
          </p:txBody>
        </p:sp>
        <p:sp>
          <p:nvSpPr>
            <p:cNvPr id="23" name="Inhaltsplatzhalter 1">
              <a:extLst>
                <a:ext uri="{FF2B5EF4-FFF2-40B4-BE49-F238E27FC236}">
                  <a16:creationId xmlns:a16="http://schemas.microsoft.com/office/drawing/2014/main" id="{47456E73-6B26-5333-90FD-23A05557362C}"/>
                </a:ext>
              </a:extLst>
            </p:cNvPr>
            <p:cNvSpPr txBox="1">
              <a:spLocks/>
            </p:cNvSpPr>
            <p:nvPr/>
          </p:nvSpPr>
          <p:spPr bwMode="gray">
            <a:xfrm>
              <a:off x="4029806"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55/136/74</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F884A</a:t>
              </a:r>
            </a:p>
          </p:txBody>
        </p:sp>
        <p:sp>
          <p:nvSpPr>
            <p:cNvPr id="24" name="Rechteck 23">
              <a:extLst>
                <a:ext uri="{FF2B5EF4-FFF2-40B4-BE49-F238E27FC236}">
                  <a16:creationId xmlns:a16="http://schemas.microsoft.com/office/drawing/2014/main" id="{66146E6F-DFD8-DEAE-3130-DDDEA2F52E2C}"/>
                </a:ext>
              </a:extLst>
            </p:cNvPr>
            <p:cNvSpPr/>
            <p:nvPr/>
          </p:nvSpPr>
          <p:spPr>
            <a:xfrm>
              <a:off x="5072944" y="3411831"/>
              <a:ext cx="1235365" cy="12353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60%</a:t>
              </a:r>
            </a:p>
          </p:txBody>
        </p:sp>
        <p:sp>
          <p:nvSpPr>
            <p:cNvPr id="25" name="Inhaltsplatzhalter 1">
              <a:extLst>
                <a:ext uri="{FF2B5EF4-FFF2-40B4-BE49-F238E27FC236}">
                  <a16:creationId xmlns:a16="http://schemas.microsoft.com/office/drawing/2014/main" id="{95A55784-52A8-E035-623A-AEE3C49D7A87}"/>
                </a:ext>
              </a:extLst>
            </p:cNvPr>
            <p:cNvSpPr txBox="1">
              <a:spLocks/>
            </p:cNvSpPr>
            <p:nvPr/>
          </p:nvSpPr>
          <p:spPr bwMode="gray">
            <a:xfrm>
              <a:off x="6319824"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55/165/121</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FA579</a:t>
              </a:r>
            </a:p>
          </p:txBody>
        </p:sp>
        <p:sp>
          <p:nvSpPr>
            <p:cNvPr id="26" name="Rechteck 25">
              <a:extLst>
                <a:ext uri="{FF2B5EF4-FFF2-40B4-BE49-F238E27FC236}">
                  <a16:creationId xmlns:a16="http://schemas.microsoft.com/office/drawing/2014/main" id="{A0FD7780-E5E7-75A8-A4C0-BA4093CA0D7A}"/>
                </a:ext>
              </a:extLst>
            </p:cNvPr>
            <p:cNvSpPr/>
            <p:nvPr/>
          </p:nvSpPr>
          <p:spPr>
            <a:xfrm>
              <a:off x="7362962" y="3411830"/>
              <a:ext cx="1235365" cy="1235365"/>
            </a:xfrm>
            <a:prstGeom prst="rect">
              <a:avLst/>
            </a:prstGeom>
            <a:solidFill>
              <a:srgbClr val="FFC4A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40%</a:t>
              </a:r>
            </a:p>
          </p:txBody>
        </p:sp>
        <p:sp>
          <p:nvSpPr>
            <p:cNvPr id="27" name="Inhaltsplatzhalter 1">
              <a:extLst>
                <a:ext uri="{FF2B5EF4-FFF2-40B4-BE49-F238E27FC236}">
                  <a16:creationId xmlns:a16="http://schemas.microsoft.com/office/drawing/2014/main" id="{08D48441-1A3D-BEBE-2AD5-6930ED3F2AEF}"/>
                </a:ext>
              </a:extLst>
            </p:cNvPr>
            <p:cNvSpPr txBox="1">
              <a:spLocks/>
            </p:cNvSpPr>
            <p:nvPr/>
          </p:nvSpPr>
          <p:spPr bwMode="gray">
            <a:xfrm>
              <a:off x="8598327"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55/196/167</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FC4A7</a:t>
              </a:r>
            </a:p>
          </p:txBody>
        </p:sp>
        <p:sp>
          <p:nvSpPr>
            <p:cNvPr id="28" name="Rechteck 27">
              <a:extLst>
                <a:ext uri="{FF2B5EF4-FFF2-40B4-BE49-F238E27FC236}">
                  <a16:creationId xmlns:a16="http://schemas.microsoft.com/office/drawing/2014/main" id="{14D5C241-C422-585F-8C91-21E35FD41525}"/>
                </a:ext>
              </a:extLst>
            </p:cNvPr>
            <p:cNvSpPr/>
            <p:nvPr/>
          </p:nvSpPr>
          <p:spPr>
            <a:xfrm>
              <a:off x="9641466" y="3411829"/>
              <a:ext cx="1235365" cy="1235365"/>
            </a:xfrm>
            <a:prstGeom prst="rect">
              <a:avLst/>
            </a:prstGeom>
            <a:solidFill>
              <a:srgbClr val="FFE9D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15%</a:t>
              </a:r>
            </a:p>
          </p:txBody>
        </p:sp>
        <p:sp>
          <p:nvSpPr>
            <p:cNvPr id="29" name="Inhaltsplatzhalter 1">
              <a:extLst>
                <a:ext uri="{FF2B5EF4-FFF2-40B4-BE49-F238E27FC236}">
                  <a16:creationId xmlns:a16="http://schemas.microsoft.com/office/drawing/2014/main" id="{D040B7B8-506D-83C2-39C6-BBA6C9A8C184}"/>
                </a:ext>
              </a:extLst>
            </p:cNvPr>
            <p:cNvSpPr txBox="1">
              <a:spLocks/>
            </p:cNvSpPr>
            <p:nvPr/>
          </p:nvSpPr>
          <p:spPr bwMode="gray">
            <a:xfrm>
              <a:off x="10876831"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55/233/22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FE9DF</a:t>
              </a:r>
            </a:p>
          </p:txBody>
        </p:sp>
      </p:grpSp>
      <p:grpSp>
        <p:nvGrpSpPr>
          <p:cNvPr id="30" name="Gruppieren 29">
            <a:extLst>
              <a:ext uri="{FF2B5EF4-FFF2-40B4-BE49-F238E27FC236}">
                <a16:creationId xmlns:a16="http://schemas.microsoft.com/office/drawing/2014/main" id="{51CB24A4-B60B-C025-A727-A10480D966E4}"/>
              </a:ext>
            </a:extLst>
          </p:cNvPr>
          <p:cNvGrpSpPr/>
          <p:nvPr/>
        </p:nvGrpSpPr>
        <p:grpSpPr>
          <a:xfrm>
            <a:off x="515938" y="4893973"/>
            <a:ext cx="11160125" cy="1235369"/>
            <a:chOff x="515938" y="4893973"/>
            <a:chExt cx="11160125" cy="1235369"/>
          </a:xfrm>
        </p:grpSpPr>
        <p:sp>
          <p:nvSpPr>
            <p:cNvPr id="31" name="Rechteck 30">
              <a:extLst>
                <a:ext uri="{FF2B5EF4-FFF2-40B4-BE49-F238E27FC236}">
                  <a16:creationId xmlns:a16="http://schemas.microsoft.com/office/drawing/2014/main" id="{6B2B2F7A-E921-8EC3-EBBB-1972464C488C}"/>
                </a:ext>
              </a:extLst>
            </p:cNvPr>
            <p:cNvSpPr/>
            <p:nvPr/>
          </p:nvSpPr>
          <p:spPr>
            <a:xfrm>
              <a:off x="515938" y="4893977"/>
              <a:ext cx="1235365" cy="1235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100%</a:t>
              </a:r>
            </a:p>
          </p:txBody>
        </p:sp>
        <p:sp>
          <p:nvSpPr>
            <p:cNvPr id="32" name="Inhaltsplatzhalter 1">
              <a:extLst>
                <a:ext uri="{FF2B5EF4-FFF2-40B4-BE49-F238E27FC236}">
                  <a16:creationId xmlns:a16="http://schemas.microsoft.com/office/drawing/2014/main" id="{FF657DA9-2493-4245-0ED7-A281AE687442}"/>
                </a:ext>
              </a:extLst>
            </p:cNvPr>
            <p:cNvSpPr txBox="1">
              <a:spLocks/>
            </p:cNvSpPr>
            <p:nvPr/>
          </p:nvSpPr>
          <p:spPr bwMode="gray">
            <a:xfrm>
              <a:off x="1751303" y="5436295"/>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02/102/10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666666</a:t>
              </a:r>
            </a:p>
          </p:txBody>
        </p:sp>
        <p:sp>
          <p:nvSpPr>
            <p:cNvPr id="33" name="Rechteck 32">
              <a:extLst>
                <a:ext uri="{FF2B5EF4-FFF2-40B4-BE49-F238E27FC236}">
                  <a16:creationId xmlns:a16="http://schemas.microsoft.com/office/drawing/2014/main" id="{10266DC9-041D-B873-ABDE-F80221FC07F7}"/>
                </a:ext>
              </a:extLst>
            </p:cNvPr>
            <p:cNvSpPr/>
            <p:nvPr/>
          </p:nvSpPr>
          <p:spPr>
            <a:xfrm>
              <a:off x="2794441" y="4893976"/>
              <a:ext cx="1235365" cy="1235365"/>
            </a:xfrm>
            <a:prstGeom prst="rect">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80%</a:t>
              </a:r>
            </a:p>
          </p:txBody>
        </p:sp>
        <p:sp>
          <p:nvSpPr>
            <p:cNvPr id="34" name="Inhaltsplatzhalter 1">
              <a:extLst>
                <a:ext uri="{FF2B5EF4-FFF2-40B4-BE49-F238E27FC236}">
                  <a16:creationId xmlns:a16="http://schemas.microsoft.com/office/drawing/2014/main" id="{1275132A-6736-233C-A4CE-5721B0C4D700}"/>
                </a:ext>
              </a:extLst>
            </p:cNvPr>
            <p:cNvSpPr txBox="1">
              <a:spLocks/>
            </p:cNvSpPr>
            <p:nvPr/>
          </p:nvSpPr>
          <p:spPr bwMode="gray">
            <a:xfrm>
              <a:off x="4029806" y="544040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33/133/13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858585</a:t>
              </a:r>
            </a:p>
          </p:txBody>
        </p:sp>
        <p:sp>
          <p:nvSpPr>
            <p:cNvPr id="35" name="Rechteck 34">
              <a:extLst>
                <a:ext uri="{FF2B5EF4-FFF2-40B4-BE49-F238E27FC236}">
                  <a16:creationId xmlns:a16="http://schemas.microsoft.com/office/drawing/2014/main" id="{32492498-264B-AB40-9146-E184131413F5}"/>
                </a:ext>
              </a:extLst>
            </p:cNvPr>
            <p:cNvSpPr/>
            <p:nvPr/>
          </p:nvSpPr>
          <p:spPr>
            <a:xfrm>
              <a:off x="5072944" y="4893975"/>
              <a:ext cx="1235365" cy="1235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60%</a:t>
              </a:r>
            </a:p>
          </p:txBody>
        </p:sp>
        <p:sp>
          <p:nvSpPr>
            <p:cNvPr id="36" name="Inhaltsplatzhalter 1">
              <a:extLst>
                <a:ext uri="{FF2B5EF4-FFF2-40B4-BE49-F238E27FC236}">
                  <a16:creationId xmlns:a16="http://schemas.microsoft.com/office/drawing/2014/main" id="{3E7F4899-A52D-F7F9-DCBB-64F2D10F6406}"/>
                </a:ext>
              </a:extLst>
            </p:cNvPr>
            <p:cNvSpPr txBox="1">
              <a:spLocks/>
            </p:cNvSpPr>
            <p:nvPr/>
          </p:nvSpPr>
          <p:spPr bwMode="gray">
            <a:xfrm>
              <a:off x="6319824" y="544040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63/163/16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A3A3A3</a:t>
              </a:r>
            </a:p>
          </p:txBody>
        </p:sp>
        <p:sp>
          <p:nvSpPr>
            <p:cNvPr id="37" name="Rechteck 36">
              <a:extLst>
                <a:ext uri="{FF2B5EF4-FFF2-40B4-BE49-F238E27FC236}">
                  <a16:creationId xmlns:a16="http://schemas.microsoft.com/office/drawing/2014/main" id="{7F3804DF-9044-643D-5A8B-8A35805AFCA2}"/>
                </a:ext>
              </a:extLst>
            </p:cNvPr>
            <p:cNvSpPr/>
            <p:nvPr/>
          </p:nvSpPr>
          <p:spPr>
            <a:xfrm>
              <a:off x="7362962" y="4893974"/>
              <a:ext cx="1235365" cy="1235365"/>
            </a:xfrm>
            <a:prstGeom prst="rect">
              <a:avLst/>
            </a:prstGeom>
            <a:solidFill>
              <a:srgbClr val="C2C2C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40%</a:t>
              </a:r>
            </a:p>
          </p:txBody>
        </p:sp>
        <p:sp>
          <p:nvSpPr>
            <p:cNvPr id="38" name="Inhaltsplatzhalter 1">
              <a:extLst>
                <a:ext uri="{FF2B5EF4-FFF2-40B4-BE49-F238E27FC236}">
                  <a16:creationId xmlns:a16="http://schemas.microsoft.com/office/drawing/2014/main" id="{818962B0-F98F-D389-A765-22969C6AC30E}"/>
                </a:ext>
              </a:extLst>
            </p:cNvPr>
            <p:cNvSpPr txBox="1">
              <a:spLocks/>
            </p:cNvSpPr>
            <p:nvPr/>
          </p:nvSpPr>
          <p:spPr bwMode="gray">
            <a:xfrm>
              <a:off x="8598327" y="544040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94/194/194</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C2C2C2</a:t>
              </a:r>
            </a:p>
          </p:txBody>
        </p:sp>
        <p:sp>
          <p:nvSpPr>
            <p:cNvPr id="39" name="Rechteck 38">
              <a:extLst>
                <a:ext uri="{FF2B5EF4-FFF2-40B4-BE49-F238E27FC236}">
                  <a16:creationId xmlns:a16="http://schemas.microsoft.com/office/drawing/2014/main" id="{F442958B-BDA9-D2AF-A98E-41B6657E4ACD}"/>
                </a:ext>
              </a:extLst>
            </p:cNvPr>
            <p:cNvSpPr/>
            <p:nvPr/>
          </p:nvSpPr>
          <p:spPr>
            <a:xfrm>
              <a:off x="9641466" y="4893973"/>
              <a:ext cx="1235365" cy="123536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15%</a:t>
              </a:r>
            </a:p>
          </p:txBody>
        </p:sp>
        <p:sp>
          <p:nvSpPr>
            <p:cNvPr id="40" name="Inhaltsplatzhalter 1">
              <a:extLst>
                <a:ext uri="{FF2B5EF4-FFF2-40B4-BE49-F238E27FC236}">
                  <a16:creationId xmlns:a16="http://schemas.microsoft.com/office/drawing/2014/main" id="{50E05A9E-14EF-F20B-E805-FBE9F4263275}"/>
                </a:ext>
              </a:extLst>
            </p:cNvPr>
            <p:cNvSpPr txBox="1">
              <a:spLocks/>
            </p:cNvSpPr>
            <p:nvPr/>
          </p:nvSpPr>
          <p:spPr bwMode="gray">
            <a:xfrm>
              <a:off x="10876831" y="544040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32/232/23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E8E8E8</a:t>
              </a:r>
            </a:p>
          </p:txBody>
        </p:sp>
      </p:grpSp>
    </p:spTree>
    <p:extLst>
      <p:ext uri="{BB962C8B-B14F-4D97-AF65-F5344CB8AC3E}">
        <p14:creationId xmlns:p14="http://schemas.microsoft.com/office/powerpoint/2010/main" val="42379707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A548B02-730D-54C5-6DD4-6D38F3FE095F}"/>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94A18F6-81D7-5C41-433D-DC60B248EC4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5FB52976-CB1E-E52F-1C74-985F8EE46D2D}"/>
              </a:ext>
            </a:extLst>
          </p:cNvPr>
          <p:cNvSpPr>
            <a:spLocks noGrp="1"/>
          </p:cNvSpPr>
          <p:nvPr>
            <p:ph type="sldNum" sz="quarter" idx="12"/>
          </p:nvPr>
        </p:nvSpPr>
        <p:spPr/>
        <p:txBody>
          <a:bodyPr/>
          <a:lstStyle/>
          <a:p>
            <a:fld id="{E84006A6-0E15-460A-BCD4-002C20F8AC9F}" type="slidenum">
              <a:rPr lang="de-DE" smtClean="0"/>
              <a:pPr/>
              <a:t>91</a:t>
            </a:fld>
            <a:endParaRPr lang="de-DE"/>
          </a:p>
        </p:txBody>
      </p:sp>
      <p:sp>
        <p:nvSpPr>
          <p:cNvPr id="5" name="Titel 4">
            <a:extLst>
              <a:ext uri="{FF2B5EF4-FFF2-40B4-BE49-F238E27FC236}">
                <a16:creationId xmlns:a16="http://schemas.microsoft.com/office/drawing/2014/main" id="{85F1B63C-4F1D-DDF9-7400-3035DB8764FC}"/>
              </a:ext>
            </a:extLst>
          </p:cNvPr>
          <p:cNvSpPr>
            <a:spLocks noGrp="1"/>
          </p:cNvSpPr>
          <p:nvPr>
            <p:ph type="title"/>
          </p:nvPr>
        </p:nvSpPr>
        <p:spPr/>
        <p:txBody>
          <a:bodyPr/>
          <a:lstStyle/>
          <a:p>
            <a:r>
              <a:rPr lang="de-DE" dirty="0"/>
              <a:t>Farbpalette</a:t>
            </a:r>
            <a:br>
              <a:rPr lang="de-DE" dirty="0"/>
            </a:br>
            <a:r>
              <a:rPr lang="de-DE" dirty="0"/>
              <a:t>Unsere Dachmarken-Kampagnenfarben</a:t>
            </a:r>
          </a:p>
        </p:txBody>
      </p:sp>
      <p:grpSp>
        <p:nvGrpSpPr>
          <p:cNvPr id="6" name="Gruppieren 5">
            <a:extLst>
              <a:ext uri="{FF2B5EF4-FFF2-40B4-BE49-F238E27FC236}">
                <a16:creationId xmlns:a16="http://schemas.microsoft.com/office/drawing/2014/main" id="{1FCC3087-045A-1430-ACEA-0148BB0D2117}"/>
              </a:ext>
            </a:extLst>
          </p:cNvPr>
          <p:cNvGrpSpPr/>
          <p:nvPr/>
        </p:nvGrpSpPr>
        <p:grpSpPr>
          <a:xfrm>
            <a:off x="515938" y="1777944"/>
            <a:ext cx="11160125" cy="1239189"/>
            <a:chOff x="515938" y="1945784"/>
            <a:chExt cx="11160125" cy="1239189"/>
          </a:xfrm>
        </p:grpSpPr>
        <p:sp>
          <p:nvSpPr>
            <p:cNvPr id="7" name="Rechteck 6">
              <a:extLst>
                <a:ext uri="{FF2B5EF4-FFF2-40B4-BE49-F238E27FC236}">
                  <a16:creationId xmlns:a16="http://schemas.microsoft.com/office/drawing/2014/main" id="{ED93D9C2-4502-41CB-7671-11F66FA4048C}"/>
                </a:ext>
              </a:extLst>
            </p:cNvPr>
            <p:cNvSpPr/>
            <p:nvPr/>
          </p:nvSpPr>
          <p:spPr>
            <a:xfrm>
              <a:off x="515938" y="1945788"/>
              <a:ext cx="1235365" cy="1235365"/>
            </a:xfrm>
            <a:prstGeom prst="rect">
              <a:avLst/>
            </a:prstGeom>
            <a:solidFill>
              <a:srgbClr val="C7D53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tx1"/>
                  </a:solidFill>
                </a:rPr>
                <a:t>100%</a:t>
              </a:r>
            </a:p>
          </p:txBody>
        </p:sp>
        <p:sp>
          <p:nvSpPr>
            <p:cNvPr id="41" name="Inhaltsplatzhalter 1">
              <a:extLst>
                <a:ext uri="{FF2B5EF4-FFF2-40B4-BE49-F238E27FC236}">
                  <a16:creationId xmlns:a16="http://schemas.microsoft.com/office/drawing/2014/main" id="{C514BA4C-616B-74D8-CB1F-242FD2F2402A}"/>
                </a:ext>
              </a:extLst>
            </p:cNvPr>
            <p:cNvSpPr txBox="1">
              <a:spLocks/>
            </p:cNvSpPr>
            <p:nvPr/>
          </p:nvSpPr>
          <p:spPr bwMode="gray">
            <a:xfrm>
              <a:off x="1751303" y="2491930"/>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99/213/48</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C7D530</a:t>
              </a:r>
            </a:p>
          </p:txBody>
        </p:sp>
        <p:sp>
          <p:nvSpPr>
            <p:cNvPr id="42" name="Rechteck 41">
              <a:extLst>
                <a:ext uri="{FF2B5EF4-FFF2-40B4-BE49-F238E27FC236}">
                  <a16:creationId xmlns:a16="http://schemas.microsoft.com/office/drawing/2014/main" id="{CD18AC2B-8F27-51F7-D8AE-01B12604D372}"/>
                </a:ext>
              </a:extLst>
            </p:cNvPr>
            <p:cNvSpPr/>
            <p:nvPr/>
          </p:nvSpPr>
          <p:spPr>
            <a:xfrm>
              <a:off x="2794441" y="1945787"/>
              <a:ext cx="1235365" cy="1235365"/>
            </a:xfrm>
            <a:prstGeom prst="rect">
              <a:avLst/>
            </a:prstGeom>
            <a:solidFill>
              <a:srgbClr val="D2DD5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tx1"/>
                  </a:solidFill>
                </a:rPr>
                <a:t>80%</a:t>
              </a:r>
            </a:p>
          </p:txBody>
        </p:sp>
        <p:sp>
          <p:nvSpPr>
            <p:cNvPr id="43" name="Inhaltsplatzhalter 1">
              <a:extLst>
                <a:ext uri="{FF2B5EF4-FFF2-40B4-BE49-F238E27FC236}">
                  <a16:creationId xmlns:a16="http://schemas.microsoft.com/office/drawing/2014/main" id="{2FD3E0B1-B3FE-8E4F-2D92-30A4A31B4494}"/>
                </a:ext>
              </a:extLst>
            </p:cNvPr>
            <p:cNvSpPr txBox="1">
              <a:spLocks/>
            </p:cNvSpPr>
            <p:nvPr/>
          </p:nvSpPr>
          <p:spPr bwMode="gray">
            <a:xfrm>
              <a:off x="4029806"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a:t>
              </a:r>
              <a:r>
                <a:rPr lang="en-US" sz="900" dirty="0">
                  <a:solidFill>
                    <a:schemeClr val="accent3"/>
                  </a:solidFill>
                  <a:latin typeface="NeueHaasGroteskText Pro" panose="020B0504020202020204" pitchFamily="34" charset="77"/>
                </a:rPr>
                <a:t>210</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221/89</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365DAE</a:t>
              </a:r>
            </a:p>
          </p:txBody>
        </p:sp>
        <p:sp>
          <p:nvSpPr>
            <p:cNvPr id="44" name="Rechteck 43">
              <a:extLst>
                <a:ext uri="{FF2B5EF4-FFF2-40B4-BE49-F238E27FC236}">
                  <a16:creationId xmlns:a16="http://schemas.microsoft.com/office/drawing/2014/main" id="{C3037C20-D979-A4EF-4E43-DCC5483AA601}"/>
                </a:ext>
              </a:extLst>
            </p:cNvPr>
            <p:cNvSpPr/>
            <p:nvPr/>
          </p:nvSpPr>
          <p:spPr>
            <a:xfrm>
              <a:off x="5072944" y="1945786"/>
              <a:ext cx="1235365" cy="1235365"/>
            </a:xfrm>
            <a:prstGeom prst="rect">
              <a:avLst/>
            </a:prstGeom>
            <a:solidFill>
              <a:srgbClr val="DDE68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tx1"/>
                  </a:solidFill>
                </a:rPr>
                <a:t>60%</a:t>
              </a:r>
            </a:p>
          </p:txBody>
        </p:sp>
        <p:sp>
          <p:nvSpPr>
            <p:cNvPr id="45" name="Inhaltsplatzhalter 1">
              <a:extLst>
                <a:ext uri="{FF2B5EF4-FFF2-40B4-BE49-F238E27FC236}">
                  <a16:creationId xmlns:a16="http://schemas.microsoft.com/office/drawing/2014/main" id="{B5B281B3-C127-241C-D415-B5BD1496DCF4}"/>
                </a:ext>
              </a:extLst>
            </p:cNvPr>
            <p:cNvSpPr txBox="1">
              <a:spLocks/>
            </p:cNvSpPr>
            <p:nvPr/>
          </p:nvSpPr>
          <p:spPr bwMode="gray">
            <a:xfrm>
              <a:off x="6319824"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a:t>
              </a:r>
              <a:r>
                <a:rPr lang="en-US" sz="900" dirty="0">
                  <a:solidFill>
                    <a:schemeClr val="accent3"/>
                  </a:solidFill>
                  <a:latin typeface="NeueHaasGroteskText Pro" panose="020B0504020202020204" pitchFamily="34" charset="77"/>
                </a:rPr>
                <a:t>221</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230/131</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DDE683</a:t>
              </a:r>
            </a:p>
          </p:txBody>
        </p:sp>
        <p:sp>
          <p:nvSpPr>
            <p:cNvPr id="46" name="Rechteck 45">
              <a:extLst>
                <a:ext uri="{FF2B5EF4-FFF2-40B4-BE49-F238E27FC236}">
                  <a16:creationId xmlns:a16="http://schemas.microsoft.com/office/drawing/2014/main" id="{39AD2747-273D-3EC4-3C0F-5441F754AF8D}"/>
                </a:ext>
              </a:extLst>
            </p:cNvPr>
            <p:cNvSpPr/>
            <p:nvPr/>
          </p:nvSpPr>
          <p:spPr>
            <a:xfrm>
              <a:off x="7362962" y="1945785"/>
              <a:ext cx="1235365" cy="1235365"/>
            </a:xfrm>
            <a:prstGeom prst="rect">
              <a:avLst/>
            </a:prstGeom>
            <a:solidFill>
              <a:srgbClr val="E9EEA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40%</a:t>
              </a:r>
            </a:p>
          </p:txBody>
        </p:sp>
        <p:sp>
          <p:nvSpPr>
            <p:cNvPr id="47" name="Inhaltsplatzhalter 1">
              <a:extLst>
                <a:ext uri="{FF2B5EF4-FFF2-40B4-BE49-F238E27FC236}">
                  <a16:creationId xmlns:a16="http://schemas.microsoft.com/office/drawing/2014/main" id="{94251625-1ECA-74A7-ABF9-3C4DED10DE0F}"/>
                </a:ext>
              </a:extLst>
            </p:cNvPr>
            <p:cNvSpPr txBox="1">
              <a:spLocks/>
            </p:cNvSpPr>
            <p:nvPr/>
          </p:nvSpPr>
          <p:spPr bwMode="gray">
            <a:xfrm>
              <a:off x="8598327"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33/238/17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E9EEAC</a:t>
              </a:r>
            </a:p>
          </p:txBody>
        </p:sp>
        <p:sp>
          <p:nvSpPr>
            <p:cNvPr id="48" name="Rechteck 47">
              <a:extLst>
                <a:ext uri="{FF2B5EF4-FFF2-40B4-BE49-F238E27FC236}">
                  <a16:creationId xmlns:a16="http://schemas.microsoft.com/office/drawing/2014/main" id="{2A0006B6-3AFB-1317-793C-2E4A99CD5102}"/>
                </a:ext>
              </a:extLst>
            </p:cNvPr>
            <p:cNvSpPr/>
            <p:nvPr/>
          </p:nvSpPr>
          <p:spPr>
            <a:xfrm>
              <a:off x="9641466" y="1945784"/>
              <a:ext cx="1235365" cy="1235365"/>
            </a:xfrm>
            <a:prstGeom prst="rect">
              <a:avLst/>
            </a:prstGeom>
            <a:solidFill>
              <a:srgbClr val="F7F9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15%</a:t>
              </a:r>
            </a:p>
          </p:txBody>
        </p:sp>
        <p:sp>
          <p:nvSpPr>
            <p:cNvPr id="49" name="Inhaltsplatzhalter 1">
              <a:extLst>
                <a:ext uri="{FF2B5EF4-FFF2-40B4-BE49-F238E27FC236}">
                  <a16:creationId xmlns:a16="http://schemas.microsoft.com/office/drawing/2014/main" id="{39A34FCB-C843-970A-EC86-D41312015021}"/>
                </a:ext>
              </a:extLst>
            </p:cNvPr>
            <p:cNvSpPr txBox="1">
              <a:spLocks/>
            </p:cNvSpPr>
            <p:nvPr/>
          </p:nvSpPr>
          <p:spPr bwMode="gray">
            <a:xfrm>
              <a:off x="10876831" y="249604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47/249/224</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F7F9E0</a:t>
              </a:r>
            </a:p>
          </p:txBody>
        </p:sp>
      </p:grpSp>
      <p:grpSp>
        <p:nvGrpSpPr>
          <p:cNvPr id="50" name="Gruppieren 49">
            <a:extLst>
              <a:ext uri="{FF2B5EF4-FFF2-40B4-BE49-F238E27FC236}">
                <a16:creationId xmlns:a16="http://schemas.microsoft.com/office/drawing/2014/main" id="{34A15D82-7114-8218-7B40-5A2251FBB950}"/>
              </a:ext>
            </a:extLst>
          </p:cNvPr>
          <p:cNvGrpSpPr/>
          <p:nvPr/>
        </p:nvGrpSpPr>
        <p:grpSpPr>
          <a:xfrm>
            <a:off x="515938" y="3335958"/>
            <a:ext cx="11160125" cy="1239189"/>
            <a:chOff x="515938" y="3411829"/>
            <a:chExt cx="11160125" cy="1239189"/>
          </a:xfrm>
        </p:grpSpPr>
        <p:sp>
          <p:nvSpPr>
            <p:cNvPr id="51" name="Rechteck 50">
              <a:extLst>
                <a:ext uri="{FF2B5EF4-FFF2-40B4-BE49-F238E27FC236}">
                  <a16:creationId xmlns:a16="http://schemas.microsoft.com/office/drawing/2014/main" id="{5A3D3062-AC90-B3F7-6307-D3F6E942791E}"/>
                </a:ext>
              </a:extLst>
            </p:cNvPr>
            <p:cNvSpPr/>
            <p:nvPr/>
          </p:nvSpPr>
          <p:spPr>
            <a:xfrm>
              <a:off x="515938" y="3411833"/>
              <a:ext cx="1235365" cy="1235365"/>
            </a:xfrm>
            <a:prstGeom prst="rect">
              <a:avLst/>
            </a:prstGeom>
            <a:solidFill>
              <a:srgbClr val="00306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100%</a:t>
              </a:r>
            </a:p>
          </p:txBody>
        </p:sp>
        <p:sp>
          <p:nvSpPr>
            <p:cNvPr id="52" name="Inhaltsplatzhalter 1">
              <a:extLst>
                <a:ext uri="{FF2B5EF4-FFF2-40B4-BE49-F238E27FC236}">
                  <a16:creationId xmlns:a16="http://schemas.microsoft.com/office/drawing/2014/main" id="{90D6DC85-0EE8-8B23-D821-7958907FA93B}"/>
                </a:ext>
              </a:extLst>
            </p:cNvPr>
            <p:cNvSpPr txBox="1">
              <a:spLocks/>
            </p:cNvSpPr>
            <p:nvPr/>
          </p:nvSpPr>
          <p:spPr bwMode="gray">
            <a:xfrm>
              <a:off x="1751303" y="3957975"/>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0/48/99</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003063</a:t>
              </a:r>
            </a:p>
          </p:txBody>
        </p:sp>
        <p:sp>
          <p:nvSpPr>
            <p:cNvPr id="53" name="Rechteck 52">
              <a:extLst>
                <a:ext uri="{FF2B5EF4-FFF2-40B4-BE49-F238E27FC236}">
                  <a16:creationId xmlns:a16="http://schemas.microsoft.com/office/drawing/2014/main" id="{0DC33296-C8B3-9476-2AD2-B3C868AF2A88}"/>
                </a:ext>
              </a:extLst>
            </p:cNvPr>
            <p:cNvSpPr/>
            <p:nvPr/>
          </p:nvSpPr>
          <p:spPr>
            <a:xfrm>
              <a:off x="2794441" y="3411832"/>
              <a:ext cx="1235365" cy="1235365"/>
            </a:xfrm>
            <a:prstGeom prst="rect">
              <a:avLst/>
            </a:prstGeom>
            <a:solidFill>
              <a:srgbClr val="33598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80%</a:t>
              </a:r>
            </a:p>
          </p:txBody>
        </p:sp>
        <p:sp>
          <p:nvSpPr>
            <p:cNvPr id="54" name="Inhaltsplatzhalter 1">
              <a:extLst>
                <a:ext uri="{FF2B5EF4-FFF2-40B4-BE49-F238E27FC236}">
                  <a16:creationId xmlns:a16="http://schemas.microsoft.com/office/drawing/2014/main" id="{0C7929A5-03BD-D4E4-8F8F-F50CCD73030F}"/>
                </a:ext>
              </a:extLst>
            </p:cNvPr>
            <p:cNvSpPr txBox="1">
              <a:spLocks/>
            </p:cNvSpPr>
            <p:nvPr/>
          </p:nvSpPr>
          <p:spPr bwMode="gray">
            <a:xfrm>
              <a:off x="4029806"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a:t>
              </a:r>
              <a:r>
                <a:rPr lang="en-US" sz="900" dirty="0">
                  <a:solidFill>
                    <a:schemeClr val="accent3"/>
                  </a:solidFill>
                  <a:latin typeface="NeueHaasGroteskText Pro" panose="020B0504020202020204" pitchFamily="34" charset="77"/>
                </a:rPr>
                <a:t>51</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89/130</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335982</a:t>
              </a:r>
            </a:p>
          </p:txBody>
        </p:sp>
        <p:sp>
          <p:nvSpPr>
            <p:cNvPr id="55" name="Rechteck 54">
              <a:extLst>
                <a:ext uri="{FF2B5EF4-FFF2-40B4-BE49-F238E27FC236}">
                  <a16:creationId xmlns:a16="http://schemas.microsoft.com/office/drawing/2014/main" id="{9397DC5A-FBE9-8B06-6706-A90AF3ACA22B}"/>
                </a:ext>
              </a:extLst>
            </p:cNvPr>
            <p:cNvSpPr/>
            <p:nvPr/>
          </p:nvSpPr>
          <p:spPr>
            <a:xfrm>
              <a:off x="5072944" y="3411831"/>
              <a:ext cx="1235365" cy="1235365"/>
            </a:xfrm>
            <a:prstGeom prst="rect">
              <a:avLst/>
            </a:prstGeom>
            <a:solidFill>
              <a:srgbClr val="6683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60%</a:t>
              </a:r>
            </a:p>
          </p:txBody>
        </p:sp>
        <p:sp>
          <p:nvSpPr>
            <p:cNvPr id="56" name="Inhaltsplatzhalter 1">
              <a:extLst>
                <a:ext uri="{FF2B5EF4-FFF2-40B4-BE49-F238E27FC236}">
                  <a16:creationId xmlns:a16="http://schemas.microsoft.com/office/drawing/2014/main" id="{8A40B468-AEDA-04BD-5C61-D8894216335F}"/>
                </a:ext>
              </a:extLst>
            </p:cNvPr>
            <p:cNvSpPr txBox="1">
              <a:spLocks/>
            </p:cNvSpPr>
            <p:nvPr/>
          </p:nvSpPr>
          <p:spPr bwMode="gray">
            <a:xfrm>
              <a:off x="6319824"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a:t>
              </a:r>
              <a:r>
                <a:rPr lang="en-US" sz="900" dirty="0">
                  <a:solidFill>
                    <a:schemeClr val="accent3"/>
                  </a:solidFill>
                  <a:latin typeface="NeueHaasGroteskText Pro" panose="020B0504020202020204" pitchFamily="34" charset="77"/>
                </a:rPr>
                <a:t>102</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131/161</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6683A1</a:t>
              </a:r>
            </a:p>
          </p:txBody>
        </p:sp>
        <p:sp>
          <p:nvSpPr>
            <p:cNvPr id="57" name="Rechteck 56">
              <a:extLst>
                <a:ext uri="{FF2B5EF4-FFF2-40B4-BE49-F238E27FC236}">
                  <a16:creationId xmlns:a16="http://schemas.microsoft.com/office/drawing/2014/main" id="{E1C54217-FF59-A649-3E24-D8A26B860764}"/>
                </a:ext>
              </a:extLst>
            </p:cNvPr>
            <p:cNvSpPr/>
            <p:nvPr/>
          </p:nvSpPr>
          <p:spPr>
            <a:xfrm>
              <a:off x="7362962" y="3411830"/>
              <a:ext cx="1235365" cy="1235365"/>
            </a:xfrm>
            <a:prstGeom prst="rect">
              <a:avLst/>
            </a:prstGeom>
            <a:solidFill>
              <a:srgbClr val="99ACC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bg1"/>
                  </a:solidFill>
                </a:rPr>
                <a:t>40%</a:t>
              </a:r>
            </a:p>
          </p:txBody>
        </p:sp>
        <p:sp>
          <p:nvSpPr>
            <p:cNvPr id="58" name="Inhaltsplatzhalter 1">
              <a:extLst>
                <a:ext uri="{FF2B5EF4-FFF2-40B4-BE49-F238E27FC236}">
                  <a16:creationId xmlns:a16="http://schemas.microsoft.com/office/drawing/2014/main" id="{011F5E5E-5DBB-E734-6A2A-37B4287ED0F7}"/>
                </a:ext>
              </a:extLst>
            </p:cNvPr>
            <p:cNvSpPr txBox="1">
              <a:spLocks/>
            </p:cNvSpPr>
            <p:nvPr/>
          </p:nvSpPr>
          <p:spPr bwMode="gray">
            <a:xfrm>
              <a:off x="8598327"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53/172/19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99ACC1</a:t>
              </a:r>
            </a:p>
          </p:txBody>
        </p:sp>
        <p:sp>
          <p:nvSpPr>
            <p:cNvPr id="59" name="Rechteck 58">
              <a:extLst>
                <a:ext uri="{FF2B5EF4-FFF2-40B4-BE49-F238E27FC236}">
                  <a16:creationId xmlns:a16="http://schemas.microsoft.com/office/drawing/2014/main" id="{E1EAF2BE-5F92-4C30-AA61-F62D76A18F73}"/>
                </a:ext>
              </a:extLst>
            </p:cNvPr>
            <p:cNvSpPr/>
            <p:nvPr/>
          </p:nvSpPr>
          <p:spPr>
            <a:xfrm>
              <a:off x="9641466" y="3411829"/>
              <a:ext cx="1235365" cy="1235365"/>
            </a:xfrm>
            <a:prstGeom prst="rect">
              <a:avLst/>
            </a:prstGeom>
            <a:solidFill>
              <a:srgbClr val="D9E0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accent3"/>
                  </a:solidFill>
                </a:rPr>
                <a:t>15%</a:t>
              </a:r>
            </a:p>
          </p:txBody>
        </p:sp>
        <p:sp>
          <p:nvSpPr>
            <p:cNvPr id="60" name="Inhaltsplatzhalter 1">
              <a:extLst>
                <a:ext uri="{FF2B5EF4-FFF2-40B4-BE49-F238E27FC236}">
                  <a16:creationId xmlns:a16="http://schemas.microsoft.com/office/drawing/2014/main" id="{B3393D8C-DE30-CD3C-A8B9-6ED6944EA274}"/>
                </a:ext>
              </a:extLst>
            </p:cNvPr>
            <p:cNvSpPr txBox="1">
              <a:spLocks/>
            </p:cNvSpPr>
            <p:nvPr/>
          </p:nvSpPr>
          <p:spPr bwMode="gray">
            <a:xfrm>
              <a:off x="10876831" y="3962089"/>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217/224/23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D9E0E8</a:t>
              </a:r>
            </a:p>
          </p:txBody>
        </p:sp>
      </p:grpSp>
    </p:spTree>
    <p:extLst>
      <p:ext uri="{BB962C8B-B14F-4D97-AF65-F5344CB8AC3E}">
        <p14:creationId xmlns:p14="http://schemas.microsoft.com/office/powerpoint/2010/main" val="53928758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1AD12D13-4E45-DFC1-106D-028030948BB1}"/>
              </a:ext>
            </a:extLst>
          </p:cNvPr>
          <p:cNvSpPr>
            <a:spLocks noGrp="1"/>
          </p:cNvSpPr>
          <p:nvPr>
            <p:ph type="dt" sz="half" idx="2"/>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EB62974F-AAB6-06A7-6D10-94FF56C06E49}"/>
              </a:ext>
            </a:extLst>
          </p:cNvPr>
          <p:cNvSpPr>
            <a:spLocks noGrp="1"/>
          </p:cNvSpPr>
          <p:nvPr>
            <p:ph type="ftr" sz="quarter" idx="3"/>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710F9F34-324A-DFB0-DACE-0739E7C9F880}"/>
              </a:ext>
            </a:extLst>
          </p:cNvPr>
          <p:cNvSpPr>
            <a:spLocks noGrp="1"/>
          </p:cNvSpPr>
          <p:nvPr>
            <p:ph type="sldNum" sz="quarter" idx="4"/>
          </p:nvPr>
        </p:nvSpPr>
        <p:spPr/>
        <p:txBody>
          <a:bodyPr/>
          <a:lstStyle/>
          <a:p>
            <a:fld id="{E84006A6-0E15-460A-BCD4-002C20F8AC9F}" type="slidenum">
              <a:rPr lang="de-DE" smtClean="0"/>
              <a:pPr/>
              <a:t>92</a:t>
            </a:fld>
            <a:endParaRPr lang="de-DE"/>
          </a:p>
        </p:txBody>
      </p:sp>
      <p:pic>
        <p:nvPicPr>
          <p:cNvPr id="9" name="Grafik 8">
            <a:extLst>
              <a:ext uri="{FF2B5EF4-FFF2-40B4-BE49-F238E27FC236}">
                <a16:creationId xmlns:a16="http://schemas.microsoft.com/office/drawing/2014/main" id="{DF8D4B1A-C484-4773-D1B0-4E38D623ACC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74086" y="3143250"/>
            <a:ext cx="1142998" cy="285750"/>
          </a:xfrm>
          <a:prstGeom prst="rect">
            <a:avLst/>
          </a:prstGeom>
        </p:spPr>
      </p:pic>
      <p:grpSp>
        <p:nvGrpSpPr>
          <p:cNvPr id="11" name="Gruppieren 10">
            <a:extLst>
              <a:ext uri="{FF2B5EF4-FFF2-40B4-BE49-F238E27FC236}">
                <a16:creationId xmlns:a16="http://schemas.microsoft.com/office/drawing/2014/main" id="{60DF0680-587E-E566-F921-928918CF0F73}"/>
              </a:ext>
            </a:extLst>
          </p:cNvPr>
          <p:cNvGrpSpPr/>
          <p:nvPr/>
        </p:nvGrpSpPr>
        <p:grpSpPr>
          <a:xfrm>
            <a:off x="1549232" y="525315"/>
            <a:ext cx="6015232" cy="4033401"/>
            <a:chOff x="1561746" y="991974"/>
            <a:chExt cx="5242208" cy="3515064"/>
          </a:xfrm>
        </p:grpSpPr>
        <p:pic>
          <p:nvPicPr>
            <p:cNvPr id="13" name="Grafik 12">
              <a:extLst>
                <a:ext uri="{FF2B5EF4-FFF2-40B4-BE49-F238E27FC236}">
                  <a16:creationId xmlns:a16="http://schemas.microsoft.com/office/drawing/2014/main" id="{272F274E-7AA6-6108-4E0F-6F9F0E594A1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4922" r="14922"/>
            <a:stretch/>
          </p:blipFill>
          <p:spPr>
            <a:xfrm>
              <a:off x="1561746" y="2615194"/>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15" name="Grafik 14">
              <a:extLst>
                <a:ext uri="{FF2B5EF4-FFF2-40B4-BE49-F238E27FC236}">
                  <a16:creationId xmlns:a16="http://schemas.microsoft.com/office/drawing/2014/main" id="{CFC1167A-9637-E5CF-6806-9021A606F994}"/>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3663" t="30789" r="16872" b="31609"/>
            <a:stretch/>
          </p:blipFill>
          <p:spPr>
            <a:xfrm>
              <a:off x="3724396" y="2615194"/>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16" name="Grafik 15">
              <a:extLst>
                <a:ext uri="{FF2B5EF4-FFF2-40B4-BE49-F238E27FC236}">
                  <a16:creationId xmlns:a16="http://schemas.microsoft.com/office/drawing/2014/main" id="{03BDE0A1-CF4F-2C11-52E4-A1C323F8F83A}"/>
                </a:ext>
              </a:extLst>
            </p:cNvPr>
            <p:cNvPicPr>
              <a:picLocks noChangeAspect="1"/>
            </p:cNvPicPr>
            <p:nvPr/>
          </p:nvPicPr>
          <p:blipFill>
            <a:blip r:embed="rId6" cstate="print">
              <a:extLst>
                <a:ext uri="{28A0092B-C50C-407E-A947-70E740481C1C}">
                  <a14:useLocalDpi xmlns:a14="http://schemas.microsoft.com/office/drawing/2010/main"/>
                </a:ext>
              </a:extLst>
            </a:blip>
            <a:srcRect t="18383" b="18383"/>
            <a:stretch/>
          </p:blipFill>
          <p:spPr>
            <a:xfrm>
              <a:off x="2643071" y="991974"/>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pic>
          <p:nvPicPr>
            <p:cNvPr id="17" name="Grafik 16">
              <a:extLst>
                <a:ext uri="{FF2B5EF4-FFF2-40B4-BE49-F238E27FC236}">
                  <a16:creationId xmlns:a16="http://schemas.microsoft.com/office/drawing/2014/main" id="{E36A1AD4-AEF8-ED53-C021-80086F56731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3167" t="29257" b="16089"/>
            <a:stretch/>
          </p:blipFill>
          <p:spPr>
            <a:xfrm>
              <a:off x="4805720" y="991974"/>
              <a:ext cx="1998234" cy="1891844"/>
            </a:xfrm>
            <a:custGeom>
              <a:avLst/>
              <a:gdLst>
                <a:gd name="connsiteX0" fmla="*/ 999152 w 1998234"/>
                <a:gd name="connsiteY0" fmla="*/ 0 h 1891844"/>
                <a:gd name="connsiteX1" fmla="*/ 1158822 w 1998234"/>
                <a:gd name="connsiteY1" fmla="*/ 32837 h 1891844"/>
                <a:gd name="connsiteX2" fmla="*/ 1838564 w 1998234"/>
                <a:gd name="connsiteY2" fmla="*/ 370456 h 1891844"/>
                <a:gd name="connsiteX3" fmla="*/ 1998234 w 1998234"/>
                <a:gd name="connsiteY3" fmla="*/ 627941 h 1891844"/>
                <a:gd name="connsiteX4" fmla="*/ 1998234 w 1998234"/>
                <a:gd name="connsiteY4" fmla="*/ 1263939 h 1891844"/>
                <a:gd name="connsiteX5" fmla="*/ 1838564 w 1998234"/>
                <a:gd name="connsiteY5" fmla="*/ 1521424 h 1891844"/>
                <a:gd name="connsiteX6" fmla="*/ 1158787 w 1998234"/>
                <a:gd name="connsiteY6" fmla="*/ 1859007 h 1891844"/>
                <a:gd name="connsiteX7" fmla="*/ 839447 w 1998234"/>
                <a:gd name="connsiteY7" fmla="*/ 1859007 h 1891844"/>
                <a:gd name="connsiteX8" fmla="*/ 159670 w 1998234"/>
                <a:gd name="connsiteY8" fmla="*/ 1521424 h 1891844"/>
                <a:gd name="connsiteX9" fmla="*/ 0 w 1998234"/>
                <a:gd name="connsiteY9" fmla="*/ 1263939 h 1891844"/>
                <a:gd name="connsiteX10" fmla="*/ 0 w 1998234"/>
                <a:gd name="connsiteY10" fmla="*/ 627941 h 1891844"/>
                <a:gd name="connsiteX11" fmla="*/ 159670 w 1998234"/>
                <a:gd name="connsiteY11" fmla="*/ 370456 h 1891844"/>
                <a:gd name="connsiteX12" fmla="*/ 159705 w 1998234"/>
                <a:gd name="connsiteY12" fmla="*/ 370421 h 1891844"/>
                <a:gd name="connsiteX13" fmla="*/ 839482 w 1998234"/>
                <a:gd name="connsiteY13" fmla="*/ 32837 h 1891844"/>
                <a:gd name="connsiteX14" fmla="*/ 999152 w 1998234"/>
                <a:gd name="connsiteY14" fmla="*/ 0 h 189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8234" h="1891844">
                  <a:moveTo>
                    <a:pt x="999152" y="0"/>
                  </a:moveTo>
                  <a:cubicBezTo>
                    <a:pt x="1056940" y="0"/>
                    <a:pt x="1114728" y="10946"/>
                    <a:pt x="1158822" y="32837"/>
                  </a:cubicBezTo>
                  <a:lnTo>
                    <a:pt x="1838564" y="370456"/>
                  </a:lnTo>
                  <a:cubicBezTo>
                    <a:pt x="1926752" y="414239"/>
                    <a:pt x="1998234" y="529526"/>
                    <a:pt x="1998234" y="627941"/>
                  </a:cubicBezTo>
                  <a:lnTo>
                    <a:pt x="1998234" y="1263939"/>
                  </a:lnTo>
                  <a:cubicBezTo>
                    <a:pt x="1998234" y="1362354"/>
                    <a:pt x="1926752" y="1477641"/>
                    <a:pt x="1838564" y="1521424"/>
                  </a:cubicBezTo>
                  <a:lnTo>
                    <a:pt x="1158787" y="1859007"/>
                  </a:lnTo>
                  <a:cubicBezTo>
                    <a:pt x="1070598" y="1902790"/>
                    <a:pt x="927635" y="1902790"/>
                    <a:pt x="839447" y="1859007"/>
                  </a:cubicBezTo>
                  <a:lnTo>
                    <a:pt x="159670" y="1521424"/>
                  </a:lnTo>
                  <a:cubicBezTo>
                    <a:pt x="71481" y="1477641"/>
                    <a:pt x="0" y="1362354"/>
                    <a:pt x="0" y="1263939"/>
                  </a:cubicBezTo>
                  <a:lnTo>
                    <a:pt x="0" y="627941"/>
                  </a:lnTo>
                  <a:cubicBezTo>
                    <a:pt x="0" y="529526"/>
                    <a:pt x="71481" y="414239"/>
                    <a:pt x="159670" y="370456"/>
                  </a:cubicBezTo>
                  <a:lnTo>
                    <a:pt x="159705" y="370421"/>
                  </a:lnTo>
                  <a:lnTo>
                    <a:pt x="839482" y="32837"/>
                  </a:lnTo>
                  <a:cubicBezTo>
                    <a:pt x="883577" y="10946"/>
                    <a:pt x="941365" y="0"/>
                    <a:pt x="999152" y="0"/>
                  </a:cubicBezTo>
                  <a:close/>
                </a:path>
              </a:pathLst>
            </a:custGeom>
          </p:spPr>
        </p:pic>
      </p:grpSp>
      <p:grpSp>
        <p:nvGrpSpPr>
          <p:cNvPr id="36" name="Gruppieren 35">
            <a:extLst>
              <a:ext uri="{FF2B5EF4-FFF2-40B4-BE49-F238E27FC236}">
                <a16:creationId xmlns:a16="http://schemas.microsoft.com/office/drawing/2014/main" id="{AE887A5E-C0F0-41C9-2C38-7A4D02ED5902}"/>
              </a:ext>
            </a:extLst>
          </p:cNvPr>
          <p:cNvGrpSpPr/>
          <p:nvPr/>
        </p:nvGrpSpPr>
        <p:grpSpPr>
          <a:xfrm>
            <a:off x="6774086" y="3708642"/>
            <a:ext cx="3891932" cy="1599958"/>
            <a:chOff x="1217876" y="3093719"/>
            <a:chExt cx="3065142" cy="1260068"/>
          </a:xfrm>
        </p:grpSpPr>
        <p:grpSp>
          <p:nvGrpSpPr>
            <p:cNvPr id="37" name="Grafik 7">
              <a:extLst>
                <a:ext uri="{FF2B5EF4-FFF2-40B4-BE49-F238E27FC236}">
                  <a16:creationId xmlns:a16="http://schemas.microsoft.com/office/drawing/2014/main" id="{3A77DF78-B720-40D3-CFD0-3780FD53D374}"/>
                </a:ext>
              </a:extLst>
            </p:cNvPr>
            <p:cNvGrpSpPr/>
            <p:nvPr/>
          </p:nvGrpSpPr>
          <p:grpSpPr>
            <a:xfrm>
              <a:off x="1217876" y="3093719"/>
              <a:ext cx="3065142" cy="584366"/>
              <a:chOff x="3394242" y="3093718"/>
              <a:chExt cx="3143926" cy="599386"/>
            </a:xfrm>
            <a:solidFill>
              <a:srgbClr val="50936E"/>
            </a:solidFill>
          </p:grpSpPr>
          <p:sp>
            <p:nvSpPr>
              <p:cNvPr id="45" name="Freihandform 44">
                <a:extLst>
                  <a:ext uri="{FF2B5EF4-FFF2-40B4-BE49-F238E27FC236}">
                    <a16:creationId xmlns:a16="http://schemas.microsoft.com/office/drawing/2014/main" id="{525DC616-9083-0769-1252-EA03853FA1C2}"/>
                  </a:ext>
                </a:extLst>
              </p:cNvPr>
              <p:cNvSpPr/>
              <p:nvPr/>
            </p:nvSpPr>
            <p:spPr>
              <a:xfrm>
                <a:off x="3394242" y="3220328"/>
                <a:ext cx="344572" cy="468064"/>
              </a:xfrm>
              <a:custGeom>
                <a:avLst/>
                <a:gdLst>
                  <a:gd name="connsiteX0" fmla="*/ 0 w 344572"/>
                  <a:gd name="connsiteY0" fmla="*/ 9433 h 468064"/>
                  <a:gd name="connsiteX1" fmla="*/ 88842 w 344572"/>
                  <a:gd name="connsiteY1" fmla="*/ 9433 h 468064"/>
                  <a:gd name="connsiteX2" fmla="*/ 88842 w 344572"/>
                  <a:gd name="connsiteY2" fmla="*/ 52526 h 468064"/>
                  <a:gd name="connsiteX3" fmla="*/ 90884 w 344572"/>
                  <a:gd name="connsiteY3" fmla="*/ 52526 h 468064"/>
                  <a:gd name="connsiteX4" fmla="*/ 193310 w 344572"/>
                  <a:gd name="connsiteY4" fmla="*/ 0 h 468064"/>
                  <a:gd name="connsiteX5" fmla="*/ 344573 w 344572"/>
                  <a:gd name="connsiteY5" fmla="*/ 182511 h 468064"/>
                  <a:gd name="connsiteX6" fmla="*/ 193988 w 344572"/>
                  <a:gd name="connsiteY6" fmla="*/ 365012 h 468064"/>
                  <a:gd name="connsiteX7" fmla="*/ 93604 w 344572"/>
                  <a:gd name="connsiteY7" fmla="*/ 315841 h 468064"/>
                  <a:gd name="connsiteX8" fmla="*/ 92239 w 344572"/>
                  <a:gd name="connsiteY8" fmla="*/ 315841 h 468064"/>
                  <a:gd name="connsiteX9" fmla="*/ 92239 w 344572"/>
                  <a:gd name="connsiteY9" fmla="*/ 468065 h 468064"/>
                  <a:gd name="connsiteX10" fmla="*/ 0 w 344572"/>
                  <a:gd name="connsiteY10" fmla="*/ 468065 h 468064"/>
                  <a:gd name="connsiteX11" fmla="*/ 0 w 344572"/>
                  <a:gd name="connsiteY11" fmla="*/ 9433 h 468064"/>
                  <a:gd name="connsiteX12" fmla="*/ 250969 w 344572"/>
                  <a:gd name="connsiteY12" fmla="*/ 185212 h 468064"/>
                  <a:gd name="connsiteX13" fmla="*/ 170931 w 344572"/>
                  <a:gd name="connsiteY13" fmla="*/ 74083 h 468064"/>
                  <a:gd name="connsiteX14" fmla="*/ 90207 w 344572"/>
                  <a:gd name="connsiteY14" fmla="*/ 185212 h 468064"/>
                  <a:gd name="connsiteX15" fmla="*/ 174321 w 344572"/>
                  <a:gd name="connsiteY15" fmla="*/ 288920 h 468064"/>
                  <a:gd name="connsiteX16" fmla="*/ 250969 w 344572"/>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72" h="468064">
                    <a:moveTo>
                      <a:pt x="0" y="9433"/>
                    </a:moveTo>
                    <a:lnTo>
                      <a:pt x="88842" y="9433"/>
                    </a:lnTo>
                    <a:lnTo>
                      <a:pt x="88842" y="52526"/>
                    </a:lnTo>
                    <a:lnTo>
                      <a:pt x="90884" y="52526"/>
                    </a:lnTo>
                    <a:cubicBezTo>
                      <a:pt x="113264" y="22219"/>
                      <a:pt x="145830" y="0"/>
                      <a:pt x="193310" y="0"/>
                    </a:cubicBezTo>
                    <a:cubicBezTo>
                      <a:pt x="285549" y="0"/>
                      <a:pt x="344573" y="74757"/>
                      <a:pt x="344573" y="182511"/>
                    </a:cubicBezTo>
                    <a:cubicBezTo>
                      <a:pt x="344573" y="294303"/>
                      <a:pt x="283507" y="365012"/>
                      <a:pt x="193988" y="365012"/>
                    </a:cubicBezTo>
                    <a:cubicBezTo>
                      <a:pt x="145143" y="365012"/>
                      <a:pt x="113264" y="345494"/>
                      <a:pt x="93604" y="315841"/>
                    </a:cubicBezTo>
                    <a:lnTo>
                      <a:pt x="92239" y="315841"/>
                    </a:lnTo>
                    <a:lnTo>
                      <a:pt x="92239" y="468065"/>
                    </a:lnTo>
                    <a:lnTo>
                      <a:pt x="0" y="468065"/>
                    </a:lnTo>
                    <a:lnTo>
                      <a:pt x="0" y="9433"/>
                    </a:lnTo>
                    <a:close/>
                    <a:moveTo>
                      <a:pt x="250969" y="185212"/>
                    </a:moveTo>
                    <a:cubicBezTo>
                      <a:pt x="250969" y="119869"/>
                      <a:pt x="227902" y="74083"/>
                      <a:pt x="170931" y="74083"/>
                    </a:cubicBezTo>
                    <a:cubicBezTo>
                      <a:pt x="113264" y="74083"/>
                      <a:pt x="90207" y="123244"/>
                      <a:pt x="90207" y="185212"/>
                    </a:cubicBezTo>
                    <a:cubicBezTo>
                      <a:pt x="90207" y="247825"/>
                      <a:pt x="119375" y="288920"/>
                      <a:pt x="174321" y="288920"/>
                    </a:cubicBezTo>
                    <a:cubicBezTo>
                      <a:pt x="221122" y="288920"/>
                      <a:pt x="250969" y="250517"/>
                      <a:pt x="250969" y="185212"/>
                    </a:cubicBezTo>
                    <a:close/>
                  </a:path>
                </a:pathLst>
              </a:custGeom>
              <a:solidFill>
                <a:srgbClr val="50936E"/>
              </a:solidFill>
              <a:ln w="19259" cap="flat">
                <a:noFill/>
                <a:prstDash val="solid"/>
                <a:miter/>
              </a:ln>
            </p:spPr>
            <p:txBody>
              <a:bodyPr rtlCol="0" anchor="ctr"/>
              <a:lstStyle/>
              <a:p>
                <a:endParaRPr lang="de-DE"/>
              </a:p>
            </p:txBody>
          </p:sp>
          <p:sp>
            <p:nvSpPr>
              <p:cNvPr id="46" name="Freihandform 45">
                <a:extLst>
                  <a:ext uri="{FF2B5EF4-FFF2-40B4-BE49-F238E27FC236}">
                    <a16:creationId xmlns:a16="http://schemas.microsoft.com/office/drawing/2014/main" id="{C5B9FC32-399C-5E9C-47B2-533E681C427A}"/>
                  </a:ext>
                </a:extLst>
              </p:cNvPr>
              <p:cNvSpPr/>
              <p:nvPr/>
            </p:nvSpPr>
            <p:spPr>
              <a:xfrm>
                <a:off x="3799202" y="3225721"/>
                <a:ext cx="198081" cy="349524"/>
              </a:xfrm>
              <a:custGeom>
                <a:avLst/>
                <a:gdLst>
                  <a:gd name="connsiteX0" fmla="*/ 88869 w 198081"/>
                  <a:gd name="connsiteY0" fmla="*/ 59257 h 349524"/>
                  <a:gd name="connsiteX1" fmla="*/ 90903 w 198081"/>
                  <a:gd name="connsiteY1" fmla="*/ 59257 h 349524"/>
                  <a:gd name="connsiteX2" fmla="*/ 176353 w 198081"/>
                  <a:gd name="connsiteY2" fmla="*/ 0 h 349524"/>
                  <a:gd name="connsiteX3" fmla="*/ 198082 w 198081"/>
                  <a:gd name="connsiteY3" fmla="*/ 2684 h 349524"/>
                  <a:gd name="connsiteX4" fmla="*/ 198082 w 198081"/>
                  <a:gd name="connsiteY4" fmla="*/ 82834 h 349524"/>
                  <a:gd name="connsiteX5" fmla="*/ 196030 w 198081"/>
                  <a:gd name="connsiteY5" fmla="*/ 82834 h 349524"/>
                  <a:gd name="connsiteX6" fmla="*/ 92259 w 198081"/>
                  <a:gd name="connsiteY6" fmla="*/ 181156 h 349524"/>
                  <a:gd name="connsiteX7" fmla="*/ 92259 w 198081"/>
                  <a:gd name="connsiteY7" fmla="*/ 349524 h 349524"/>
                  <a:gd name="connsiteX8" fmla="*/ 0 w 198081"/>
                  <a:gd name="connsiteY8" fmla="*/ 349524 h 349524"/>
                  <a:gd name="connsiteX9" fmla="*/ 0 w 198081"/>
                  <a:gd name="connsiteY9" fmla="*/ 4040 h 349524"/>
                  <a:gd name="connsiteX10" fmla="*/ 88869 w 198081"/>
                  <a:gd name="connsiteY10" fmla="*/ 4040 h 349524"/>
                  <a:gd name="connsiteX11" fmla="*/ 88869 w 198081"/>
                  <a:gd name="connsiteY11" fmla="*/ 59257 h 34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1" h="349524">
                    <a:moveTo>
                      <a:pt x="88869" y="59257"/>
                    </a:moveTo>
                    <a:lnTo>
                      <a:pt x="90903" y="59257"/>
                    </a:lnTo>
                    <a:cubicBezTo>
                      <a:pt x="111936" y="20202"/>
                      <a:pt x="135680" y="0"/>
                      <a:pt x="176353" y="0"/>
                    </a:cubicBezTo>
                    <a:cubicBezTo>
                      <a:pt x="186540" y="0"/>
                      <a:pt x="192631" y="664"/>
                      <a:pt x="198082" y="2684"/>
                    </a:cubicBezTo>
                    <a:lnTo>
                      <a:pt x="198082" y="82834"/>
                    </a:lnTo>
                    <a:lnTo>
                      <a:pt x="196030" y="82834"/>
                    </a:lnTo>
                    <a:cubicBezTo>
                      <a:pt x="135680" y="76767"/>
                      <a:pt x="92259" y="108409"/>
                      <a:pt x="92259" y="181156"/>
                    </a:cubicBezTo>
                    <a:lnTo>
                      <a:pt x="92259" y="349524"/>
                    </a:lnTo>
                    <a:lnTo>
                      <a:pt x="0" y="349524"/>
                    </a:lnTo>
                    <a:lnTo>
                      <a:pt x="0" y="4040"/>
                    </a:lnTo>
                    <a:lnTo>
                      <a:pt x="88869" y="4040"/>
                    </a:lnTo>
                    <a:lnTo>
                      <a:pt x="88869" y="59257"/>
                    </a:lnTo>
                    <a:close/>
                  </a:path>
                </a:pathLst>
              </a:custGeom>
              <a:solidFill>
                <a:srgbClr val="50936E"/>
              </a:solidFill>
              <a:ln w="19259" cap="flat">
                <a:noFill/>
                <a:prstDash val="solid"/>
                <a:miter/>
              </a:ln>
            </p:spPr>
            <p:txBody>
              <a:bodyPr rtlCol="0" anchor="ctr"/>
              <a:lstStyle/>
              <a:p>
                <a:endParaRPr lang="de-DE"/>
              </a:p>
            </p:txBody>
          </p:sp>
          <p:sp>
            <p:nvSpPr>
              <p:cNvPr id="47" name="Freihandform 46">
                <a:extLst>
                  <a:ext uri="{FF2B5EF4-FFF2-40B4-BE49-F238E27FC236}">
                    <a16:creationId xmlns:a16="http://schemas.microsoft.com/office/drawing/2014/main" id="{B6D9FCAF-7E36-7574-A15B-64DDF91E4600}"/>
                  </a:ext>
                </a:extLst>
              </p:cNvPr>
              <p:cNvSpPr/>
              <p:nvPr/>
            </p:nvSpPr>
            <p:spPr>
              <a:xfrm>
                <a:off x="4021510" y="3220328"/>
                <a:ext cx="363561" cy="365012"/>
              </a:xfrm>
              <a:custGeom>
                <a:avLst/>
                <a:gdLst>
                  <a:gd name="connsiteX0" fmla="*/ 0 w 363561"/>
                  <a:gd name="connsiteY0" fmla="*/ 182511 h 365012"/>
                  <a:gd name="connsiteX1" fmla="*/ 181775 w 363561"/>
                  <a:gd name="connsiteY1" fmla="*/ 0 h 365012"/>
                  <a:gd name="connsiteX2" fmla="*/ 363562 w 363561"/>
                  <a:gd name="connsiteY2" fmla="*/ 182511 h 365012"/>
                  <a:gd name="connsiteX3" fmla="*/ 181775 w 363561"/>
                  <a:gd name="connsiteY3" fmla="*/ 365012 h 365012"/>
                  <a:gd name="connsiteX4" fmla="*/ 0 w 363561"/>
                  <a:gd name="connsiteY4" fmla="*/ 182511 h 365012"/>
                  <a:gd name="connsiteX5" fmla="*/ 269977 w 363561"/>
                  <a:gd name="connsiteY5" fmla="*/ 182511 h 365012"/>
                  <a:gd name="connsiteX6" fmla="*/ 181775 w 363561"/>
                  <a:gd name="connsiteY6" fmla="*/ 69371 h 365012"/>
                  <a:gd name="connsiteX7" fmla="*/ 93595 w 363561"/>
                  <a:gd name="connsiteY7" fmla="*/ 182511 h 365012"/>
                  <a:gd name="connsiteX8" fmla="*/ 181775 w 363561"/>
                  <a:gd name="connsiteY8" fmla="*/ 294977 h 365012"/>
                  <a:gd name="connsiteX9" fmla="*/ 269977 w 363561"/>
                  <a:gd name="connsiteY9"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561" h="365012">
                    <a:moveTo>
                      <a:pt x="0" y="182511"/>
                    </a:moveTo>
                    <a:cubicBezTo>
                      <a:pt x="0" y="79468"/>
                      <a:pt x="73927" y="0"/>
                      <a:pt x="181775" y="0"/>
                    </a:cubicBezTo>
                    <a:cubicBezTo>
                      <a:pt x="289623" y="0"/>
                      <a:pt x="363562" y="79468"/>
                      <a:pt x="363562" y="182511"/>
                    </a:cubicBezTo>
                    <a:cubicBezTo>
                      <a:pt x="363562" y="285554"/>
                      <a:pt x="289635" y="365012"/>
                      <a:pt x="181775" y="365012"/>
                    </a:cubicBezTo>
                    <a:cubicBezTo>
                      <a:pt x="73916" y="365012"/>
                      <a:pt x="0" y="285554"/>
                      <a:pt x="0" y="182511"/>
                    </a:cubicBezTo>
                    <a:close/>
                    <a:moveTo>
                      <a:pt x="269977" y="182511"/>
                    </a:moveTo>
                    <a:cubicBezTo>
                      <a:pt x="269977" y="115167"/>
                      <a:pt x="238096" y="69371"/>
                      <a:pt x="181775" y="69371"/>
                    </a:cubicBezTo>
                    <a:cubicBezTo>
                      <a:pt x="124814" y="69371"/>
                      <a:pt x="93595" y="115167"/>
                      <a:pt x="93595" y="182511"/>
                    </a:cubicBezTo>
                    <a:cubicBezTo>
                      <a:pt x="93595" y="249855"/>
                      <a:pt x="124814" y="294977"/>
                      <a:pt x="181775" y="294977"/>
                    </a:cubicBezTo>
                    <a:cubicBezTo>
                      <a:pt x="238096" y="294977"/>
                      <a:pt x="269977" y="249845"/>
                      <a:pt x="269977" y="182511"/>
                    </a:cubicBezTo>
                    <a:close/>
                  </a:path>
                </a:pathLst>
              </a:custGeom>
              <a:solidFill>
                <a:srgbClr val="50936E"/>
              </a:solidFill>
              <a:ln w="19259" cap="flat">
                <a:noFill/>
                <a:prstDash val="solid"/>
                <a:miter/>
              </a:ln>
            </p:spPr>
            <p:txBody>
              <a:bodyPr rtlCol="0" anchor="ctr"/>
              <a:lstStyle/>
              <a:p>
                <a:endParaRPr lang="de-DE"/>
              </a:p>
            </p:txBody>
          </p:sp>
          <p:sp>
            <p:nvSpPr>
              <p:cNvPr id="48" name="Freihandform 47">
                <a:extLst>
                  <a:ext uri="{FF2B5EF4-FFF2-40B4-BE49-F238E27FC236}">
                    <a16:creationId xmlns:a16="http://schemas.microsoft.com/office/drawing/2014/main" id="{6C74E07C-5A5B-3EBE-C4BA-E678E151407B}"/>
                  </a:ext>
                </a:extLst>
              </p:cNvPr>
              <p:cNvSpPr/>
              <p:nvPr/>
            </p:nvSpPr>
            <p:spPr>
              <a:xfrm>
                <a:off x="4408779" y="3121996"/>
                <a:ext cx="200106" cy="453920"/>
              </a:xfrm>
              <a:custGeom>
                <a:avLst/>
                <a:gdLst>
                  <a:gd name="connsiteX0" fmla="*/ 0 w 200106"/>
                  <a:gd name="connsiteY0" fmla="*/ 107764 h 453920"/>
                  <a:gd name="connsiteX1" fmla="*/ 48176 w 200106"/>
                  <a:gd name="connsiteY1" fmla="*/ 107764 h 453920"/>
                  <a:gd name="connsiteX2" fmla="*/ 48176 w 200106"/>
                  <a:gd name="connsiteY2" fmla="*/ 0 h 453920"/>
                  <a:gd name="connsiteX3" fmla="*/ 138371 w 200106"/>
                  <a:gd name="connsiteY3" fmla="*/ 0 h 453920"/>
                  <a:gd name="connsiteX4" fmla="*/ 138371 w 200106"/>
                  <a:gd name="connsiteY4" fmla="*/ 107764 h 453920"/>
                  <a:gd name="connsiteX5" fmla="*/ 198072 w 200106"/>
                  <a:gd name="connsiteY5" fmla="*/ 107764 h 453920"/>
                  <a:gd name="connsiteX6" fmla="*/ 198072 w 200106"/>
                  <a:gd name="connsiteY6" fmla="*/ 168367 h 453920"/>
                  <a:gd name="connsiteX7" fmla="*/ 138371 w 200106"/>
                  <a:gd name="connsiteY7" fmla="*/ 168367 h 453920"/>
                  <a:gd name="connsiteX8" fmla="*/ 138371 w 200106"/>
                  <a:gd name="connsiteY8" fmla="*/ 351542 h 453920"/>
                  <a:gd name="connsiteX9" fmla="*/ 172983 w 200106"/>
                  <a:gd name="connsiteY9" fmla="*/ 385905 h 453920"/>
                  <a:gd name="connsiteX10" fmla="*/ 200107 w 200106"/>
                  <a:gd name="connsiteY10" fmla="*/ 385231 h 453920"/>
                  <a:gd name="connsiteX11" fmla="*/ 200107 w 200106"/>
                  <a:gd name="connsiteY11" fmla="*/ 452575 h 453920"/>
                  <a:gd name="connsiteX12" fmla="*/ 142450 w 200106"/>
                  <a:gd name="connsiteY12" fmla="*/ 453921 h 453920"/>
                  <a:gd name="connsiteX13" fmla="*/ 48176 w 200106"/>
                  <a:gd name="connsiteY13" fmla="*/ 371097 h 453920"/>
                  <a:gd name="connsiteX14" fmla="*/ 48176 w 200106"/>
                  <a:gd name="connsiteY14" fmla="*/ 168367 h 453920"/>
                  <a:gd name="connsiteX15" fmla="*/ 0 w 200106"/>
                  <a:gd name="connsiteY15" fmla="*/ 168367 h 453920"/>
                  <a:gd name="connsiteX16" fmla="*/ 0 w 200106"/>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06" h="453920">
                    <a:moveTo>
                      <a:pt x="0" y="107764"/>
                    </a:moveTo>
                    <a:lnTo>
                      <a:pt x="48176" y="107764"/>
                    </a:lnTo>
                    <a:lnTo>
                      <a:pt x="48176" y="0"/>
                    </a:lnTo>
                    <a:lnTo>
                      <a:pt x="138371" y="0"/>
                    </a:lnTo>
                    <a:lnTo>
                      <a:pt x="138371" y="107764"/>
                    </a:lnTo>
                    <a:lnTo>
                      <a:pt x="198072" y="107764"/>
                    </a:lnTo>
                    <a:lnTo>
                      <a:pt x="198072" y="168367"/>
                    </a:lnTo>
                    <a:lnTo>
                      <a:pt x="138371" y="168367"/>
                    </a:lnTo>
                    <a:lnTo>
                      <a:pt x="138371" y="351542"/>
                    </a:lnTo>
                    <a:cubicBezTo>
                      <a:pt x="138371" y="377156"/>
                      <a:pt x="152617" y="385905"/>
                      <a:pt x="172983" y="385905"/>
                    </a:cubicBezTo>
                    <a:cubicBezTo>
                      <a:pt x="184506" y="385905"/>
                      <a:pt x="200107" y="385231"/>
                      <a:pt x="200107" y="385231"/>
                    </a:cubicBezTo>
                    <a:lnTo>
                      <a:pt x="200107" y="452575"/>
                    </a:lnTo>
                    <a:cubicBezTo>
                      <a:pt x="200107" y="452575"/>
                      <a:pt x="179083" y="453921"/>
                      <a:pt x="142450" y="453921"/>
                    </a:cubicBezTo>
                    <a:cubicBezTo>
                      <a:pt x="97690" y="453921"/>
                      <a:pt x="48176" y="436422"/>
                      <a:pt x="48176" y="371097"/>
                    </a:cubicBezTo>
                    <a:lnTo>
                      <a:pt x="48176"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49" name="Freihandform 48">
                <a:extLst>
                  <a:ext uri="{FF2B5EF4-FFF2-40B4-BE49-F238E27FC236}">
                    <a16:creationId xmlns:a16="http://schemas.microsoft.com/office/drawing/2014/main" id="{DC6A4B93-78CE-46F6-1C5D-6D51A17DAF1D}"/>
                  </a:ext>
                </a:extLst>
              </p:cNvPr>
              <p:cNvSpPr/>
              <p:nvPr/>
            </p:nvSpPr>
            <p:spPr>
              <a:xfrm>
                <a:off x="4646489" y="3220328"/>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3 w 343225"/>
                  <a:gd name="connsiteY3" fmla="*/ 208115 h 365012"/>
                  <a:gd name="connsiteX4" fmla="*/ 179752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3" y="208115"/>
                    </a:lnTo>
                    <a:cubicBezTo>
                      <a:pt x="97690" y="261324"/>
                      <a:pt x="127527" y="294303"/>
                      <a:pt x="179752"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5"/>
                      <a:pt x="215038"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sp>
            <p:nvSpPr>
              <p:cNvPr id="50" name="Freihandform 49">
                <a:extLst>
                  <a:ext uri="{FF2B5EF4-FFF2-40B4-BE49-F238E27FC236}">
                    <a16:creationId xmlns:a16="http://schemas.microsoft.com/office/drawing/2014/main" id="{21648140-E965-BE7D-6094-D9194F6F698C}"/>
                  </a:ext>
                </a:extLst>
              </p:cNvPr>
              <p:cNvSpPr/>
              <p:nvPr/>
            </p:nvSpPr>
            <p:spPr>
              <a:xfrm>
                <a:off x="5032138" y="3220328"/>
                <a:ext cx="335070" cy="365012"/>
              </a:xfrm>
              <a:custGeom>
                <a:avLst/>
                <a:gdLst>
                  <a:gd name="connsiteX0" fmla="*/ 0 w 335070"/>
                  <a:gd name="connsiteY0" fmla="*/ 182511 h 365012"/>
                  <a:gd name="connsiteX1" fmla="*/ 173659 w 335070"/>
                  <a:gd name="connsiteY1" fmla="*/ 0 h 365012"/>
                  <a:gd name="connsiteX2" fmla="*/ 331691 w 335070"/>
                  <a:gd name="connsiteY2" fmla="*/ 126620 h 365012"/>
                  <a:gd name="connsiteX3" fmla="*/ 241476 w 335070"/>
                  <a:gd name="connsiteY3" fmla="*/ 126620 h 365012"/>
                  <a:gd name="connsiteX4" fmla="*/ 177709 w 335070"/>
                  <a:gd name="connsiteY4" fmla="*/ 73401 h 365012"/>
                  <a:gd name="connsiteX5" fmla="*/ 93604 w 335070"/>
                  <a:gd name="connsiteY5" fmla="*/ 182511 h 365012"/>
                  <a:gd name="connsiteX6" fmla="*/ 176363 w 335070"/>
                  <a:gd name="connsiteY6" fmla="*/ 291611 h 365012"/>
                  <a:gd name="connsiteX7" fmla="*/ 246231 w 335070"/>
                  <a:gd name="connsiteY7" fmla="*/ 233019 h 365012"/>
                  <a:gd name="connsiteX8" fmla="*/ 335071 w 335070"/>
                  <a:gd name="connsiteY8" fmla="*/ 233019 h 365012"/>
                  <a:gd name="connsiteX9" fmla="*/ 178395 w 335070"/>
                  <a:gd name="connsiteY9" fmla="*/ 365012 h 365012"/>
                  <a:gd name="connsiteX10" fmla="*/ 0 w 335070"/>
                  <a:gd name="connsiteY10" fmla="*/ 182511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070" h="365012">
                    <a:moveTo>
                      <a:pt x="0" y="182511"/>
                    </a:moveTo>
                    <a:cubicBezTo>
                      <a:pt x="0" y="79468"/>
                      <a:pt x="67826" y="0"/>
                      <a:pt x="173659" y="0"/>
                    </a:cubicBezTo>
                    <a:cubicBezTo>
                      <a:pt x="263847" y="0"/>
                      <a:pt x="319470" y="51873"/>
                      <a:pt x="331691" y="126620"/>
                    </a:cubicBezTo>
                    <a:lnTo>
                      <a:pt x="241476" y="126620"/>
                    </a:lnTo>
                    <a:cubicBezTo>
                      <a:pt x="235375" y="96304"/>
                      <a:pt x="211631" y="73401"/>
                      <a:pt x="177709" y="73401"/>
                    </a:cubicBezTo>
                    <a:cubicBezTo>
                      <a:pt x="122094" y="73401"/>
                      <a:pt x="93604" y="115841"/>
                      <a:pt x="93604" y="182511"/>
                    </a:cubicBezTo>
                    <a:cubicBezTo>
                      <a:pt x="93604" y="247825"/>
                      <a:pt x="120069" y="291611"/>
                      <a:pt x="176363" y="291611"/>
                    </a:cubicBezTo>
                    <a:cubicBezTo>
                      <a:pt x="213646" y="291611"/>
                      <a:pt x="240101" y="272093"/>
                      <a:pt x="246231" y="233019"/>
                    </a:cubicBezTo>
                    <a:lnTo>
                      <a:pt x="335071" y="233019"/>
                    </a:lnTo>
                    <a:cubicBezTo>
                      <a:pt x="328980" y="306456"/>
                      <a:pt x="271332" y="365012"/>
                      <a:pt x="178395" y="365012"/>
                    </a:cubicBezTo>
                    <a:cubicBezTo>
                      <a:pt x="68503" y="365012"/>
                      <a:pt x="0" y="285554"/>
                      <a:pt x="0" y="182511"/>
                    </a:cubicBezTo>
                    <a:close/>
                  </a:path>
                </a:pathLst>
              </a:custGeom>
              <a:solidFill>
                <a:srgbClr val="50936E"/>
              </a:solidFill>
              <a:ln w="19259" cap="flat">
                <a:noFill/>
                <a:prstDash val="solid"/>
                <a:miter/>
              </a:ln>
            </p:spPr>
            <p:txBody>
              <a:bodyPr rtlCol="0" anchor="ctr"/>
              <a:lstStyle/>
              <a:p>
                <a:endParaRPr lang="de-DE"/>
              </a:p>
            </p:txBody>
          </p:sp>
          <p:sp>
            <p:nvSpPr>
              <p:cNvPr id="51" name="Freihandform 50">
                <a:extLst>
                  <a:ext uri="{FF2B5EF4-FFF2-40B4-BE49-F238E27FC236}">
                    <a16:creationId xmlns:a16="http://schemas.microsoft.com/office/drawing/2014/main" id="{1D113082-1EB0-5BDD-EB86-FB857EE1B865}"/>
                  </a:ext>
                </a:extLst>
              </p:cNvPr>
              <p:cNvSpPr/>
              <p:nvPr/>
            </p:nvSpPr>
            <p:spPr>
              <a:xfrm>
                <a:off x="5395398" y="3121996"/>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52" name="Freihandform 51">
                <a:extLst>
                  <a:ext uri="{FF2B5EF4-FFF2-40B4-BE49-F238E27FC236}">
                    <a16:creationId xmlns:a16="http://schemas.microsoft.com/office/drawing/2014/main" id="{3F3ADB86-F087-870C-131C-84066722A502}"/>
                  </a:ext>
                </a:extLst>
              </p:cNvPr>
              <p:cNvSpPr/>
              <p:nvPr/>
            </p:nvSpPr>
            <p:spPr>
              <a:xfrm>
                <a:off x="5658633" y="3093718"/>
                <a:ext cx="92266" cy="481527"/>
              </a:xfrm>
              <a:custGeom>
                <a:avLst/>
                <a:gdLst>
                  <a:gd name="connsiteX0" fmla="*/ 0 w 92266"/>
                  <a:gd name="connsiteY0" fmla="*/ 0 h 481527"/>
                  <a:gd name="connsiteX1" fmla="*/ 92266 w 92266"/>
                  <a:gd name="connsiteY1" fmla="*/ 0 h 481527"/>
                  <a:gd name="connsiteX2" fmla="*/ 92266 w 92266"/>
                  <a:gd name="connsiteY2" fmla="*/ 82160 h 481527"/>
                  <a:gd name="connsiteX3" fmla="*/ 0 w 92266"/>
                  <a:gd name="connsiteY3" fmla="*/ 82160 h 481527"/>
                  <a:gd name="connsiteX4" fmla="*/ 0 w 92266"/>
                  <a:gd name="connsiteY4" fmla="*/ 0 h 481527"/>
                  <a:gd name="connsiteX5" fmla="*/ 0 w 92266"/>
                  <a:gd name="connsiteY5" fmla="*/ 136043 h 481527"/>
                  <a:gd name="connsiteX6" fmla="*/ 92266 w 92266"/>
                  <a:gd name="connsiteY6" fmla="*/ 136043 h 481527"/>
                  <a:gd name="connsiteX7" fmla="*/ 92266 w 92266"/>
                  <a:gd name="connsiteY7" fmla="*/ 481527 h 481527"/>
                  <a:gd name="connsiteX8" fmla="*/ 0 w 92266"/>
                  <a:gd name="connsiteY8" fmla="*/ 481527 h 481527"/>
                  <a:gd name="connsiteX9" fmla="*/ 0 w 92266"/>
                  <a:gd name="connsiteY9" fmla="*/ 136043 h 48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266" h="481527">
                    <a:moveTo>
                      <a:pt x="0" y="0"/>
                    </a:moveTo>
                    <a:lnTo>
                      <a:pt x="92266" y="0"/>
                    </a:lnTo>
                    <a:lnTo>
                      <a:pt x="92266" y="82160"/>
                    </a:lnTo>
                    <a:lnTo>
                      <a:pt x="0" y="82160"/>
                    </a:lnTo>
                    <a:lnTo>
                      <a:pt x="0" y="0"/>
                    </a:lnTo>
                    <a:close/>
                    <a:moveTo>
                      <a:pt x="0" y="136043"/>
                    </a:moveTo>
                    <a:lnTo>
                      <a:pt x="92266" y="136043"/>
                    </a:lnTo>
                    <a:lnTo>
                      <a:pt x="92266" y="481527"/>
                    </a:lnTo>
                    <a:lnTo>
                      <a:pt x="0" y="481527"/>
                    </a:lnTo>
                    <a:lnTo>
                      <a:pt x="0" y="136043"/>
                    </a:lnTo>
                    <a:close/>
                  </a:path>
                </a:pathLst>
              </a:custGeom>
              <a:solidFill>
                <a:srgbClr val="50936E"/>
              </a:solidFill>
              <a:ln w="19259" cap="flat">
                <a:noFill/>
                <a:prstDash val="solid"/>
                <a:miter/>
              </a:ln>
            </p:spPr>
            <p:txBody>
              <a:bodyPr rtlCol="0" anchor="ctr"/>
              <a:lstStyle/>
              <a:p>
                <a:endParaRPr lang="de-DE"/>
              </a:p>
            </p:txBody>
          </p:sp>
          <p:sp>
            <p:nvSpPr>
              <p:cNvPr id="53" name="Freihandform 52">
                <a:extLst>
                  <a:ext uri="{FF2B5EF4-FFF2-40B4-BE49-F238E27FC236}">
                    <a16:creationId xmlns:a16="http://schemas.microsoft.com/office/drawing/2014/main" id="{7956AB9C-DA87-6648-0ED1-14F583AA3BD3}"/>
                  </a:ext>
                </a:extLst>
              </p:cNvPr>
              <p:cNvSpPr/>
              <p:nvPr/>
            </p:nvSpPr>
            <p:spPr>
              <a:xfrm>
                <a:off x="5831155" y="3220328"/>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54" name="Freihandform 53">
                <a:extLst>
                  <a:ext uri="{FF2B5EF4-FFF2-40B4-BE49-F238E27FC236}">
                    <a16:creationId xmlns:a16="http://schemas.microsoft.com/office/drawing/2014/main" id="{B3EB99E2-6773-D0CF-A821-249BB8ACEA4C}"/>
                  </a:ext>
                </a:extLst>
              </p:cNvPr>
              <p:cNvSpPr/>
              <p:nvPr/>
            </p:nvSpPr>
            <p:spPr>
              <a:xfrm>
                <a:off x="6201053" y="3220328"/>
                <a:ext cx="337114" cy="472776"/>
              </a:xfrm>
              <a:custGeom>
                <a:avLst/>
                <a:gdLst>
                  <a:gd name="connsiteX0" fmla="*/ 7456 w 337114"/>
                  <a:gd name="connsiteY0" fmla="*/ 365012 h 472776"/>
                  <a:gd name="connsiteX1" fmla="*/ 99026 w 337114"/>
                  <a:gd name="connsiteY1" fmla="*/ 365012 h 472776"/>
                  <a:gd name="connsiteX2" fmla="*/ 168905 w 337114"/>
                  <a:gd name="connsiteY2" fmla="*/ 403415 h 472776"/>
                  <a:gd name="connsiteX3" fmla="*/ 246221 w 337114"/>
                  <a:gd name="connsiteY3" fmla="*/ 331360 h 472776"/>
                  <a:gd name="connsiteX4" fmla="*/ 246221 w 337114"/>
                  <a:gd name="connsiteY4" fmla="*/ 293631 h 472776"/>
                  <a:gd name="connsiteX5" fmla="*/ 244187 w 337114"/>
                  <a:gd name="connsiteY5" fmla="*/ 293631 h 472776"/>
                  <a:gd name="connsiteX6" fmla="*/ 153294 w 337114"/>
                  <a:gd name="connsiteY6" fmla="*/ 334051 h 472776"/>
                  <a:gd name="connsiteX7" fmla="*/ 0 w 337114"/>
                  <a:gd name="connsiteY7" fmla="*/ 169050 h 472776"/>
                  <a:gd name="connsiteX8" fmla="*/ 150583 w 337114"/>
                  <a:gd name="connsiteY8" fmla="*/ 0 h 472776"/>
                  <a:gd name="connsiteX9" fmla="*/ 246918 w 337114"/>
                  <a:gd name="connsiteY9" fmla="*/ 45796 h 472776"/>
                  <a:gd name="connsiteX10" fmla="*/ 248256 w 337114"/>
                  <a:gd name="connsiteY10" fmla="*/ 45796 h 472776"/>
                  <a:gd name="connsiteX11" fmla="*/ 248256 w 337114"/>
                  <a:gd name="connsiteY11" fmla="*/ 9433 h 472776"/>
                  <a:gd name="connsiteX12" fmla="*/ 337115 w 337114"/>
                  <a:gd name="connsiteY12" fmla="*/ 9433 h 472776"/>
                  <a:gd name="connsiteX13" fmla="*/ 337115 w 337114"/>
                  <a:gd name="connsiteY13" fmla="*/ 328630 h 472776"/>
                  <a:gd name="connsiteX14" fmla="*/ 295743 w 337114"/>
                  <a:gd name="connsiteY14" fmla="*/ 433702 h 472776"/>
                  <a:gd name="connsiteX15" fmla="*/ 170260 w 337114"/>
                  <a:gd name="connsiteY15" fmla="*/ 472776 h 472776"/>
                  <a:gd name="connsiteX16" fmla="*/ 7456 w 337114"/>
                  <a:gd name="connsiteY16" fmla="*/ 365012 h 472776"/>
                  <a:gd name="connsiteX17" fmla="*/ 250986 w 337114"/>
                  <a:gd name="connsiteY17" fmla="*/ 167021 h 472776"/>
                  <a:gd name="connsiteX18" fmla="*/ 168228 w 337114"/>
                  <a:gd name="connsiteY18" fmla="*/ 73401 h 472776"/>
                  <a:gd name="connsiteX19" fmla="*/ 90215 w 337114"/>
                  <a:gd name="connsiteY19" fmla="*/ 167695 h 472776"/>
                  <a:gd name="connsiteX20" fmla="*/ 168905 w 337114"/>
                  <a:gd name="connsiteY20" fmla="*/ 260650 h 472776"/>
                  <a:gd name="connsiteX21" fmla="*/ 250986 w 337114"/>
                  <a:gd name="connsiteY21" fmla="*/ 167021 h 47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7114" h="472776">
                    <a:moveTo>
                      <a:pt x="7456" y="365012"/>
                    </a:moveTo>
                    <a:lnTo>
                      <a:pt x="99026" y="365012"/>
                    </a:lnTo>
                    <a:cubicBezTo>
                      <a:pt x="106502" y="386550"/>
                      <a:pt x="126160" y="403415"/>
                      <a:pt x="168905" y="403415"/>
                    </a:cubicBezTo>
                    <a:cubicBezTo>
                      <a:pt x="221120" y="403415"/>
                      <a:pt x="246221" y="378473"/>
                      <a:pt x="246221" y="331360"/>
                    </a:cubicBezTo>
                    <a:lnTo>
                      <a:pt x="246221" y="293631"/>
                    </a:lnTo>
                    <a:lnTo>
                      <a:pt x="244187" y="293631"/>
                    </a:lnTo>
                    <a:cubicBezTo>
                      <a:pt x="223850" y="316553"/>
                      <a:pt x="197396" y="334051"/>
                      <a:pt x="153294" y="334051"/>
                    </a:cubicBezTo>
                    <a:cubicBezTo>
                      <a:pt x="75979" y="334051"/>
                      <a:pt x="0" y="273403"/>
                      <a:pt x="0" y="169050"/>
                    </a:cubicBezTo>
                    <a:cubicBezTo>
                      <a:pt x="0" y="65988"/>
                      <a:pt x="62402" y="0"/>
                      <a:pt x="150583" y="0"/>
                    </a:cubicBezTo>
                    <a:cubicBezTo>
                      <a:pt x="194006" y="0"/>
                      <a:pt x="225885" y="16845"/>
                      <a:pt x="246918" y="45796"/>
                    </a:cubicBezTo>
                    <a:lnTo>
                      <a:pt x="248256" y="45796"/>
                    </a:lnTo>
                    <a:lnTo>
                      <a:pt x="248256" y="9433"/>
                    </a:lnTo>
                    <a:lnTo>
                      <a:pt x="337115" y="9433"/>
                    </a:lnTo>
                    <a:lnTo>
                      <a:pt x="337115" y="328630"/>
                    </a:lnTo>
                    <a:cubicBezTo>
                      <a:pt x="337115" y="377127"/>
                      <a:pt x="321523" y="410144"/>
                      <a:pt x="295743" y="433702"/>
                    </a:cubicBezTo>
                    <a:cubicBezTo>
                      <a:pt x="266576" y="460662"/>
                      <a:pt x="221799" y="472776"/>
                      <a:pt x="170260" y="472776"/>
                    </a:cubicBezTo>
                    <a:cubicBezTo>
                      <a:pt x="75300" y="472776"/>
                      <a:pt x="16964" y="432356"/>
                      <a:pt x="7456" y="365012"/>
                    </a:cubicBezTo>
                    <a:close/>
                    <a:moveTo>
                      <a:pt x="250986" y="167021"/>
                    </a:moveTo>
                    <a:cubicBezTo>
                      <a:pt x="250986" y="116513"/>
                      <a:pt x="223850" y="73401"/>
                      <a:pt x="168228" y="73401"/>
                    </a:cubicBezTo>
                    <a:cubicBezTo>
                      <a:pt x="121434" y="73401"/>
                      <a:pt x="90215" y="109765"/>
                      <a:pt x="90215" y="167695"/>
                    </a:cubicBezTo>
                    <a:cubicBezTo>
                      <a:pt x="90215" y="226287"/>
                      <a:pt x="121434" y="260650"/>
                      <a:pt x="168905" y="260650"/>
                    </a:cubicBezTo>
                    <a:cubicBezTo>
                      <a:pt x="227221" y="260650"/>
                      <a:pt x="250986" y="218210"/>
                      <a:pt x="250986" y="167021"/>
                    </a:cubicBezTo>
                    <a:close/>
                  </a:path>
                </a:pathLst>
              </a:custGeom>
              <a:solidFill>
                <a:srgbClr val="50936E"/>
              </a:solidFill>
              <a:ln w="19259" cap="flat">
                <a:noFill/>
                <a:prstDash val="solid"/>
                <a:miter/>
              </a:ln>
            </p:spPr>
            <p:txBody>
              <a:bodyPr rtlCol="0" anchor="ctr"/>
              <a:lstStyle/>
              <a:p>
                <a:endParaRPr lang="de-DE"/>
              </a:p>
            </p:txBody>
          </p:sp>
        </p:grpSp>
        <p:grpSp>
          <p:nvGrpSpPr>
            <p:cNvPr id="38" name="Grafik 7">
              <a:extLst>
                <a:ext uri="{FF2B5EF4-FFF2-40B4-BE49-F238E27FC236}">
                  <a16:creationId xmlns:a16="http://schemas.microsoft.com/office/drawing/2014/main" id="{0FC7A392-1B05-15C6-CACB-436B3531ACCD}"/>
                </a:ext>
              </a:extLst>
            </p:cNvPr>
            <p:cNvGrpSpPr/>
            <p:nvPr/>
          </p:nvGrpSpPr>
          <p:grpSpPr>
            <a:xfrm>
              <a:off x="1217876" y="3774014"/>
              <a:ext cx="1854882" cy="579773"/>
              <a:chOff x="3395850" y="3805292"/>
              <a:chExt cx="1902558" cy="594675"/>
            </a:xfrm>
            <a:solidFill>
              <a:srgbClr val="50936E"/>
            </a:solidFill>
          </p:grpSpPr>
          <p:sp>
            <p:nvSpPr>
              <p:cNvPr id="39" name="Freihandform 38">
                <a:extLst>
                  <a:ext uri="{FF2B5EF4-FFF2-40B4-BE49-F238E27FC236}">
                    <a16:creationId xmlns:a16="http://schemas.microsoft.com/office/drawing/2014/main" id="{F4F1B22A-D962-BD7C-D9FF-99407F98E6F7}"/>
                  </a:ext>
                </a:extLst>
              </p:cNvPr>
              <p:cNvSpPr/>
              <p:nvPr/>
            </p:nvSpPr>
            <p:spPr>
              <a:xfrm>
                <a:off x="3952641" y="3933048"/>
                <a:ext cx="339131" cy="366082"/>
              </a:xfrm>
              <a:custGeom>
                <a:avLst/>
                <a:gdLst>
                  <a:gd name="connsiteX0" fmla="*/ 325993 w 339131"/>
                  <a:gd name="connsiteY0" fmla="*/ 302773 h 366082"/>
                  <a:gd name="connsiteX1" fmla="*/ 325993 w 339131"/>
                  <a:gd name="connsiteY1" fmla="*/ 124644 h 366082"/>
                  <a:gd name="connsiteX2" fmla="*/ 312850 w 339131"/>
                  <a:gd name="connsiteY2" fmla="*/ 63310 h 366082"/>
                  <a:gd name="connsiteX3" fmla="*/ 272809 w 339131"/>
                  <a:gd name="connsiteY3" fmla="*/ 20866 h 366082"/>
                  <a:gd name="connsiteX4" fmla="*/ 230013 w 339131"/>
                  <a:gd name="connsiteY4" fmla="*/ 5228 h 366082"/>
                  <a:gd name="connsiteX5" fmla="*/ 172223 w 339131"/>
                  <a:gd name="connsiteY5" fmla="*/ 0 h 366082"/>
                  <a:gd name="connsiteX6" fmla="*/ 104475 w 339131"/>
                  <a:gd name="connsiteY6" fmla="*/ 9796 h 366082"/>
                  <a:gd name="connsiteX7" fmla="*/ 56560 w 339131"/>
                  <a:gd name="connsiteY7" fmla="*/ 35232 h 366082"/>
                  <a:gd name="connsiteX8" fmla="*/ 27618 w 339131"/>
                  <a:gd name="connsiteY8" fmla="*/ 71789 h 366082"/>
                  <a:gd name="connsiteX9" fmla="*/ 17086 w 339131"/>
                  <a:gd name="connsiteY9" fmla="*/ 114842 h 366082"/>
                  <a:gd name="connsiteX10" fmla="*/ 112449 w 339131"/>
                  <a:gd name="connsiteY10" fmla="*/ 114842 h 366082"/>
                  <a:gd name="connsiteX11" fmla="*/ 128865 w 339131"/>
                  <a:gd name="connsiteY11" fmla="*/ 81587 h 366082"/>
                  <a:gd name="connsiteX12" fmla="*/ 173557 w 339131"/>
                  <a:gd name="connsiteY12" fmla="*/ 69195 h 366082"/>
                  <a:gd name="connsiteX13" fmla="*/ 213029 w 339131"/>
                  <a:gd name="connsiteY13" fmla="*/ 80927 h 366082"/>
                  <a:gd name="connsiteX14" fmla="*/ 225457 w 339131"/>
                  <a:gd name="connsiteY14" fmla="*/ 110887 h 366082"/>
                  <a:gd name="connsiteX15" fmla="*/ 204439 w 339131"/>
                  <a:gd name="connsiteY15" fmla="*/ 139669 h 366082"/>
                  <a:gd name="connsiteX16" fmla="*/ 137399 w 339131"/>
                  <a:gd name="connsiteY16" fmla="*/ 155306 h 366082"/>
                  <a:gd name="connsiteX17" fmla="*/ 83506 w 339131"/>
                  <a:gd name="connsiteY17" fmla="*/ 165055 h 366082"/>
                  <a:gd name="connsiteX18" fmla="*/ 40141 w 339131"/>
                  <a:gd name="connsiteY18" fmla="*/ 182676 h 366082"/>
                  <a:gd name="connsiteX19" fmla="*/ 10534 w 339131"/>
                  <a:gd name="connsiteY19" fmla="*/ 213365 h 366082"/>
                  <a:gd name="connsiteX20" fmla="*/ 0 w 339131"/>
                  <a:gd name="connsiteY20" fmla="*/ 261037 h 366082"/>
                  <a:gd name="connsiteX21" fmla="*/ 8542 w 339131"/>
                  <a:gd name="connsiteY21" fmla="*/ 306732 h 366082"/>
                  <a:gd name="connsiteX22" fmla="*/ 33498 w 339131"/>
                  <a:gd name="connsiteY22" fmla="*/ 339326 h 366082"/>
                  <a:gd name="connsiteX23" fmla="*/ 71640 w 339131"/>
                  <a:gd name="connsiteY23" fmla="*/ 358924 h 366082"/>
                  <a:gd name="connsiteX24" fmla="*/ 119654 w 339131"/>
                  <a:gd name="connsiteY24" fmla="*/ 366083 h 366082"/>
                  <a:gd name="connsiteX25" fmla="*/ 184037 w 339131"/>
                  <a:gd name="connsiteY25" fmla="*/ 352423 h 366082"/>
                  <a:gd name="connsiteX26" fmla="*/ 226785 w 339131"/>
                  <a:gd name="connsiteY26" fmla="*/ 314552 h 366082"/>
                  <a:gd name="connsiteX27" fmla="*/ 231337 w 339131"/>
                  <a:gd name="connsiteY27" fmla="*/ 340649 h 366082"/>
                  <a:gd name="connsiteX28" fmla="*/ 238599 w 339131"/>
                  <a:gd name="connsiteY28" fmla="*/ 356949 h 366082"/>
                  <a:gd name="connsiteX29" fmla="*/ 339132 w 339131"/>
                  <a:gd name="connsiteY29" fmla="*/ 356949 h 366082"/>
                  <a:gd name="connsiteX30" fmla="*/ 339132 w 339131"/>
                  <a:gd name="connsiteY30" fmla="*/ 351108 h 366082"/>
                  <a:gd name="connsiteX31" fmla="*/ 325991 w 339131"/>
                  <a:gd name="connsiteY31" fmla="*/ 302773 h 366082"/>
                  <a:gd name="connsiteX32" fmla="*/ 228112 w 339131"/>
                  <a:gd name="connsiteY32" fmla="*/ 232303 h 366082"/>
                  <a:gd name="connsiteX33" fmla="*/ 207046 w 339131"/>
                  <a:gd name="connsiteY33" fmla="*/ 279975 h 366082"/>
                  <a:gd name="connsiteX34" fmla="*/ 151822 w 339131"/>
                  <a:gd name="connsiteY34" fmla="*/ 298909 h 366082"/>
                  <a:gd name="connsiteX35" fmla="*/ 115673 w 339131"/>
                  <a:gd name="connsiteY35" fmla="*/ 289676 h 366082"/>
                  <a:gd name="connsiteX36" fmla="*/ 100584 w 339131"/>
                  <a:gd name="connsiteY36" fmla="*/ 257738 h 366082"/>
                  <a:gd name="connsiteX37" fmla="*/ 116999 w 339131"/>
                  <a:gd name="connsiteY37" fmla="*/ 224484 h 366082"/>
                  <a:gd name="connsiteX38" fmla="*/ 167622 w 339131"/>
                  <a:gd name="connsiteY38" fmla="*/ 206863 h 366082"/>
                  <a:gd name="connsiteX39" fmla="*/ 200455 w 339131"/>
                  <a:gd name="connsiteY39" fmla="*/ 199044 h 366082"/>
                  <a:gd name="connsiteX40" fmla="*/ 228114 w 339131"/>
                  <a:gd name="connsiteY40" fmla="*/ 187245 h 366082"/>
                  <a:gd name="connsiteX41" fmla="*/ 228114 w 339131"/>
                  <a:gd name="connsiteY41" fmla="*/ 232305 h 366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9131" h="366082">
                    <a:moveTo>
                      <a:pt x="325993" y="302773"/>
                    </a:moveTo>
                    <a:lnTo>
                      <a:pt x="325993" y="124644"/>
                    </a:lnTo>
                    <a:cubicBezTo>
                      <a:pt x="325993" y="101134"/>
                      <a:pt x="321623" y="80691"/>
                      <a:pt x="312850" y="63310"/>
                    </a:cubicBezTo>
                    <a:cubicBezTo>
                      <a:pt x="304499" y="45457"/>
                      <a:pt x="291168" y="31325"/>
                      <a:pt x="272809" y="20866"/>
                    </a:cubicBezTo>
                    <a:cubicBezTo>
                      <a:pt x="260517" y="13472"/>
                      <a:pt x="246239" y="8242"/>
                      <a:pt x="230013" y="5228"/>
                    </a:cubicBezTo>
                    <a:cubicBezTo>
                      <a:pt x="213883" y="1740"/>
                      <a:pt x="194571" y="0"/>
                      <a:pt x="172223" y="0"/>
                    </a:cubicBezTo>
                    <a:cubicBezTo>
                      <a:pt x="146416" y="0"/>
                      <a:pt x="123787" y="3251"/>
                      <a:pt x="104475" y="9796"/>
                    </a:cubicBezTo>
                    <a:cubicBezTo>
                      <a:pt x="85261" y="15875"/>
                      <a:pt x="69272" y="24354"/>
                      <a:pt x="56560" y="35232"/>
                    </a:cubicBezTo>
                    <a:cubicBezTo>
                      <a:pt x="43845" y="45689"/>
                      <a:pt x="34210" y="57846"/>
                      <a:pt x="27618" y="71789"/>
                    </a:cubicBezTo>
                    <a:cubicBezTo>
                      <a:pt x="21069" y="85681"/>
                      <a:pt x="17558" y="100052"/>
                      <a:pt x="17086" y="114842"/>
                    </a:cubicBezTo>
                    <a:lnTo>
                      <a:pt x="112449" y="114842"/>
                    </a:lnTo>
                    <a:cubicBezTo>
                      <a:pt x="113775" y="100901"/>
                      <a:pt x="119230" y="89829"/>
                      <a:pt x="128865" y="81587"/>
                    </a:cubicBezTo>
                    <a:cubicBezTo>
                      <a:pt x="138921" y="73294"/>
                      <a:pt x="153818" y="69195"/>
                      <a:pt x="173557" y="69195"/>
                    </a:cubicBezTo>
                    <a:cubicBezTo>
                      <a:pt x="191487" y="69195"/>
                      <a:pt x="204630" y="73106"/>
                      <a:pt x="213029" y="80927"/>
                    </a:cubicBezTo>
                    <a:cubicBezTo>
                      <a:pt x="221284" y="88321"/>
                      <a:pt x="225457" y="98312"/>
                      <a:pt x="225457" y="110887"/>
                    </a:cubicBezTo>
                    <a:cubicBezTo>
                      <a:pt x="225457" y="123982"/>
                      <a:pt x="218436" y="133542"/>
                      <a:pt x="204439" y="139669"/>
                    </a:cubicBezTo>
                    <a:cubicBezTo>
                      <a:pt x="190826" y="145745"/>
                      <a:pt x="168526" y="150928"/>
                      <a:pt x="137399" y="155306"/>
                    </a:cubicBezTo>
                    <a:cubicBezTo>
                      <a:pt x="118141" y="157473"/>
                      <a:pt x="100112" y="160724"/>
                      <a:pt x="83506" y="165055"/>
                    </a:cubicBezTo>
                    <a:cubicBezTo>
                      <a:pt x="66853" y="168966"/>
                      <a:pt x="52379" y="174857"/>
                      <a:pt x="40141" y="182676"/>
                    </a:cubicBezTo>
                    <a:cubicBezTo>
                      <a:pt x="27855" y="190567"/>
                      <a:pt x="17982" y="200741"/>
                      <a:pt x="10534" y="213365"/>
                    </a:cubicBezTo>
                    <a:cubicBezTo>
                      <a:pt x="3563" y="225989"/>
                      <a:pt x="0" y="241911"/>
                      <a:pt x="0" y="261037"/>
                    </a:cubicBezTo>
                    <a:cubicBezTo>
                      <a:pt x="0" y="277997"/>
                      <a:pt x="2846" y="293162"/>
                      <a:pt x="8542" y="306732"/>
                    </a:cubicBezTo>
                    <a:cubicBezTo>
                      <a:pt x="14710" y="319733"/>
                      <a:pt x="23057" y="330663"/>
                      <a:pt x="33498" y="339326"/>
                    </a:cubicBezTo>
                    <a:cubicBezTo>
                      <a:pt x="44503" y="347995"/>
                      <a:pt x="57221" y="354588"/>
                      <a:pt x="71640" y="358924"/>
                    </a:cubicBezTo>
                    <a:cubicBezTo>
                      <a:pt x="86584" y="363632"/>
                      <a:pt x="102572" y="366083"/>
                      <a:pt x="119654" y="366083"/>
                    </a:cubicBezTo>
                    <a:cubicBezTo>
                      <a:pt x="146794" y="366083"/>
                      <a:pt x="168285" y="361467"/>
                      <a:pt x="184037" y="352423"/>
                    </a:cubicBezTo>
                    <a:cubicBezTo>
                      <a:pt x="200265" y="343191"/>
                      <a:pt x="214071" y="330663"/>
                      <a:pt x="226785" y="314552"/>
                    </a:cubicBezTo>
                    <a:cubicBezTo>
                      <a:pt x="227639" y="324536"/>
                      <a:pt x="229155" y="333205"/>
                      <a:pt x="231337" y="340649"/>
                    </a:cubicBezTo>
                    <a:cubicBezTo>
                      <a:pt x="233617" y="347619"/>
                      <a:pt x="235986" y="352988"/>
                      <a:pt x="238599" y="356949"/>
                    </a:cubicBezTo>
                    <a:lnTo>
                      <a:pt x="339132" y="356949"/>
                    </a:lnTo>
                    <a:lnTo>
                      <a:pt x="339132" y="351108"/>
                    </a:lnTo>
                    <a:cubicBezTo>
                      <a:pt x="330401" y="345454"/>
                      <a:pt x="325991" y="329344"/>
                      <a:pt x="325991" y="302773"/>
                    </a:cubicBezTo>
                    <a:close/>
                    <a:moveTo>
                      <a:pt x="228112" y="232303"/>
                    </a:moveTo>
                    <a:cubicBezTo>
                      <a:pt x="228112" y="251428"/>
                      <a:pt x="221091" y="267351"/>
                      <a:pt x="207046" y="279975"/>
                    </a:cubicBezTo>
                    <a:cubicBezTo>
                      <a:pt x="193477" y="292599"/>
                      <a:pt x="175069" y="298909"/>
                      <a:pt x="151822" y="298909"/>
                    </a:cubicBezTo>
                    <a:cubicBezTo>
                      <a:pt x="137826" y="298909"/>
                      <a:pt x="125778" y="295802"/>
                      <a:pt x="115673" y="289676"/>
                    </a:cubicBezTo>
                    <a:cubicBezTo>
                      <a:pt x="105611" y="283647"/>
                      <a:pt x="100584" y="273001"/>
                      <a:pt x="100584" y="257738"/>
                    </a:cubicBezTo>
                    <a:cubicBezTo>
                      <a:pt x="100584" y="242574"/>
                      <a:pt x="106087" y="231455"/>
                      <a:pt x="116999" y="224484"/>
                    </a:cubicBezTo>
                    <a:cubicBezTo>
                      <a:pt x="128007" y="217510"/>
                      <a:pt x="144804" y="211672"/>
                      <a:pt x="167622" y="206863"/>
                    </a:cubicBezTo>
                    <a:cubicBezTo>
                      <a:pt x="179058" y="204229"/>
                      <a:pt x="189970" y="201683"/>
                      <a:pt x="200455" y="199044"/>
                    </a:cubicBezTo>
                    <a:cubicBezTo>
                      <a:pt x="211415" y="196029"/>
                      <a:pt x="220617" y="192074"/>
                      <a:pt x="228114" y="187245"/>
                    </a:cubicBezTo>
                    <a:lnTo>
                      <a:pt x="228114" y="232305"/>
                    </a:lnTo>
                    <a:close/>
                  </a:path>
                </a:pathLst>
              </a:custGeom>
              <a:solidFill>
                <a:srgbClr val="50936E"/>
              </a:solidFill>
              <a:ln w="19259" cap="flat">
                <a:noFill/>
                <a:prstDash val="solid"/>
                <a:miter/>
              </a:ln>
            </p:spPr>
            <p:txBody>
              <a:bodyPr rtlCol="0" anchor="ctr"/>
              <a:lstStyle/>
              <a:p>
                <a:endParaRPr lang="de-DE"/>
              </a:p>
            </p:txBody>
          </p:sp>
          <p:sp>
            <p:nvSpPr>
              <p:cNvPr id="40" name="Freihandform 39">
                <a:extLst>
                  <a:ext uri="{FF2B5EF4-FFF2-40B4-BE49-F238E27FC236}">
                    <a16:creationId xmlns:a16="http://schemas.microsoft.com/office/drawing/2014/main" id="{71D7760B-C041-85A7-FE90-5606AFB6F405}"/>
                  </a:ext>
                </a:extLst>
              </p:cNvPr>
              <p:cNvSpPr/>
              <p:nvPr/>
            </p:nvSpPr>
            <p:spPr>
              <a:xfrm>
                <a:off x="4358418" y="3931902"/>
                <a:ext cx="315403" cy="354917"/>
              </a:xfrm>
              <a:custGeom>
                <a:avLst/>
                <a:gdLst>
                  <a:gd name="connsiteX0" fmla="*/ 90205 w 315403"/>
                  <a:gd name="connsiteY0" fmla="*/ 56575 h 354917"/>
                  <a:gd name="connsiteX1" fmla="*/ 92257 w 315403"/>
                  <a:gd name="connsiteY1" fmla="*/ 56575 h 354917"/>
                  <a:gd name="connsiteX2" fmla="*/ 195342 w 315403"/>
                  <a:gd name="connsiteY2" fmla="*/ 0 h 354917"/>
                  <a:gd name="connsiteX3" fmla="*/ 315403 w 315403"/>
                  <a:gd name="connsiteY3" fmla="*/ 129302 h 354917"/>
                  <a:gd name="connsiteX4" fmla="*/ 315403 w 315403"/>
                  <a:gd name="connsiteY4" fmla="*/ 354917 h 354917"/>
                  <a:gd name="connsiteX5" fmla="*/ 223164 w 315403"/>
                  <a:gd name="connsiteY5" fmla="*/ 354917 h 354917"/>
                  <a:gd name="connsiteX6" fmla="*/ 223164 w 315403"/>
                  <a:gd name="connsiteY6" fmla="*/ 142772 h 354917"/>
                  <a:gd name="connsiteX7" fmla="*/ 162804 w 315403"/>
                  <a:gd name="connsiteY7" fmla="*/ 79468 h 354917"/>
                  <a:gd name="connsiteX8" fmla="*/ 92257 w 315403"/>
                  <a:gd name="connsiteY8" fmla="*/ 158944 h 354917"/>
                  <a:gd name="connsiteX9" fmla="*/ 92257 w 315403"/>
                  <a:gd name="connsiteY9" fmla="*/ 354917 h 354917"/>
                  <a:gd name="connsiteX10" fmla="*/ 0 w 315403"/>
                  <a:gd name="connsiteY10" fmla="*/ 354917 h 354917"/>
                  <a:gd name="connsiteX11" fmla="*/ 0 w 315403"/>
                  <a:gd name="connsiteY11" fmla="*/ 9433 h 354917"/>
                  <a:gd name="connsiteX12" fmla="*/ 90205 w 315403"/>
                  <a:gd name="connsiteY12" fmla="*/ 9433 h 354917"/>
                  <a:gd name="connsiteX13" fmla="*/ 90205 w 315403"/>
                  <a:gd name="connsiteY13" fmla="*/ 56575 h 3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5403" h="354917">
                    <a:moveTo>
                      <a:pt x="90205" y="56575"/>
                    </a:moveTo>
                    <a:lnTo>
                      <a:pt x="92257" y="56575"/>
                    </a:lnTo>
                    <a:cubicBezTo>
                      <a:pt x="115993" y="19528"/>
                      <a:pt x="147862" y="0"/>
                      <a:pt x="195342" y="0"/>
                    </a:cubicBezTo>
                    <a:cubicBezTo>
                      <a:pt x="267254" y="0"/>
                      <a:pt x="315403" y="53881"/>
                      <a:pt x="315403" y="129302"/>
                    </a:cubicBezTo>
                    <a:lnTo>
                      <a:pt x="315403" y="354917"/>
                    </a:lnTo>
                    <a:lnTo>
                      <a:pt x="223164" y="354917"/>
                    </a:lnTo>
                    <a:lnTo>
                      <a:pt x="223164" y="142772"/>
                    </a:lnTo>
                    <a:cubicBezTo>
                      <a:pt x="223164" y="105727"/>
                      <a:pt x="201462" y="79468"/>
                      <a:pt x="162804" y="79468"/>
                    </a:cubicBezTo>
                    <a:cubicBezTo>
                      <a:pt x="122094" y="79468"/>
                      <a:pt x="92257" y="111792"/>
                      <a:pt x="92257" y="158944"/>
                    </a:cubicBezTo>
                    <a:lnTo>
                      <a:pt x="92257" y="354917"/>
                    </a:lnTo>
                    <a:lnTo>
                      <a:pt x="0" y="354917"/>
                    </a:lnTo>
                    <a:lnTo>
                      <a:pt x="0" y="9433"/>
                    </a:lnTo>
                    <a:lnTo>
                      <a:pt x="90205" y="9433"/>
                    </a:lnTo>
                    <a:lnTo>
                      <a:pt x="90205" y="56575"/>
                    </a:lnTo>
                    <a:close/>
                  </a:path>
                </a:pathLst>
              </a:custGeom>
              <a:solidFill>
                <a:srgbClr val="50936E"/>
              </a:solidFill>
              <a:ln w="19259" cap="flat">
                <a:noFill/>
                <a:prstDash val="solid"/>
                <a:miter/>
              </a:ln>
            </p:spPr>
            <p:txBody>
              <a:bodyPr rtlCol="0" anchor="ctr"/>
              <a:lstStyle/>
              <a:p>
                <a:endParaRPr lang="de-DE"/>
              </a:p>
            </p:txBody>
          </p:sp>
          <p:sp>
            <p:nvSpPr>
              <p:cNvPr id="41" name="Freihandform 40">
                <a:extLst>
                  <a:ext uri="{FF2B5EF4-FFF2-40B4-BE49-F238E27FC236}">
                    <a16:creationId xmlns:a16="http://schemas.microsoft.com/office/drawing/2014/main" id="{B5354039-C5C9-DED1-9E63-70482E4AA1CB}"/>
                  </a:ext>
                </a:extLst>
              </p:cNvPr>
              <p:cNvSpPr/>
              <p:nvPr/>
            </p:nvSpPr>
            <p:spPr>
              <a:xfrm>
                <a:off x="3395850" y="3931903"/>
                <a:ext cx="344551" cy="468064"/>
              </a:xfrm>
              <a:custGeom>
                <a:avLst/>
                <a:gdLst>
                  <a:gd name="connsiteX0" fmla="*/ 0 w 344551"/>
                  <a:gd name="connsiteY0" fmla="*/ 9433 h 468064"/>
                  <a:gd name="connsiteX1" fmla="*/ 88859 w 344551"/>
                  <a:gd name="connsiteY1" fmla="*/ 9433 h 468064"/>
                  <a:gd name="connsiteX2" fmla="*/ 88859 w 344551"/>
                  <a:gd name="connsiteY2" fmla="*/ 52526 h 468064"/>
                  <a:gd name="connsiteX3" fmla="*/ 90892 w 344551"/>
                  <a:gd name="connsiteY3" fmla="*/ 52526 h 468064"/>
                  <a:gd name="connsiteX4" fmla="*/ 193290 w 344551"/>
                  <a:gd name="connsiteY4" fmla="*/ 0 h 468064"/>
                  <a:gd name="connsiteX5" fmla="*/ 344552 w 344551"/>
                  <a:gd name="connsiteY5" fmla="*/ 182511 h 468064"/>
                  <a:gd name="connsiteX6" fmla="*/ 193967 w 344551"/>
                  <a:gd name="connsiteY6" fmla="*/ 365012 h 468064"/>
                  <a:gd name="connsiteX7" fmla="*/ 93585 w 344551"/>
                  <a:gd name="connsiteY7" fmla="*/ 315841 h 468064"/>
                  <a:gd name="connsiteX8" fmla="*/ 92230 w 344551"/>
                  <a:gd name="connsiteY8" fmla="*/ 315841 h 468064"/>
                  <a:gd name="connsiteX9" fmla="*/ 92230 w 344551"/>
                  <a:gd name="connsiteY9" fmla="*/ 468065 h 468064"/>
                  <a:gd name="connsiteX10" fmla="*/ 0 w 344551"/>
                  <a:gd name="connsiteY10" fmla="*/ 468065 h 468064"/>
                  <a:gd name="connsiteX11" fmla="*/ 0 w 344551"/>
                  <a:gd name="connsiteY11" fmla="*/ 9433 h 468064"/>
                  <a:gd name="connsiteX12" fmla="*/ 250947 w 344551"/>
                  <a:gd name="connsiteY12" fmla="*/ 185212 h 468064"/>
                  <a:gd name="connsiteX13" fmla="*/ 170902 w 344551"/>
                  <a:gd name="connsiteY13" fmla="*/ 74083 h 468064"/>
                  <a:gd name="connsiteX14" fmla="*/ 90195 w 344551"/>
                  <a:gd name="connsiteY14" fmla="*/ 185212 h 468064"/>
                  <a:gd name="connsiteX15" fmla="*/ 174309 w 344551"/>
                  <a:gd name="connsiteY15" fmla="*/ 288920 h 468064"/>
                  <a:gd name="connsiteX16" fmla="*/ 250947 w 344551"/>
                  <a:gd name="connsiteY16" fmla="*/ 185212 h 46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4551" h="468064">
                    <a:moveTo>
                      <a:pt x="0" y="9433"/>
                    </a:moveTo>
                    <a:lnTo>
                      <a:pt x="88859" y="9433"/>
                    </a:lnTo>
                    <a:lnTo>
                      <a:pt x="88859" y="52526"/>
                    </a:lnTo>
                    <a:lnTo>
                      <a:pt x="90892" y="52526"/>
                    </a:lnTo>
                    <a:cubicBezTo>
                      <a:pt x="113263" y="22219"/>
                      <a:pt x="145820" y="0"/>
                      <a:pt x="193290" y="0"/>
                    </a:cubicBezTo>
                    <a:cubicBezTo>
                      <a:pt x="285557" y="0"/>
                      <a:pt x="344552" y="74757"/>
                      <a:pt x="344552" y="182511"/>
                    </a:cubicBezTo>
                    <a:cubicBezTo>
                      <a:pt x="344552" y="294303"/>
                      <a:pt x="283524" y="365012"/>
                      <a:pt x="193967" y="365012"/>
                    </a:cubicBezTo>
                    <a:cubicBezTo>
                      <a:pt x="145122" y="365012"/>
                      <a:pt x="113263" y="345494"/>
                      <a:pt x="93585" y="315841"/>
                    </a:cubicBezTo>
                    <a:lnTo>
                      <a:pt x="92230" y="315841"/>
                    </a:lnTo>
                    <a:lnTo>
                      <a:pt x="92230" y="468065"/>
                    </a:lnTo>
                    <a:lnTo>
                      <a:pt x="0" y="468065"/>
                    </a:lnTo>
                    <a:lnTo>
                      <a:pt x="0" y="9433"/>
                    </a:lnTo>
                    <a:close/>
                    <a:moveTo>
                      <a:pt x="250947" y="185212"/>
                    </a:moveTo>
                    <a:cubicBezTo>
                      <a:pt x="250947" y="119869"/>
                      <a:pt x="227880" y="74083"/>
                      <a:pt x="170902" y="74083"/>
                    </a:cubicBezTo>
                    <a:cubicBezTo>
                      <a:pt x="113263" y="74083"/>
                      <a:pt x="90195" y="123244"/>
                      <a:pt x="90195" y="185212"/>
                    </a:cubicBezTo>
                    <a:cubicBezTo>
                      <a:pt x="90195" y="247825"/>
                      <a:pt x="119383" y="288920"/>
                      <a:pt x="174309" y="288920"/>
                    </a:cubicBezTo>
                    <a:cubicBezTo>
                      <a:pt x="221120" y="288920"/>
                      <a:pt x="250947" y="250517"/>
                      <a:pt x="250947" y="185212"/>
                    </a:cubicBezTo>
                    <a:close/>
                  </a:path>
                </a:pathLst>
              </a:custGeom>
              <a:solidFill>
                <a:srgbClr val="50936E"/>
              </a:solidFill>
              <a:ln w="19259" cap="flat">
                <a:noFill/>
                <a:prstDash val="solid"/>
                <a:miter/>
              </a:ln>
            </p:spPr>
            <p:txBody>
              <a:bodyPr rtlCol="0" anchor="ctr"/>
              <a:lstStyle/>
              <a:p>
                <a:endParaRPr lang="de-DE"/>
              </a:p>
            </p:txBody>
          </p:sp>
          <p:sp>
            <p:nvSpPr>
              <p:cNvPr id="42" name="Freihandform 41">
                <a:extLst>
                  <a:ext uri="{FF2B5EF4-FFF2-40B4-BE49-F238E27FC236}">
                    <a16:creationId xmlns:a16="http://schemas.microsoft.com/office/drawing/2014/main" id="{CC29D316-0AC7-1201-49E3-158DBAED2E5B}"/>
                  </a:ext>
                </a:extLst>
              </p:cNvPr>
              <p:cNvSpPr/>
              <p:nvPr/>
            </p:nvSpPr>
            <p:spPr>
              <a:xfrm>
                <a:off x="3800810" y="3805292"/>
                <a:ext cx="92248" cy="481527"/>
              </a:xfrm>
              <a:custGeom>
                <a:avLst/>
                <a:gdLst>
                  <a:gd name="connsiteX0" fmla="*/ 0 w 92248"/>
                  <a:gd name="connsiteY0" fmla="*/ 0 h 481527"/>
                  <a:gd name="connsiteX1" fmla="*/ 92249 w 92248"/>
                  <a:gd name="connsiteY1" fmla="*/ 0 h 481527"/>
                  <a:gd name="connsiteX2" fmla="*/ 92249 w 92248"/>
                  <a:gd name="connsiteY2" fmla="*/ 481527 h 481527"/>
                  <a:gd name="connsiteX3" fmla="*/ 0 w 92248"/>
                  <a:gd name="connsiteY3" fmla="*/ 481527 h 481527"/>
                  <a:gd name="connsiteX4" fmla="*/ 0 w 92248"/>
                  <a:gd name="connsiteY4" fmla="*/ 0 h 481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48" h="481527">
                    <a:moveTo>
                      <a:pt x="0" y="0"/>
                    </a:moveTo>
                    <a:lnTo>
                      <a:pt x="92249" y="0"/>
                    </a:lnTo>
                    <a:lnTo>
                      <a:pt x="92249" y="481527"/>
                    </a:lnTo>
                    <a:lnTo>
                      <a:pt x="0" y="481527"/>
                    </a:lnTo>
                    <a:lnTo>
                      <a:pt x="0" y="0"/>
                    </a:lnTo>
                    <a:close/>
                  </a:path>
                </a:pathLst>
              </a:custGeom>
              <a:solidFill>
                <a:srgbClr val="50936E"/>
              </a:solidFill>
              <a:ln w="19259" cap="flat">
                <a:noFill/>
                <a:prstDash val="solid"/>
                <a:miter/>
              </a:ln>
            </p:spPr>
            <p:txBody>
              <a:bodyPr rtlCol="0" anchor="ctr"/>
              <a:lstStyle/>
              <a:p>
                <a:endParaRPr lang="de-DE"/>
              </a:p>
            </p:txBody>
          </p:sp>
          <p:sp>
            <p:nvSpPr>
              <p:cNvPr id="43" name="Freihandform 42">
                <a:extLst>
                  <a:ext uri="{FF2B5EF4-FFF2-40B4-BE49-F238E27FC236}">
                    <a16:creationId xmlns:a16="http://schemas.microsoft.com/office/drawing/2014/main" id="{69B513F9-2011-678A-D674-78D47F8F1C27}"/>
                  </a:ext>
                </a:extLst>
              </p:cNvPr>
              <p:cNvSpPr/>
              <p:nvPr/>
            </p:nvSpPr>
            <p:spPr>
              <a:xfrm>
                <a:off x="5098310" y="3833603"/>
                <a:ext cx="200098" cy="453920"/>
              </a:xfrm>
              <a:custGeom>
                <a:avLst/>
                <a:gdLst>
                  <a:gd name="connsiteX0" fmla="*/ 0 w 200098"/>
                  <a:gd name="connsiteY0" fmla="*/ 107764 h 453920"/>
                  <a:gd name="connsiteX1" fmla="*/ 48159 w 200098"/>
                  <a:gd name="connsiteY1" fmla="*/ 107764 h 453920"/>
                  <a:gd name="connsiteX2" fmla="*/ 48159 w 200098"/>
                  <a:gd name="connsiteY2" fmla="*/ 0 h 453920"/>
                  <a:gd name="connsiteX3" fmla="*/ 138373 w 200098"/>
                  <a:gd name="connsiteY3" fmla="*/ 0 h 453920"/>
                  <a:gd name="connsiteX4" fmla="*/ 138373 w 200098"/>
                  <a:gd name="connsiteY4" fmla="*/ 107764 h 453920"/>
                  <a:gd name="connsiteX5" fmla="*/ 198065 w 200098"/>
                  <a:gd name="connsiteY5" fmla="*/ 107764 h 453920"/>
                  <a:gd name="connsiteX6" fmla="*/ 198065 w 200098"/>
                  <a:gd name="connsiteY6" fmla="*/ 168367 h 453920"/>
                  <a:gd name="connsiteX7" fmla="*/ 138373 w 200098"/>
                  <a:gd name="connsiteY7" fmla="*/ 168367 h 453920"/>
                  <a:gd name="connsiteX8" fmla="*/ 138373 w 200098"/>
                  <a:gd name="connsiteY8" fmla="*/ 351542 h 453920"/>
                  <a:gd name="connsiteX9" fmla="*/ 172956 w 200098"/>
                  <a:gd name="connsiteY9" fmla="*/ 385905 h 453920"/>
                  <a:gd name="connsiteX10" fmla="*/ 200099 w 200098"/>
                  <a:gd name="connsiteY10" fmla="*/ 385231 h 453920"/>
                  <a:gd name="connsiteX11" fmla="*/ 200099 w 200098"/>
                  <a:gd name="connsiteY11" fmla="*/ 452575 h 453920"/>
                  <a:gd name="connsiteX12" fmla="*/ 142440 w 200098"/>
                  <a:gd name="connsiteY12" fmla="*/ 453921 h 453920"/>
                  <a:gd name="connsiteX13" fmla="*/ 48159 w 200098"/>
                  <a:gd name="connsiteY13" fmla="*/ 371097 h 453920"/>
                  <a:gd name="connsiteX14" fmla="*/ 48159 w 200098"/>
                  <a:gd name="connsiteY14" fmla="*/ 168367 h 453920"/>
                  <a:gd name="connsiteX15" fmla="*/ 0 w 200098"/>
                  <a:gd name="connsiteY15" fmla="*/ 168367 h 453920"/>
                  <a:gd name="connsiteX16" fmla="*/ 0 w 200098"/>
                  <a:gd name="connsiteY16" fmla="*/ 107764 h 4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98" h="453920">
                    <a:moveTo>
                      <a:pt x="0" y="107764"/>
                    </a:moveTo>
                    <a:lnTo>
                      <a:pt x="48159" y="107764"/>
                    </a:lnTo>
                    <a:lnTo>
                      <a:pt x="48159" y="0"/>
                    </a:lnTo>
                    <a:lnTo>
                      <a:pt x="138373" y="0"/>
                    </a:lnTo>
                    <a:lnTo>
                      <a:pt x="138373" y="107764"/>
                    </a:lnTo>
                    <a:lnTo>
                      <a:pt x="198065" y="107764"/>
                    </a:lnTo>
                    <a:lnTo>
                      <a:pt x="198065" y="168367"/>
                    </a:lnTo>
                    <a:lnTo>
                      <a:pt x="138373" y="168367"/>
                    </a:lnTo>
                    <a:lnTo>
                      <a:pt x="138373" y="351542"/>
                    </a:lnTo>
                    <a:cubicBezTo>
                      <a:pt x="138373" y="377156"/>
                      <a:pt x="152609" y="385905"/>
                      <a:pt x="172956" y="385905"/>
                    </a:cubicBezTo>
                    <a:cubicBezTo>
                      <a:pt x="184488" y="385905"/>
                      <a:pt x="200099" y="385231"/>
                      <a:pt x="200099" y="385231"/>
                    </a:cubicBezTo>
                    <a:lnTo>
                      <a:pt x="200099" y="452575"/>
                    </a:lnTo>
                    <a:cubicBezTo>
                      <a:pt x="200099" y="452575"/>
                      <a:pt x="179074" y="453921"/>
                      <a:pt x="142440" y="453921"/>
                    </a:cubicBezTo>
                    <a:cubicBezTo>
                      <a:pt x="97673" y="453921"/>
                      <a:pt x="48159" y="436422"/>
                      <a:pt x="48159" y="371097"/>
                    </a:cubicBezTo>
                    <a:lnTo>
                      <a:pt x="48159" y="168367"/>
                    </a:lnTo>
                    <a:lnTo>
                      <a:pt x="0" y="168367"/>
                    </a:lnTo>
                    <a:lnTo>
                      <a:pt x="0" y="107764"/>
                    </a:lnTo>
                    <a:close/>
                  </a:path>
                </a:pathLst>
              </a:custGeom>
              <a:solidFill>
                <a:srgbClr val="50936E"/>
              </a:solidFill>
              <a:ln w="19259" cap="flat">
                <a:noFill/>
                <a:prstDash val="solid"/>
                <a:miter/>
              </a:ln>
            </p:spPr>
            <p:txBody>
              <a:bodyPr rtlCol="0" anchor="ctr"/>
              <a:lstStyle/>
              <a:p>
                <a:endParaRPr lang="de-DE"/>
              </a:p>
            </p:txBody>
          </p:sp>
          <p:sp>
            <p:nvSpPr>
              <p:cNvPr id="44" name="Freihandform 43">
                <a:extLst>
                  <a:ext uri="{FF2B5EF4-FFF2-40B4-BE49-F238E27FC236}">
                    <a16:creationId xmlns:a16="http://schemas.microsoft.com/office/drawing/2014/main" id="{129690D5-DE5D-AD11-CE2B-CDA22B6BF46C}"/>
                  </a:ext>
                </a:extLst>
              </p:cNvPr>
              <p:cNvSpPr/>
              <p:nvPr/>
            </p:nvSpPr>
            <p:spPr>
              <a:xfrm>
                <a:off x="4729809" y="3931934"/>
                <a:ext cx="343225" cy="365012"/>
              </a:xfrm>
              <a:custGeom>
                <a:avLst/>
                <a:gdLst>
                  <a:gd name="connsiteX0" fmla="*/ 0 w 343225"/>
                  <a:gd name="connsiteY0" fmla="*/ 181847 h 365012"/>
                  <a:gd name="connsiteX1" fmla="*/ 171627 w 343225"/>
                  <a:gd name="connsiteY1" fmla="*/ 0 h 365012"/>
                  <a:gd name="connsiteX2" fmla="*/ 343225 w 343225"/>
                  <a:gd name="connsiteY2" fmla="*/ 208115 h 365012"/>
                  <a:gd name="connsiteX3" fmla="*/ 90894 w 343225"/>
                  <a:gd name="connsiteY3" fmla="*/ 208115 h 365012"/>
                  <a:gd name="connsiteX4" fmla="*/ 179753 w 343225"/>
                  <a:gd name="connsiteY4" fmla="*/ 294303 h 365012"/>
                  <a:gd name="connsiteX5" fmla="*/ 246900 w 343225"/>
                  <a:gd name="connsiteY5" fmla="*/ 251865 h 365012"/>
                  <a:gd name="connsiteX6" fmla="*/ 337792 w 343225"/>
                  <a:gd name="connsiteY6" fmla="*/ 251865 h 365012"/>
                  <a:gd name="connsiteX7" fmla="*/ 180449 w 343225"/>
                  <a:gd name="connsiteY7" fmla="*/ 365012 h 365012"/>
                  <a:gd name="connsiteX8" fmla="*/ 0 w 343225"/>
                  <a:gd name="connsiteY8" fmla="*/ 181847 h 365012"/>
                  <a:gd name="connsiteX9" fmla="*/ 92276 w 343225"/>
                  <a:gd name="connsiteY9" fmla="*/ 144792 h 365012"/>
                  <a:gd name="connsiteX10" fmla="*/ 246900 w 343225"/>
                  <a:gd name="connsiteY10" fmla="*/ 144792 h 365012"/>
                  <a:gd name="connsiteX11" fmla="*/ 172973 w 343225"/>
                  <a:gd name="connsiteY11" fmla="*/ 70717 h 365012"/>
                  <a:gd name="connsiteX12" fmla="*/ 92276 w 343225"/>
                  <a:gd name="connsiteY12" fmla="*/ 144792 h 365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3225" h="365012">
                    <a:moveTo>
                      <a:pt x="0" y="181847"/>
                    </a:moveTo>
                    <a:cubicBezTo>
                      <a:pt x="0" y="79468"/>
                      <a:pt x="69868" y="0"/>
                      <a:pt x="171627" y="0"/>
                    </a:cubicBezTo>
                    <a:cubicBezTo>
                      <a:pt x="283534" y="0"/>
                      <a:pt x="343225" y="84852"/>
                      <a:pt x="343225" y="208115"/>
                    </a:cubicBezTo>
                    <a:lnTo>
                      <a:pt x="90894" y="208115"/>
                    </a:lnTo>
                    <a:cubicBezTo>
                      <a:pt x="97690" y="261324"/>
                      <a:pt x="127527" y="294303"/>
                      <a:pt x="179753" y="294303"/>
                    </a:cubicBezTo>
                    <a:cubicBezTo>
                      <a:pt x="215708" y="294303"/>
                      <a:pt x="236731" y="278151"/>
                      <a:pt x="246900" y="251865"/>
                    </a:cubicBezTo>
                    <a:lnTo>
                      <a:pt x="337792" y="251865"/>
                    </a:lnTo>
                    <a:cubicBezTo>
                      <a:pt x="324913" y="313149"/>
                      <a:pt x="269967" y="365012"/>
                      <a:pt x="180449" y="365012"/>
                    </a:cubicBezTo>
                    <a:cubicBezTo>
                      <a:pt x="65133" y="365012"/>
                      <a:pt x="0" y="284882"/>
                      <a:pt x="0" y="181847"/>
                    </a:cubicBezTo>
                    <a:close/>
                    <a:moveTo>
                      <a:pt x="92276" y="144792"/>
                    </a:moveTo>
                    <a:lnTo>
                      <a:pt x="246900" y="144792"/>
                    </a:lnTo>
                    <a:cubicBezTo>
                      <a:pt x="244197" y="101016"/>
                      <a:pt x="215039" y="70717"/>
                      <a:pt x="172973" y="70717"/>
                    </a:cubicBezTo>
                    <a:cubicBezTo>
                      <a:pt x="124147" y="70717"/>
                      <a:pt x="100401" y="99677"/>
                      <a:pt x="92276" y="144792"/>
                    </a:cubicBezTo>
                    <a:close/>
                  </a:path>
                </a:pathLst>
              </a:custGeom>
              <a:solidFill>
                <a:srgbClr val="50936E"/>
              </a:solidFill>
              <a:ln w="19259"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37133778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50936E"/>
        </a:solidFill>
        <a:effectLst/>
      </p:bgPr>
    </p:bg>
    <p:spTree>
      <p:nvGrpSpPr>
        <p:cNvPr id="1" name=""/>
        <p:cNvGrpSpPr/>
        <p:nvPr/>
      </p:nvGrpSpPr>
      <p:grpSpPr>
        <a:xfrm>
          <a:off x="0" y="0"/>
          <a:ext cx="0" cy="0"/>
          <a:chOff x="0" y="0"/>
          <a:chExt cx="0" cy="0"/>
        </a:xfrm>
      </p:grpSpPr>
      <p:pic>
        <p:nvPicPr>
          <p:cNvPr id="21" name="Inhaltsplatzhalter 83">
            <a:extLst>
              <a:ext uri="{FF2B5EF4-FFF2-40B4-BE49-F238E27FC236}">
                <a16:creationId xmlns:a16="http://schemas.microsoft.com/office/drawing/2014/main" id="{C5D3C8F8-413A-A44D-7360-EE04C52B44C9}"/>
              </a:ext>
            </a:extLst>
          </p:cNvPr>
          <p:cNvPicPr>
            <a:picLocks noGrp="1" noChangeAspect="1"/>
          </p:cNvPicPr>
          <p:nvPr>
            <p:ph sz="quarter" idx="24"/>
          </p:nvPr>
        </p:nvPicPr>
        <p:blipFill>
          <a:blip r:embed="rId2" cstate="print">
            <a:extLst>
              <a:ext uri="{28A0092B-C50C-407E-A947-70E740481C1C}">
                <a14:useLocalDpi xmlns:a14="http://schemas.microsoft.com/office/drawing/2010/main"/>
              </a:ext>
            </a:extLst>
          </a:blip>
          <a:srcRect l="20425" r="20425"/>
          <a:stretch/>
        </p:blipFill>
        <p:spPr>
          <a:xfrm>
            <a:off x="6101620" y="6350"/>
            <a:ext cx="6084760" cy="6845300"/>
          </a:xfrm>
        </p:spPr>
      </p:pic>
      <p:sp>
        <p:nvSpPr>
          <p:cNvPr id="28" name="Textplatzhalter 27">
            <a:extLst>
              <a:ext uri="{FF2B5EF4-FFF2-40B4-BE49-F238E27FC236}">
                <a16:creationId xmlns:a16="http://schemas.microsoft.com/office/drawing/2014/main" id="{E55838E8-A6AC-BF79-BA85-C6E1EDB111DD}"/>
              </a:ext>
            </a:extLst>
          </p:cNvPr>
          <p:cNvSpPr>
            <a:spLocks noGrp="1"/>
          </p:cNvSpPr>
          <p:nvPr>
            <p:ph type="body" sz="quarter" idx="12"/>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26" name="Titel 25">
            <a:extLst>
              <a:ext uri="{FF2B5EF4-FFF2-40B4-BE49-F238E27FC236}">
                <a16:creationId xmlns:a16="http://schemas.microsoft.com/office/drawing/2014/main" id="{D2C7E8E0-4118-E086-FF2C-FEF963B1FC1B}"/>
              </a:ext>
            </a:extLst>
          </p:cNvPr>
          <p:cNvSpPr>
            <a:spLocks noGrp="1"/>
          </p:cNvSpPr>
          <p:nvPr>
            <p:ph type="title"/>
          </p:nvPr>
        </p:nvSpPr>
        <p:spPr/>
        <p:txBody>
          <a:bodyPr/>
          <a:lstStyle/>
          <a:p>
            <a:r>
              <a:rPr lang="de-DE" dirty="0"/>
              <a:t>Agenda</a:t>
            </a:r>
          </a:p>
        </p:txBody>
      </p:sp>
      <p:sp>
        <p:nvSpPr>
          <p:cNvPr id="27" name="Textplatzhalter 26">
            <a:extLst>
              <a:ext uri="{FF2B5EF4-FFF2-40B4-BE49-F238E27FC236}">
                <a16:creationId xmlns:a16="http://schemas.microsoft.com/office/drawing/2014/main" id="{29BC5DCF-0CEB-F224-07F7-F045AAE5C7DF}"/>
              </a:ext>
            </a:extLst>
          </p:cNvPr>
          <p:cNvSpPr>
            <a:spLocks noGrp="1"/>
          </p:cNvSpPr>
          <p:nvPr>
            <p:ph type="body" sz="quarter" idx="11"/>
          </p:nvPr>
        </p:nvSpPr>
        <p:spPr/>
        <p:txBody>
          <a:bodyPr/>
          <a:lstStyle/>
          <a:p>
            <a:r>
              <a:rPr lang="de-DE" dirty="0">
                <a:solidFill>
                  <a:schemeClr val="tx1"/>
                </a:solidFill>
              </a:rPr>
              <a:t>1</a:t>
            </a:r>
          </a:p>
        </p:txBody>
      </p:sp>
      <p:sp>
        <p:nvSpPr>
          <p:cNvPr id="29" name="Textplatzhalter 28">
            <a:extLst>
              <a:ext uri="{FF2B5EF4-FFF2-40B4-BE49-F238E27FC236}">
                <a16:creationId xmlns:a16="http://schemas.microsoft.com/office/drawing/2014/main" id="{25950FFE-DC82-E92A-26FF-8426F4814371}"/>
              </a:ext>
            </a:extLst>
          </p:cNvPr>
          <p:cNvSpPr>
            <a:spLocks noGrp="1"/>
          </p:cNvSpPr>
          <p:nvPr>
            <p:ph type="body" sz="quarter" idx="13"/>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30" name="Textplatzhalter 29">
            <a:extLst>
              <a:ext uri="{FF2B5EF4-FFF2-40B4-BE49-F238E27FC236}">
                <a16:creationId xmlns:a16="http://schemas.microsoft.com/office/drawing/2014/main" id="{6EF49BBF-DDF2-D719-8C82-4EDC7E085B4F}"/>
              </a:ext>
            </a:extLst>
          </p:cNvPr>
          <p:cNvSpPr>
            <a:spLocks noGrp="1"/>
          </p:cNvSpPr>
          <p:nvPr>
            <p:ph type="body" sz="quarter" idx="14"/>
          </p:nvPr>
        </p:nvSpPr>
        <p:spPr/>
        <p:txBody>
          <a:bodyPr/>
          <a:lstStyle/>
          <a:p>
            <a:r>
              <a:rPr lang="de-DE" dirty="0">
                <a:solidFill>
                  <a:schemeClr val="tx1"/>
                </a:solidFill>
              </a:rPr>
              <a:t>2</a:t>
            </a:r>
          </a:p>
        </p:txBody>
      </p:sp>
      <p:sp>
        <p:nvSpPr>
          <p:cNvPr id="31" name="Textplatzhalter 30">
            <a:extLst>
              <a:ext uri="{FF2B5EF4-FFF2-40B4-BE49-F238E27FC236}">
                <a16:creationId xmlns:a16="http://schemas.microsoft.com/office/drawing/2014/main" id="{BBF57113-AF33-2324-A96E-5EE9A80F21D6}"/>
              </a:ext>
            </a:extLst>
          </p:cNvPr>
          <p:cNvSpPr>
            <a:spLocks noGrp="1"/>
          </p:cNvSpPr>
          <p:nvPr>
            <p:ph type="body" sz="quarter" idx="15"/>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32" name="Textplatzhalter 31">
            <a:extLst>
              <a:ext uri="{FF2B5EF4-FFF2-40B4-BE49-F238E27FC236}">
                <a16:creationId xmlns:a16="http://schemas.microsoft.com/office/drawing/2014/main" id="{611DC75B-00F9-0E55-2D35-C301C5FA5ECB}"/>
              </a:ext>
            </a:extLst>
          </p:cNvPr>
          <p:cNvSpPr>
            <a:spLocks noGrp="1"/>
          </p:cNvSpPr>
          <p:nvPr>
            <p:ph type="body" sz="quarter" idx="16"/>
          </p:nvPr>
        </p:nvSpPr>
        <p:spPr/>
        <p:txBody>
          <a:bodyPr/>
          <a:lstStyle/>
          <a:p>
            <a:r>
              <a:rPr lang="de-DE" dirty="0">
                <a:solidFill>
                  <a:schemeClr val="tx1"/>
                </a:solidFill>
              </a:rPr>
              <a:t>3</a:t>
            </a:r>
          </a:p>
        </p:txBody>
      </p:sp>
      <p:sp>
        <p:nvSpPr>
          <p:cNvPr id="33" name="Textplatzhalter 32">
            <a:extLst>
              <a:ext uri="{FF2B5EF4-FFF2-40B4-BE49-F238E27FC236}">
                <a16:creationId xmlns:a16="http://schemas.microsoft.com/office/drawing/2014/main" id="{2EF39180-AA9B-1028-21AC-DD0F9B047879}"/>
              </a:ext>
            </a:extLst>
          </p:cNvPr>
          <p:cNvSpPr>
            <a:spLocks noGrp="1"/>
          </p:cNvSpPr>
          <p:nvPr>
            <p:ph type="body" sz="quarter" idx="17"/>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34" name="Textplatzhalter 33">
            <a:extLst>
              <a:ext uri="{FF2B5EF4-FFF2-40B4-BE49-F238E27FC236}">
                <a16:creationId xmlns:a16="http://schemas.microsoft.com/office/drawing/2014/main" id="{C7F3CDB9-4313-AEEC-A2A2-E5FF095CED7B}"/>
              </a:ext>
            </a:extLst>
          </p:cNvPr>
          <p:cNvSpPr>
            <a:spLocks noGrp="1"/>
          </p:cNvSpPr>
          <p:nvPr>
            <p:ph type="body" sz="quarter" idx="18"/>
          </p:nvPr>
        </p:nvSpPr>
        <p:spPr/>
        <p:txBody>
          <a:bodyPr/>
          <a:lstStyle/>
          <a:p>
            <a:r>
              <a:rPr lang="de-DE" dirty="0">
                <a:solidFill>
                  <a:schemeClr val="tx1"/>
                </a:solidFill>
              </a:rPr>
              <a:t>4</a:t>
            </a:r>
          </a:p>
        </p:txBody>
      </p:sp>
      <p:sp>
        <p:nvSpPr>
          <p:cNvPr id="35" name="Textplatzhalter 34">
            <a:extLst>
              <a:ext uri="{FF2B5EF4-FFF2-40B4-BE49-F238E27FC236}">
                <a16:creationId xmlns:a16="http://schemas.microsoft.com/office/drawing/2014/main" id="{B9EEFE8B-610C-A62C-648A-1C093F532CDA}"/>
              </a:ext>
            </a:extLst>
          </p:cNvPr>
          <p:cNvSpPr>
            <a:spLocks noGrp="1"/>
          </p:cNvSpPr>
          <p:nvPr>
            <p:ph type="body" sz="quarter" idx="19"/>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36" name="Textplatzhalter 35">
            <a:extLst>
              <a:ext uri="{FF2B5EF4-FFF2-40B4-BE49-F238E27FC236}">
                <a16:creationId xmlns:a16="http://schemas.microsoft.com/office/drawing/2014/main" id="{B0A4AA76-0B19-3458-A8F3-9F7C25DC0B54}"/>
              </a:ext>
            </a:extLst>
          </p:cNvPr>
          <p:cNvSpPr>
            <a:spLocks noGrp="1"/>
          </p:cNvSpPr>
          <p:nvPr>
            <p:ph type="body" sz="quarter" idx="20"/>
          </p:nvPr>
        </p:nvSpPr>
        <p:spPr/>
        <p:txBody>
          <a:bodyPr/>
          <a:lstStyle/>
          <a:p>
            <a:r>
              <a:rPr lang="de-DE" dirty="0">
                <a:solidFill>
                  <a:schemeClr val="tx1"/>
                </a:solidFill>
              </a:rPr>
              <a:t>5</a:t>
            </a:r>
          </a:p>
        </p:txBody>
      </p:sp>
      <p:sp>
        <p:nvSpPr>
          <p:cNvPr id="37" name="Textplatzhalter 36">
            <a:extLst>
              <a:ext uri="{FF2B5EF4-FFF2-40B4-BE49-F238E27FC236}">
                <a16:creationId xmlns:a16="http://schemas.microsoft.com/office/drawing/2014/main" id="{61A1FF20-72A3-A838-CE75-AA44F02300DD}"/>
              </a:ext>
            </a:extLst>
          </p:cNvPr>
          <p:cNvSpPr>
            <a:spLocks noGrp="1"/>
          </p:cNvSpPr>
          <p:nvPr>
            <p:ph type="body" sz="quarter" idx="21"/>
          </p:nvPr>
        </p:nvSpPr>
        <p:spPr/>
        <p:txBody>
          <a:bodyPr/>
          <a:lstStyle/>
          <a:p>
            <a:r>
              <a:rPr kumimoji="0" lang="de-DE" sz="1600" b="0" i="0" u="none" strike="noStrike" kern="1200" cap="none" spc="0" normalizeH="0" baseline="0" noProof="0" dirty="0">
                <a:ln>
                  <a:noFill/>
                </a:ln>
                <a:solidFill>
                  <a:srgbClr val="FFFFFF"/>
                </a:solidFill>
                <a:effectLst/>
                <a:uLnTx/>
                <a:uFillTx/>
                <a:latin typeface="NeueHaasGroteskText Pro"/>
                <a:ea typeface="+mn-ea"/>
                <a:cs typeface="Arial"/>
              </a:rPr>
              <a:t>Hier steht der Kapitelname.</a:t>
            </a:r>
          </a:p>
        </p:txBody>
      </p:sp>
      <p:sp>
        <p:nvSpPr>
          <p:cNvPr id="38" name="Textplatzhalter 37">
            <a:extLst>
              <a:ext uri="{FF2B5EF4-FFF2-40B4-BE49-F238E27FC236}">
                <a16:creationId xmlns:a16="http://schemas.microsoft.com/office/drawing/2014/main" id="{18B86942-7D7C-8D5D-77D2-B7864770946E}"/>
              </a:ext>
            </a:extLst>
          </p:cNvPr>
          <p:cNvSpPr>
            <a:spLocks noGrp="1"/>
          </p:cNvSpPr>
          <p:nvPr>
            <p:ph type="body" sz="quarter" idx="22"/>
          </p:nvPr>
        </p:nvSpPr>
        <p:spPr/>
        <p:txBody>
          <a:bodyPr/>
          <a:lstStyle/>
          <a:p>
            <a:r>
              <a:rPr lang="de-DE" dirty="0">
                <a:solidFill>
                  <a:schemeClr val="tx1"/>
                </a:solidFill>
              </a:rPr>
              <a:t>6</a:t>
            </a:r>
          </a:p>
        </p:txBody>
      </p:sp>
      <p:sp>
        <p:nvSpPr>
          <p:cNvPr id="39" name="Textplatzhalter 38">
            <a:extLst>
              <a:ext uri="{FF2B5EF4-FFF2-40B4-BE49-F238E27FC236}">
                <a16:creationId xmlns:a16="http://schemas.microsoft.com/office/drawing/2014/main" id="{356E8BB3-F7E9-62B6-F24B-2F7497B3B3CA}"/>
              </a:ext>
            </a:extLst>
          </p:cNvPr>
          <p:cNvSpPr>
            <a:spLocks noGrp="1"/>
          </p:cNvSpPr>
          <p:nvPr>
            <p:ph type="body" sz="quarter" idx="23"/>
          </p:nvPr>
        </p:nvSpPr>
        <p:spPr/>
        <p:txBody>
          <a:bodyPr/>
          <a:lstStyle/>
          <a:p>
            <a:endParaRPr lang="de-DE"/>
          </a:p>
        </p:txBody>
      </p:sp>
      <p:sp>
        <p:nvSpPr>
          <p:cNvPr id="2" name="Datumsplatzhalter 1">
            <a:extLst>
              <a:ext uri="{FF2B5EF4-FFF2-40B4-BE49-F238E27FC236}">
                <a16:creationId xmlns:a16="http://schemas.microsoft.com/office/drawing/2014/main" id="{E40A372E-D064-C3F2-6B67-7E2F6D2E0E3F}"/>
              </a:ext>
            </a:extLst>
          </p:cNvPr>
          <p:cNvSpPr>
            <a:spLocks noGrp="1"/>
          </p:cNvSpPr>
          <p:nvPr>
            <p:ph type="dt" sz="half" idx="2"/>
          </p:nvPr>
        </p:nvSpPr>
        <p:spPr>
          <a:xfrm>
            <a:off x="10103961" y="6461687"/>
            <a:ext cx="1069249" cy="153888"/>
          </a:xfrm>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6641A5B1-8BE2-1C7B-65FF-324CB0440F52}"/>
              </a:ext>
            </a:extLst>
          </p:cNvPr>
          <p:cNvSpPr>
            <a:spLocks noGrp="1"/>
          </p:cNvSpPr>
          <p:nvPr>
            <p:ph type="ftr" sz="quarter" idx="3"/>
          </p:nvPr>
        </p:nvSpPr>
        <p:spPr>
          <a:xfrm>
            <a:off x="6343974" y="6461687"/>
            <a:ext cx="3759988" cy="153888"/>
          </a:xfrm>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DA3C48B1-382A-71CC-A9B8-4DAEF24816FA}"/>
              </a:ext>
            </a:extLst>
          </p:cNvPr>
          <p:cNvSpPr>
            <a:spLocks noGrp="1"/>
          </p:cNvSpPr>
          <p:nvPr>
            <p:ph type="sldNum" sz="quarter" idx="4"/>
          </p:nvPr>
        </p:nvSpPr>
        <p:spPr>
          <a:xfrm>
            <a:off x="11330367" y="6461687"/>
            <a:ext cx="345607" cy="153888"/>
          </a:xfrm>
        </p:spPr>
        <p:txBody>
          <a:bodyPr/>
          <a:lstStyle/>
          <a:p>
            <a:fld id="{E84006A6-0E15-460A-BCD4-002C20F8AC9F}" type="slidenum">
              <a:rPr lang="de-DE" smtClean="0"/>
              <a:pPr/>
              <a:t>93</a:t>
            </a:fld>
            <a:endParaRPr lang="de-DE"/>
          </a:p>
        </p:txBody>
      </p:sp>
    </p:spTree>
    <p:extLst>
      <p:ext uri="{BB962C8B-B14F-4D97-AF65-F5344CB8AC3E}">
        <p14:creationId xmlns:p14="http://schemas.microsoft.com/office/powerpoint/2010/main" val="29689748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50936E"/>
        </a:solidFill>
        <a:effectLst/>
      </p:bgPr>
    </p:bg>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E01C9FA5-7102-7A2A-7539-944EB9A4A0B9}"/>
              </a:ext>
            </a:extLst>
          </p:cNvPr>
          <p:cNvSpPr>
            <a:spLocks noGrp="1"/>
          </p:cNvSpPr>
          <p:nvPr>
            <p:ph type="title"/>
          </p:nvPr>
        </p:nvSpPr>
        <p:spPr>
          <a:xfrm>
            <a:off x="515939" y="2751892"/>
            <a:ext cx="5040312" cy="1354217"/>
          </a:xfrm>
        </p:spPr>
        <p:txBody>
          <a:bodyPr/>
          <a:lstStyle/>
          <a:p>
            <a:r>
              <a:rPr lang="de-DE" noProof="0" dirty="0"/>
              <a:t>Hier steht der Kapitelname.</a:t>
            </a:r>
            <a:endParaRPr lang="de-DE" dirty="0"/>
          </a:p>
        </p:txBody>
      </p:sp>
      <p:pic>
        <p:nvPicPr>
          <p:cNvPr id="30" name="Inhaltsplatzhalter 83">
            <a:extLst>
              <a:ext uri="{FF2B5EF4-FFF2-40B4-BE49-F238E27FC236}">
                <a16:creationId xmlns:a16="http://schemas.microsoft.com/office/drawing/2014/main" id="{043321A2-296B-A4A3-3E57-C9EBA7E523FF}"/>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t="12604" b="12604"/>
          <a:stretch/>
        </p:blipFill>
        <p:spPr>
          <a:xfrm>
            <a:off x="6096000" y="0"/>
            <a:ext cx="6096000" cy="6858000"/>
          </a:xfrm>
        </p:spPr>
      </p:pic>
      <p:sp>
        <p:nvSpPr>
          <p:cNvPr id="36" name="Textplatzhalter 35">
            <a:extLst>
              <a:ext uri="{FF2B5EF4-FFF2-40B4-BE49-F238E27FC236}">
                <a16:creationId xmlns:a16="http://schemas.microsoft.com/office/drawing/2014/main" id="{7BDBAA1B-8A44-A882-B918-B6F8350578C1}"/>
              </a:ext>
            </a:extLst>
          </p:cNvPr>
          <p:cNvSpPr>
            <a:spLocks noGrp="1"/>
          </p:cNvSpPr>
          <p:nvPr>
            <p:ph type="body" sz="quarter" idx="11"/>
          </p:nvPr>
        </p:nvSpPr>
        <p:spPr/>
        <p:txBody>
          <a:bodyPr/>
          <a:lstStyle/>
          <a:p>
            <a:r>
              <a:rPr lang="de-DE" dirty="0"/>
              <a:t>1</a:t>
            </a:r>
          </a:p>
        </p:txBody>
      </p:sp>
      <p:sp>
        <p:nvSpPr>
          <p:cNvPr id="37" name="Textplatzhalter 36">
            <a:extLst>
              <a:ext uri="{FF2B5EF4-FFF2-40B4-BE49-F238E27FC236}">
                <a16:creationId xmlns:a16="http://schemas.microsoft.com/office/drawing/2014/main" id="{EE60012F-4944-4983-4A40-B9053DFF0D35}"/>
              </a:ext>
            </a:extLst>
          </p:cNvPr>
          <p:cNvSpPr>
            <a:spLocks noGrp="1"/>
          </p:cNvSpPr>
          <p:nvPr>
            <p:ph type="body" sz="quarter" idx="14"/>
          </p:nvPr>
        </p:nvSpPr>
        <p:spPr/>
        <p:txBody>
          <a:bodyPr/>
          <a:lstStyle/>
          <a:p>
            <a:endParaRPr lang="de-DE"/>
          </a:p>
        </p:txBody>
      </p:sp>
      <p:sp>
        <p:nvSpPr>
          <p:cNvPr id="3" name="Datumsplatzhalter 2">
            <a:extLst>
              <a:ext uri="{FF2B5EF4-FFF2-40B4-BE49-F238E27FC236}">
                <a16:creationId xmlns:a16="http://schemas.microsoft.com/office/drawing/2014/main" id="{71E050AE-6E26-2E9D-6423-AB09835238C9}"/>
              </a:ext>
            </a:extLst>
          </p:cNvPr>
          <p:cNvSpPr>
            <a:spLocks noGrp="1"/>
          </p:cNvSpPr>
          <p:nvPr>
            <p:ph type="dt" sz="half" idx="2"/>
          </p:nvPr>
        </p:nvSpPr>
        <p:spPr>
          <a:xfrm>
            <a:off x="10103961" y="6461687"/>
            <a:ext cx="1069249" cy="153888"/>
          </a:xfrm>
        </p:spPr>
        <p:txBody>
          <a:bodyPr/>
          <a:lstStyle/>
          <a:p>
            <a:pPr lvl="0"/>
            <a:r>
              <a:rPr lang="de-DE" noProof="0"/>
              <a:t>02.08.2024</a:t>
            </a:r>
            <a:endParaRPr lang="de-DE" noProof="0" dirty="0"/>
          </a:p>
        </p:txBody>
      </p:sp>
      <p:sp>
        <p:nvSpPr>
          <p:cNvPr id="4" name="Fußzeilenplatzhalter 3">
            <a:extLst>
              <a:ext uri="{FF2B5EF4-FFF2-40B4-BE49-F238E27FC236}">
                <a16:creationId xmlns:a16="http://schemas.microsoft.com/office/drawing/2014/main" id="{DDCADC7A-72B5-C200-2FFA-B4B282B74E04}"/>
              </a:ext>
            </a:extLst>
          </p:cNvPr>
          <p:cNvSpPr>
            <a:spLocks noGrp="1"/>
          </p:cNvSpPr>
          <p:nvPr>
            <p:ph type="ftr" sz="quarter" idx="3"/>
          </p:nvPr>
        </p:nvSpPr>
        <p:spPr>
          <a:xfrm>
            <a:off x="6343974" y="6461687"/>
            <a:ext cx="3759988" cy="153888"/>
          </a:xfrm>
        </p:spPr>
        <p:txBody>
          <a:bodyPr/>
          <a:lstStyle/>
          <a:p>
            <a:pPr lvl="0"/>
            <a:r>
              <a:rPr lang="de-DE" noProof="0"/>
              <a:t>PowerPoint Folienmaster</a:t>
            </a:r>
            <a:endParaRPr lang="de-DE" noProof="0" dirty="0"/>
          </a:p>
        </p:txBody>
      </p:sp>
      <p:sp>
        <p:nvSpPr>
          <p:cNvPr id="5" name="Foliennummernplatzhalter 4">
            <a:extLst>
              <a:ext uri="{FF2B5EF4-FFF2-40B4-BE49-F238E27FC236}">
                <a16:creationId xmlns:a16="http://schemas.microsoft.com/office/drawing/2014/main" id="{797ECA50-5C37-3782-9E19-CF5779B437F5}"/>
              </a:ext>
            </a:extLst>
          </p:cNvPr>
          <p:cNvSpPr>
            <a:spLocks noGrp="1"/>
          </p:cNvSpPr>
          <p:nvPr>
            <p:ph type="sldNum" sz="quarter" idx="4"/>
          </p:nvPr>
        </p:nvSpPr>
        <p:spPr>
          <a:xfrm>
            <a:off x="11330367" y="6461687"/>
            <a:ext cx="345607" cy="153888"/>
          </a:xfrm>
        </p:spPr>
        <p:txBody>
          <a:bodyPr/>
          <a:lstStyle/>
          <a:p>
            <a:pPr lvl="0"/>
            <a:fld id="{E84006A6-0E15-460A-BCD4-002C20F8AC9F}" type="slidenum">
              <a:rPr lang="de-DE" noProof="0" smtClean="0"/>
              <a:pPr lvl="0"/>
              <a:t>94</a:t>
            </a:fld>
            <a:endParaRPr lang="de-DE" noProof="0"/>
          </a:p>
        </p:txBody>
      </p:sp>
    </p:spTree>
    <p:extLst>
      <p:ext uri="{BB962C8B-B14F-4D97-AF65-F5344CB8AC3E}">
        <p14:creationId xmlns:p14="http://schemas.microsoft.com/office/powerpoint/2010/main" val="344987901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A548B02-730D-54C5-6DD4-6D38F3FE095F}"/>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94A18F6-81D7-5C41-433D-DC60B248EC4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5FB52976-CB1E-E52F-1C74-985F8EE46D2D}"/>
              </a:ext>
            </a:extLst>
          </p:cNvPr>
          <p:cNvSpPr>
            <a:spLocks noGrp="1"/>
          </p:cNvSpPr>
          <p:nvPr>
            <p:ph type="sldNum" sz="quarter" idx="12"/>
          </p:nvPr>
        </p:nvSpPr>
        <p:spPr/>
        <p:txBody>
          <a:bodyPr/>
          <a:lstStyle/>
          <a:p>
            <a:fld id="{E84006A6-0E15-460A-BCD4-002C20F8AC9F}" type="slidenum">
              <a:rPr lang="de-DE" smtClean="0"/>
              <a:pPr/>
              <a:t>95</a:t>
            </a:fld>
            <a:endParaRPr lang="de-DE"/>
          </a:p>
        </p:txBody>
      </p:sp>
      <p:sp>
        <p:nvSpPr>
          <p:cNvPr id="5" name="Titel 4">
            <a:extLst>
              <a:ext uri="{FF2B5EF4-FFF2-40B4-BE49-F238E27FC236}">
                <a16:creationId xmlns:a16="http://schemas.microsoft.com/office/drawing/2014/main" id="{85F1B63C-4F1D-DDF9-7400-3035DB8764FC}"/>
              </a:ext>
            </a:extLst>
          </p:cNvPr>
          <p:cNvSpPr>
            <a:spLocks noGrp="1"/>
          </p:cNvSpPr>
          <p:nvPr>
            <p:ph type="title"/>
          </p:nvPr>
        </p:nvSpPr>
        <p:spPr/>
        <p:txBody>
          <a:bodyPr/>
          <a:lstStyle/>
          <a:p>
            <a:r>
              <a:rPr lang="de-DE" dirty="0"/>
              <a:t>Farbpalette</a:t>
            </a:r>
            <a:br>
              <a:rPr lang="de-DE" dirty="0"/>
            </a:br>
            <a:r>
              <a:rPr lang="de-DE" dirty="0" err="1"/>
              <a:t>Protecting</a:t>
            </a:r>
            <a:r>
              <a:rPr lang="de-DE" dirty="0"/>
              <a:t> Planet</a:t>
            </a:r>
          </a:p>
        </p:txBody>
      </p:sp>
      <p:sp>
        <p:nvSpPr>
          <p:cNvPr id="9" name="Rechteck 8">
            <a:extLst>
              <a:ext uri="{FF2B5EF4-FFF2-40B4-BE49-F238E27FC236}">
                <a16:creationId xmlns:a16="http://schemas.microsoft.com/office/drawing/2014/main" id="{AFDF77E5-8BB3-343F-192A-CFAAFBB52EFF}"/>
              </a:ext>
            </a:extLst>
          </p:cNvPr>
          <p:cNvSpPr/>
          <p:nvPr/>
        </p:nvSpPr>
        <p:spPr>
          <a:xfrm>
            <a:off x="515938" y="1777948"/>
            <a:ext cx="1235365" cy="1235365"/>
          </a:xfrm>
          <a:prstGeom prst="rect">
            <a:avLst/>
          </a:prstGeom>
          <a:solidFill>
            <a:srgbClr val="5093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err="1"/>
              <a:t>uvex</a:t>
            </a:r>
            <a:r>
              <a:rPr lang="de-DE" sz="900" dirty="0"/>
              <a:t> grün</a:t>
            </a:r>
          </a:p>
        </p:txBody>
      </p:sp>
      <p:sp>
        <p:nvSpPr>
          <p:cNvPr id="10" name="Inhaltsplatzhalter 1">
            <a:extLst>
              <a:ext uri="{FF2B5EF4-FFF2-40B4-BE49-F238E27FC236}">
                <a16:creationId xmlns:a16="http://schemas.microsoft.com/office/drawing/2014/main" id="{55A10281-83FA-B0E3-874F-90E6B09FC9AC}"/>
              </a:ext>
            </a:extLst>
          </p:cNvPr>
          <p:cNvSpPr txBox="1">
            <a:spLocks/>
          </p:cNvSpPr>
          <p:nvPr/>
        </p:nvSpPr>
        <p:spPr bwMode="gray">
          <a:xfrm>
            <a:off x="1751303" y="2324090"/>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80/147/110</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50936E</a:t>
            </a:r>
          </a:p>
        </p:txBody>
      </p:sp>
      <p:sp>
        <p:nvSpPr>
          <p:cNvPr id="11" name="Rechteck 10">
            <a:extLst>
              <a:ext uri="{FF2B5EF4-FFF2-40B4-BE49-F238E27FC236}">
                <a16:creationId xmlns:a16="http://schemas.microsoft.com/office/drawing/2014/main" id="{E4634690-CC77-8D58-3009-74B67740F735}"/>
              </a:ext>
            </a:extLst>
          </p:cNvPr>
          <p:cNvSpPr/>
          <p:nvPr/>
        </p:nvSpPr>
        <p:spPr>
          <a:xfrm>
            <a:off x="2794441" y="1777947"/>
            <a:ext cx="1235365" cy="12353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err="1"/>
              <a:t>uvex</a:t>
            </a:r>
            <a:r>
              <a:rPr lang="de-DE" sz="900" dirty="0"/>
              <a:t> grau</a:t>
            </a:r>
          </a:p>
        </p:txBody>
      </p:sp>
      <p:sp>
        <p:nvSpPr>
          <p:cNvPr id="12" name="Inhaltsplatzhalter 1">
            <a:extLst>
              <a:ext uri="{FF2B5EF4-FFF2-40B4-BE49-F238E27FC236}">
                <a16:creationId xmlns:a16="http://schemas.microsoft.com/office/drawing/2014/main" id="{A30E20F6-DFEE-E5B4-EB1E-FF1F76FE545F}"/>
              </a:ext>
            </a:extLst>
          </p:cNvPr>
          <p:cNvSpPr txBox="1">
            <a:spLocks/>
          </p:cNvSpPr>
          <p:nvPr/>
        </p:nvSpPr>
        <p:spPr bwMode="gray">
          <a:xfrm>
            <a:off x="4029806" y="232820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02/102/10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666666</a:t>
            </a:r>
          </a:p>
        </p:txBody>
      </p:sp>
      <p:sp>
        <p:nvSpPr>
          <p:cNvPr id="20" name="Rechteck 19">
            <a:extLst>
              <a:ext uri="{FF2B5EF4-FFF2-40B4-BE49-F238E27FC236}">
                <a16:creationId xmlns:a16="http://schemas.microsoft.com/office/drawing/2014/main" id="{9183F307-642A-71BB-B685-C73914EE475C}"/>
              </a:ext>
            </a:extLst>
          </p:cNvPr>
          <p:cNvSpPr/>
          <p:nvPr/>
        </p:nvSpPr>
        <p:spPr>
          <a:xfrm>
            <a:off x="515938" y="3335962"/>
            <a:ext cx="1235365" cy="1235365"/>
          </a:xfrm>
          <a:prstGeom prst="rect">
            <a:avLst/>
          </a:prstGeom>
          <a:solidFill>
            <a:srgbClr val="0075B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Blau</a:t>
            </a:r>
          </a:p>
        </p:txBody>
      </p:sp>
      <p:sp>
        <p:nvSpPr>
          <p:cNvPr id="21" name="Inhaltsplatzhalter 1">
            <a:extLst>
              <a:ext uri="{FF2B5EF4-FFF2-40B4-BE49-F238E27FC236}">
                <a16:creationId xmlns:a16="http://schemas.microsoft.com/office/drawing/2014/main" id="{85C59305-3CAD-6B89-718F-F86A11A58702}"/>
              </a:ext>
            </a:extLst>
          </p:cNvPr>
          <p:cNvSpPr txBox="1">
            <a:spLocks/>
          </p:cNvSpPr>
          <p:nvPr/>
        </p:nvSpPr>
        <p:spPr bwMode="gray">
          <a:xfrm>
            <a:off x="1751303" y="3882104"/>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0/117/190</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0075BE</a:t>
            </a:r>
          </a:p>
        </p:txBody>
      </p:sp>
      <p:sp>
        <p:nvSpPr>
          <p:cNvPr id="22" name="Rechteck 21">
            <a:extLst>
              <a:ext uri="{FF2B5EF4-FFF2-40B4-BE49-F238E27FC236}">
                <a16:creationId xmlns:a16="http://schemas.microsoft.com/office/drawing/2014/main" id="{25D98018-6769-7952-5E30-1824B88C0300}"/>
              </a:ext>
            </a:extLst>
          </p:cNvPr>
          <p:cNvSpPr/>
          <p:nvPr/>
        </p:nvSpPr>
        <p:spPr>
          <a:xfrm>
            <a:off x="2794441" y="3335961"/>
            <a:ext cx="1235365" cy="1235365"/>
          </a:xfrm>
          <a:prstGeom prst="rect">
            <a:avLst/>
          </a:prstGeom>
          <a:solidFill>
            <a:srgbClr val="339DA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Petrol</a:t>
            </a:r>
          </a:p>
        </p:txBody>
      </p:sp>
      <p:sp>
        <p:nvSpPr>
          <p:cNvPr id="23" name="Inhaltsplatzhalter 1">
            <a:extLst>
              <a:ext uri="{FF2B5EF4-FFF2-40B4-BE49-F238E27FC236}">
                <a16:creationId xmlns:a16="http://schemas.microsoft.com/office/drawing/2014/main" id="{47456E73-6B26-5333-90FD-23A05557362C}"/>
              </a:ext>
            </a:extLst>
          </p:cNvPr>
          <p:cNvSpPr txBox="1">
            <a:spLocks/>
          </p:cNvSpPr>
          <p:nvPr/>
        </p:nvSpPr>
        <p:spPr bwMode="gray">
          <a:xfrm>
            <a:off x="4029806" y="3886218"/>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a:t>
            </a:r>
            <a:r>
              <a:rPr lang="en-US" sz="900" dirty="0">
                <a:solidFill>
                  <a:schemeClr val="accent3"/>
                </a:solidFill>
                <a:latin typeface="NeueHaasGroteskText Pro" panose="020B0504020202020204" pitchFamily="34" charset="77"/>
              </a:rPr>
              <a:t>51</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157/163</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339DA3</a:t>
            </a:r>
          </a:p>
        </p:txBody>
      </p:sp>
      <p:sp>
        <p:nvSpPr>
          <p:cNvPr id="24" name="Rechteck 23">
            <a:extLst>
              <a:ext uri="{FF2B5EF4-FFF2-40B4-BE49-F238E27FC236}">
                <a16:creationId xmlns:a16="http://schemas.microsoft.com/office/drawing/2014/main" id="{66146E6F-DFD8-DEAE-3130-DDDEA2F52E2C}"/>
              </a:ext>
            </a:extLst>
          </p:cNvPr>
          <p:cNvSpPr/>
          <p:nvPr/>
        </p:nvSpPr>
        <p:spPr>
          <a:xfrm>
            <a:off x="5072944" y="3335960"/>
            <a:ext cx="1235365" cy="1235365"/>
          </a:xfrm>
          <a:prstGeom prst="rect">
            <a:avLst/>
          </a:prstGeom>
          <a:solidFill>
            <a:srgbClr val="66CFE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t>Azur</a:t>
            </a:r>
          </a:p>
        </p:txBody>
      </p:sp>
      <p:sp>
        <p:nvSpPr>
          <p:cNvPr id="25" name="Inhaltsplatzhalter 1">
            <a:extLst>
              <a:ext uri="{FF2B5EF4-FFF2-40B4-BE49-F238E27FC236}">
                <a16:creationId xmlns:a16="http://schemas.microsoft.com/office/drawing/2014/main" id="{95A55784-52A8-E035-623A-AEE3C49D7A87}"/>
              </a:ext>
            </a:extLst>
          </p:cNvPr>
          <p:cNvSpPr txBox="1">
            <a:spLocks/>
          </p:cNvSpPr>
          <p:nvPr/>
        </p:nvSpPr>
        <p:spPr bwMode="gray">
          <a:xfrm>
            <a:off x="6319824" y="3886218"/>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02/207/2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66CFE5</a:t>
            </a:r>
          </a:p>
        </p:txBody>
      </p:sp>
      <p:sp>
        <p:nvSpPr>
          <p:cNvPr id="26" name="Rechteck 25">
            <a:extLst>
              <a:ext uri="{FF2B5EF4-FFF2-40B4-BE49-F238E27FC236}">
                <a16:creationId xmlns:a16="http://schemas.microsoft.com/office/drawing/2014/main" id="{A0FD7780-E5E7-75A8-A4C0-BA4093CA0D7A}"/>
              </a:ext>
            </a:extLst>
          </p:cNvPr>
          <p:cNvSpPr/>
          <p:nvPr/>
        </p:nvSpPr>
        <p:spPr>
          <a:xfrm>
            <a:off x="7362962" y="3335959"/>
            <a:ext cx="1235365" cy="1235365"/>
          </a:xfrm>
          <a:prstGeom prst="rect">
            <a:avLst/>
          </a:prstGeom>
          <a:solidFill>
            <a:srgbClr val="B6D67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0" rtlCol="0" anchor="t" anchorCtr="0"/>
          <a:lstStyle/>
          <a:p>
            <a:r>
              <a:rPr lang="de-DE" sz="900" dirty="0">
                <a:solidFill>
                  <a:schemeClr val="bg1"/>
                </a:solidFill>
              </a:rPr>
              <a:t>Lime</a:t>
            </a:r>
          </a:p>
        </p:txBody>
      </p:sp>
      <p:sp>
        <p:nvSpPr>
          <p:cNvPr id="27" name="Inhaltsplatzhalter 1">
            <a:extLst>
              <a:ext uri="{FF2B5EF4-FFF2-40B4-BE49-F238E27FC236}">
                <a16:creationId xmlns:a16="http://schemas.microsoft.com/office/drawing/2014/main" id="{08D48441-1A3D-BEBE-2AD5-6930ED3F2AEF}"/>
              </a:ext>
            </a:extLst>
          </p:cNvPr>
          <p:cNvSpPr txBox="1">
            <a:spLocks/>
          </p:cNvSpPr>
          <p:nvPr/>
        </p:nvSpPr>
        <p:spPr bwMode="gray">
          <a:xfrm>
            <a:off x="8598327" y="3886218"/>
            <a:ext cx="799232" cy="688929"/>
          </a:xfrm>
          <a:prstGeom prst="rect">
            <a:avLst/>
          </a:prstGeom>
        </p:spPr>
        <p:txBody>
          <a:bodyPr lIns="72000" tIns="0" rIns="0" bIns="0" anchor="b" anchorCtr="0"/>
          <a:lstStyle>
            <a:lvl1pPr marL="270000" indent="-270000" algn="l" defTabSz="914400" rtl="0" eaLnBrk="1" latinLnBrk="0" hangingPunct="1">
              <a:lnSpc>
                <a:spcPct val="90000"/>
              </a:lnSpc>
              <a:spcBef>
                <a:spcPts val="800"/>
              </a:spcBef>
              <a:buClr>
                <a:schemeClr val="accent3"/>
              </a:buClr>
              <a:buFont typeface="Wingdings" panose="05000000000000000000" pitchFamily="2" charset="2"/>
              <a:buChar char="§"/>
              <a:defRPr lang="de-DE" sz="1600" kern="1200">
                <a:solidFill>
                  <a:schemeClr val="tx2"/>
                </a:solidFill>
                <a:latin typeface="+mn-lt"/>
                <a:ea typeface="+mn-ea"/>
                <a:cs typeface="+mn-cs"/>
              </a:defRPr>
            </a:lvl1pPr>
            <a:lvl2pPr marL="720000" indent="-270000" algn="l" defTabSz="914400" rtl="0" eaLnBrk="1" latinLnBrk="0" hangingPunct="1">
              <a:lnSpc>
                <a:spcPct val="90000"/>
              </a:lnSpc>
              <a:spcBef>
                <a:spcPts val="800"/>
              </a:spcBef>
              <a:buFont typeface="Symbol" panose="05050102010706020507" pitchFamily="18" charset="2"/>
              <a:buChar char="-"/>
              <a:defRPr lang="de-DE" sz="1600" kern="1200">
                <a:solidFill>
                  <a:schemeClr val="tx2"/>
                </a:solidFill>
                <a:latin typeface="+mn-lt"/>
                <a:ea typeface="+mn-ea"/>
                <a:cs typeface="+mn-cs"/>
              </a:defRPr>
            </a:lvl2pPr>
            <a:lvl3pPr marL="1080000" indent="-270000" algn="l" defTabSz="914400" rtl="0" eaLnBrk="1" latinLnBrk="0" hangingPunct="1">
              <a:lnSpc>
                <a:spcPct val="90000"/>
              </a:lnSpc>
              <a:spcBef>
                <a:spcPts val="800"/>
              </a:spcBef>
              <a:buFont typeface="Symbol" panose="05050102010706020507" pitchFamily="18" charset="2"/>
              <a:buChar char="-"/>
              <a:defRPr lang="de-DE" sz="1400" kern="1200">
                <a:solidFill>
                  <a:schemeClr val="tx2"/>
                </a:solidFill>
                <a:latin typeface="+mn-lt"/>
                <a:ea typeface="+mn-ea"/>
                <a:cs typeface="+mn-cs"/>
              </a:defRPr>
            </a:lvl3pPr>
            <a:lvl4pPr marL="144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4pPr>
            <a:lvl5pPr marL="1800000" indent="-270000" algn="l" defTabSz="914400" rtl="0" eaLnBrk="1" latinLnBrk="0" hangingPunct="1">
              <a:lnSpc>
                <a:spcPct val="90000"/>
              </a:lnSpc>
              <a:spcBef>
                <a:spcPts val="800"/>
              </a:spcBef>
              <a:buFont typeface="Symbol" panose="05050102010706020507" pitchFamily="18" charset="2"/>
              <a:buChar char="-"/>
              <a:defRPr lang="de-DE"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kumimoji="0" lang="en-US" sz="900" b="1" i="0" u="none" strike="noStrike" kern="1200" cap="none" spc="0" normalizeH="0" baseline="0" noProof="0" dirty="0">
                <a:ln>
                  <a:noFill/>
                </a:ln>
                <a:solidFill>
                  <a:schemeClr val="accent3"/>
                </a:solidFill>
                <a:effectLst/>
                <a:uLnTx/>
                <a:uFillTx/>
                <a:latin typeface="NeueHaasGroteskText Pro" panose="020B0504020202020204" pitchFamily="34" charset="77"/>
              </a:rPr>
              <a:t>RGB</a:t>
            </a:r>
            <a:r>
              <a:rPr kumimoji="0" lang="en-US" sz="900" i="0" u="none" strike="noStrike" kern="1200" cap="none" spc="0" normalizeH="0" baseline="0" noProof="0" dirty="0">
                <a:ln>
                  <a:noFill/>
                </a:ln>
                <a:solidFill>
                  <a:schemeClr val="accent3"/>
                </a:solidFill>
                <a:effectLst/>
                <a:uLnTx/>
                <a:uFillTx/>
                <a:latin typeface="NeueHaasGroteskText Pro" panose="020B0504020202020204" pitchFamily="34" charset="77"/>
              </a:rPr>
              <a:t> 182/214/122</a:t>
            </a:r>
          </a:p>
          <a:p>
            <a:pPr marL="0" marR="0" lvl="0" indent="0" algn="l" defTabSz="914400" rtl="0" eaLnBrk="1" fontAlgn="auto" latinLnBrk="0" hangingPunct="1">
              <a:lnSpc>
                <a:spcPct val="100000"/>
              </a:lnSpc>
              <a:spcBef>
                <a:spcPts val="0"/>
              </a:spcBef>
              <a:spcAft>
                <a:spcPts val="500"/>
              </a:spcAft>
              <a:buClr>
                <a:srgbClr val="062E62"/>
              </a:buClr>
              <a:buSzTx/>
              <a:buFont typeface="Wingdings" panose="05000000000000000000" pitchFamily="2" charset="2"/>
              <a:buNone/>
              <a:tabLst/>
              <a:defRPr/>
            </a:pPr>
            <a:r>
              <a:rPr lang="en-US" sz="900" b="1" dirty="0">
                <a:solidFill>
                  <a:schemeClr val="accent3"/>
                </a:solidFill>
                <a:latin typeface="NeueHaasGroteskText Pro" panose="020B0504020202020204" pitchFamily="34" charset="77"/>
              </a:rPr>
              <a:t>HEX</a:t>
            </a:r>
            <a:br>
              <a:rPr lang="en-US" sz="900" b="1" dirty="0">
                <a:solidFill>
                  <a:schemeClr val="accent3"/>
                </a:solidFill>
                <a:latin typeface="NeueHaasGroteskText Pro" panose="020B0504020202020204" pitchFamily="34" charset="77"/>
              </a:rPr>
            </a:br>
            <a:r>
              <a:rPr lang="en-US" sz="900" dirty="0">
                <a:solidFill>
                  <a:schemeClr val="accent3"/>
                </a:solidFill>
                <a:latin typeface="NeueHaasGroteskText Pro" panose="020B0504020202020204" pitchFamily="34" charset="77"/>
              </a:rPr>
              <a:t>#B6D67A</a:t>
            </a:r>
          </a:p>
        </p:txBody>
      </p:sp>
    </p:spTree>
    <p:extLst>
      <p:ext uri="{BB962C8B-B14F-4D97-AF65-F5344CB8AC3E}">
        <p14:creationId xmlns:p14="http://schemas.microsoft.com/office/powerpoint/2010/main" val="42392510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A548B02-730D-54C5-6DD4-6D38F3FE095F}"/>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B94A18F6-81D7-5C41-433D-DC60B248EC45}"/>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5FB52976-CB1E-E52F-1C74-985F8EE46D2D}"/>
              </a:ext>
            </a:extLst>
          </p:cNvPr>
          <p:cNvSpPr>
            <a:spLocks noGrp="1"/>
          </p:cNvSpPr>
          <p:nvPr>
            <p:ph type="sldNum" sz="quarter" idx="12"/>
          </p:nvPr>
        </p:nvSpPr>
        <p:spPr/>
        <p:txBody>
          <a:bodyPr/>
          <a:lstStyle/>
          <a:p>
            <a:fld id="{E84006A6-0E15-460A-BCD4-002C20F8AC9F}" type="slidenum">
              <a:rPr lang="de-DE" smtClean="0"/>
              <a:pPr/>
              <a:t>96</a:t>
            </a:fld>
            <a:endParaRPr lang="de-DE"/>
          </a:p>
        </p:txBody>
      </p:sp>
      <p:sp>
        <p:nvSpPr>
          <p:cNvPr id="5" name="Titel 4">
            <a:extLst>
              <a:ext uri="{FF2B5EF4-FFF2-40B4-BE49-F238E27FC236}">
                <a16:creationId xmlns:a16="http://schemas.microsoft.com/office/drawing/2014/main" id="{85F1B63C-4F1D-DDF9-7400-3035DB8764FC}"/>
              </a:ext>
            </a:extLst>
          </p:cNvPr>
          <p:cNvSpPr>
            <a:spLocks noGrp="1"/>
          </p:cNvSpPr>
          <p:nvPr>
            <p:ph type="title"/>
          </p:nvPr>
        </p:nvSpPr>
        <p:spPr/>
        <p:txBody>
          <a:bodyPr/>
          <a:lstStyle/>
          <a:p>
            <a:r>
              <a:rPr lang="de-DE" dirty="0"/>
              <a:t>Formen &amp; Farben</a:t>
            </a:r>
          </a:p>
        </p:txBody>
      </p:sp>
      <p:sp>
        <p:nvSpPr>
          <p:cNvPr id="8" name="Grafik 6">
            <a:extLst>
              <a:ext uri="{FF2B5EF4-FFF2-40B4-BE49-F238E27FC236}">
                <a16:creationId xmlns:a16="http://schemas.microsoft.com/office/drawing/2014/main" id="{166D5D45-F511-3582-EC26-17D24857435E}"/>
              </a:ext>
            </a:extLst>
          </p:cNvPr>
          <p:cNvSpPr/>
          <p:nvPr/>
        </p:nvSpPr>
        <p:spPr>
          <a:xfrm>
            <a:off x="515938" y="2511902"/>
            <a:ext cx="2622678" cy="2481535"/>
          </a:xfrm>
          <a:custGeom>
            <a:avLst/>
            <a:gdLst>
              <a:gd name="connsiteX0" fmla="*/ 299634 w 3749851"/>
              <a:gd name="connsiteY0" fmla="*/ 694772 h 3548049"/>
              <a:gd name="connsiteX1" fmla="*/ 0 w 3749851"/>
              <a:gd name="connsiteY1" fmla="*/ 1177670 h 3548049"/>
              <a:gd name="connsiteX2" fmla="*/ 0 w 3749851"/>
              <a:gd name="connsiteY2" fmla="*/ 2370442 h 3548049"/>
              <a:gd name="connsiteX3" fmla="*/ 299634 w 3749851"/>
              <a:gd name="connsiteY3" fmla="*/ 2853341 h 3548049"/>
              <a:gd name="connsiteX4" fmla="*/ 1575292 w 3749851"/>
              <a:gd name="connsiteY4" fmla="*/ 3486466 h 3548049"/>
              <a:gd name="connsiteX5" fmla="*/ 2174560 w 3749851"/>
              <a:gd name="connsiteY5" fmla="*/ 3486466 h 3548049"/>
              <a:gd name="connsiteX6" fmla="*/ 3450218 w 3749851"/>
              <a:gd name="connsiteY6" fmla="*/ 2853341 h 3548049"/>
              <a:gd name="connsiteX7" fmla="*/ 3749852 w 3749851"/>
              <a:gd name="connsiteY7" fmla="*/ 2370442 h 3548049"/>
              <a:gd name="connsiteX8" fmla="*/ 3749852 w 3749851"/>
              <a:gd name="connsiteY8" fmla="*/ 1177670 h 3548049"/>
              <a:gd name="connsiteX9" fmla="*/ 3450218 w 3749851"/>
              <a:gd name="connsiteY9" fmla="*/ 694772 h 3548049"/>
              <a:gd name="connsiteX10" fmla="*/ 2174560 w 3749851"/>
              <a:gd name="connsiteY10" fmla="*/ 61584 h 3548049"/>
              <a:gd name="connsiteX11" fmla="*/ 1575292 w 3749851"/>
              <a:gd name="connsiteY11" fmla="*/ 61584 h 3548049"/>
              <a:gd name="connsiteX12" fmla="*/ 299634 w 3749851"/>
              <a:gd name="connsiteY12" fmla="*/ 694700 h 3548049"/>
              <a:gd name="connsiteX13" fmla="*/ 299634 w 3749851"/>
              <a:gd name="connsiteY13" fmla="*/ 694772 h 35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9851" h="3548049">
                <a:moveTo>
                  <a:pt x="299634" y="694772"/>
                </a:moveTo>
                <a:cubicBezTo>
                  <a:pt x="134141" y="776885"/>
                  <a:pt x="0" y="993099"/>
                  <a:pt x="0" y="1177670"/>
                </a:cubicBezTo>
                <a:lnTo>
                  <a:pt x="0" y="2370442"/>
                </a:lnTo>
                <a:cubicBezTo>
                  <a:pt x="0" y="2555014"/>
                  <a:pt x="134141" y="2771235"/>
                  <a:pt x="299634" y="2853341"/>
                </a:cubicBezTo>
                <a:lnTo>
                  <a:pt x="1575292" y="3486466"/>
                </a:lnTo>
                <a:cubicBezTo>
                  <a:pt x="1740785" y="3568578"/>
                  <a:pt x="2009067" y="3568578"/>
                  <a:pt x="2174560" y="3486466"/>
                </a:cubicBezTo>
                <a:lnTo>
                  <a:pt x="3450218" y="2853341"/>
                </a:lnTo>
                <a:cubicBezTo>
                  <a:pt x="3615711" y="2771235"/>
                  <a:pt x="3749852" y="2555014"/>
                  <a:pt x="3749852" y="2370442"/>
                </a:cubicBezTo>
                <a:lnTo>
                  <a:pt x="3749852" y="1177670"/>
                </a:lnTo>
                <a:cubicBezTo>
                  <a:pt x="3749852" y="993099"/>
                  <a:pt x="3615645" y="776885"/>
                  <a:pt x="3450218" y="694772"/>
                </a:cubicBezTo>
                <a:lnTo>
                  <a:pt x="2174560" y="61584"/>
                </a:lnTo>
                <a:cubicBezTo>
                  <a:pt x="2009067" y="-20528"/>
                  <a:pt x="1740785" y="-20528"/>
                  <a:pt x="1575292" y="61584"/>
                </a:cubicBezTo>
                <a:lnTo>
                  <a:pt x="299634" y="694700"/>
                </a:lnTo>
                <a:lnTo>
                  <a:pt x="299634" y="694772"/>
                </a:lnTo>
                <a:close/>
              </a:path>
            </a:pathLst>
          </a:custGeom>
          <a:solidFill>
            <a:srgbClr val="0075BE"/>
          </a:solidFill>
          <a:ln w="6602" cap="flat">
            <a:noFill/>
            <a:prstDash val="solid"/>
            <a:miter/>
          </a:ln>
        </p:spPr>
        <p:txBody>
          <a:bodyPr lIns="108000" tIns="0" rIns="108000" bIns="0" rtlCol="0" anchor="ctr"/>
          <a:lstStyle/>
          <a:p>
            <a:pPr algn="ctr"/>
            <a:r>
              <a:rPr lang="de-DE" b="1" dirty="0">
                <a:solidFill>
                  <a:schemeClr val="bg1"/>
                </a:solidFill>
                <a:latin typeface="+mj-lt"/>
              </a:rPr>
              <a:t>Materialien</a:t>
            </a:r>
          </a:p>
        </p:txBody>
      </p:sp>
      <p:sp>
        <p:nvSpPr>
          <p:cNvPr id="6" name="Grafik 6">
            <a:extLst>
              <a:ext uri="{FF2B5EF4-FFF2-40B4-BE49-F238E27FC236}">
                <a16:creationId xmlns:a16="http://schemas.microsoft.com/office/drawing/2014/main" id="{BA9872CD-C107-23C5-0C65-9BF5E6A569EC}"/>
              </a:ext>
            </a:extLst>
          </p:cNvPr>
          <p:cNvSpPr/>
          <p:nvPr/>
        </p:nvSpPr>
        <p:spPr>
          <a:xfrm>
            <a:off x="3349754" y="2511901"/>
            <a:ext cx="2622678" cy="2481535"/>
          </a:xfrm>
          <a:custGeom>
            <a:avLst/>
            <a:gdLst>
              <a:gd name="connsiteX0" fmla="*/ 299634 w 3749851"/>
              <a:gd name="connsiteY0" fmla="*/ 694772 h 3548049"/>
              <a:gd name="connsiteX1" fmla="*/ 0 w 3749851"/>
              <a:gd name="connsiteY1" fmla="*/ 1177670 h 3548049"/>
              <a:gd name="connsiteX2" fmla="*/ 0 w 3749851"/>
              <a:gd name="connsiteY2" fmla="*/ 2370442 h 3548049"/>
              <a:gd name="connsiteX3" fmla="*/ 299634 w 3749851"/>
              <a:gd name="connsiteY3" fmla="*/ 2853341 h 3548049"/>
              <a:gd name="connsiteX4" fmla="*/ 1575292 w 3749851"/>
              <a:gd name="connsiteY4" fmla="*/ 3486466 h 3548049"/>
              <a:gd name="connsiteX5" fmla="*/ 2174560 w 3749851"/>
              <a:gd name="connsiteY5" fmla="*/ 3486466 h 3548049"/>
              <a:gd name="connsiteX6" fmla="*/ 3450218 w 3749851"/>
              <a:gd name="connsiteY6" fmla="*/ 2853341 h 3548049"/>
              <a:gd name="connsiteX7" fmla="*/ 3749852 w 3749851"/>
              <a:gd name="connsiteY7" fmla="*/ 2370442 h 3548049"/>
              <a:gd name="connsiteX8" fmla="*/ 3749852 w 3749851"/>
              <a:gd name="connsiteY8" fmla="*/ 1177670 h 3548049"/>
              <a:gd name="connsiteX9" fmla="*/ 3450218 w 3749851"/>
              <a:gd name="connsiteY9" fmla="*/ 694772 h 3548049"/>
              <a:gd name="connsiteX10" fmla="*/ 2174560 w 3749851"/>
              <a:gd name="connsiteY10" fmla="*/ 61584 h 3548049"/>
              <a:gd name="connsiteX11" fmla="*/ 1575292 w 3749851"/>
              <a:gd name="connsiteY11" fmla="*/ 61584 h 3548049"/>
              <a:gd name="connsiteX12" fmla="*/ 299634 w 3749851"/>
              <a:gd name="connsiteY12" fmla="*/ 694700 h 3548049"/>
              <a:gd name="connsiteX13" fmla="*/ 299634 w 3749851"/>
              <a:gd name="connsiteY13" fmla="*/ 694772 h 35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9851" h="3548049">
                <a:moveTo>
                  <a:pt x="299634" y="694772"/>
                </a:moveTo>
                <a:cubicBezTo>
                  <a:pt x="134141" y="776885"/>
                  <a:pt x="0" y="993099"/>
                  <a:pt x="0" y="1177670"/>
                </a:cubicBezTo>
                <a:lnTo>
                  <a:pt x="0" y="2370442"/>
                </a:lnTo>
                <a:cubicBezTo>
                  <a:pt x="0" y="2555014"/>
                  <a:pt x="134141" y="2771235"/>
                  <a:pt x="299634" y="2853341"/>
                </a:cubicBezTo>
                <a:lnTo>
                  <a:pt x="1575292" y="3486466"/>
                </a:lnTo>
                <a:cubicBezTo>
                  <a:pt x="1740785" y="3568578"/>
                  <a:pt x="2009067" y="3568578"/>
                  <a:pt x="2174560" y="3486466"/>
                </a:cubicBezTo>
                <a:lnTo>
                  <a:pt x="3450218" y="2853341"/>
                </a:lnTo>
                <a:cubicBezTo>
                  <a:pt x="3615711" y="2771235"/>
                  <a:pt x="3749852" y="2555014"/>
                  <a:pt x="3749852" y="2370442"/>
                </a:cubicBezTo>
                <a:lnTo>
                  <a:pt x="3749852" y="1177670"/>
                </a:lnTo>
                <a:cubicBezTo>
                  <a:pt x="3749852" y="993099"/>
                  <a:pt x="3615645" y="776885"/>
                  <a:pt x="3450218" y="694772"/>
                </a:cubicBezTo>
                <a:lnTo>
                  <a:pt x="2174560" y="61584"/>
                </a:lnTo>
                <a:cubicBezTo>
                  <a:pt x="2009067" y="-20528"/>
                  <a:pt x="1740785" y="-20528"/>
                  <a:pt x="1575292" y="61584"/>
                </a:cubicBezTo>
                <a:lnTo>
                  <a:pt x="299634" y="694700"/>
                </a:lnTo>
                <a:lnTo>
                  <a:pt x="299634" y="694772"/>
                </a:lnTo>
                <a:close/>
              </a:path>
            </a:pathLst>
          </a:custGeom>
          <a:solidFill>
            <a:srgbClr val="339DA3"/>
          </a:solidFill>
          <a:ln w="6602" cap="flat">
            <a:noFill/>
            <a:prstDash val="solid"/>
            <a:miter/>
          </a:ln>
        </p:spPr>
        <p:txBody>
          <a:bodyPr lIns="108000" tIns="0" rIns="108000" bIns="0" rtlCol="0" anchor="ctr"/>
          <a:lstStyle/>
          <a:p>
            <a:pPr algn="ctr"/>
            <a:r>
              <a:rPr lang="de-DE" b="1" dirty="0">
                <a:solidFill>
                  <a:schemeClr val="bg1"/>
                </a:solidFill>
                <a:latin typeface="+mj-lt"/>
              </a:rPr>
              <a:t>Produktions-</a:t>
            </a:r>
            <a:br>
              <a:rPr lang="de-DE" b="1" dirty="0">
                <a:solidFill>
                  <a:schemeClr val="bg1"/>
                </a:solidFill>
                <a:latin typeface="+mj-lt"/>
              </a:rPr>
            </a:br>
            <a:r>
              <a:rPr lang="de-DE" b="1" dirty="0" err="1">
                <a:solidFill>
                  <a:schemeClr val="bg1"/>
                </a:solidFill>
                <a:latin typeface="+mj-lt"/>
              </a:rPr>
              <a:t>prozesse</a:t>
            </a:r>
            <a:endParaRPr lang="de-DE" b="1" dirty="0">
              <a:solidFill>
                <a:schemeClr val="bg1"/>
              </a:solidFill>
              <a:latin typeface="+mj-lt"/>
            </a:endParaRPr>
          </a:p>
        </p:txBody>
      </p:sp>
      <p:sp>
        <p:nvSpPr>
          <p:cNvPr id="7" name="Grafik 6">
            <a:extLst>
              <a:ext uri="{FF2B5EF4-FFF2-40B4-BE49-F238E27FC236}">
                <a16:creationId xmlns:a16="http://schemas.microsoft.com/office/drawing/2014/main" id="{001B83A7-4114-5040-14FC-7C0B7D91D652}"/>
              </a:ext>
            </a:extLst>
          </p:cNvPr>
          <p:cNvSpPr/>
          <p:nvPr/>
        </p:nvSpPr>
        <p:spPr>
          <a:xfrm>
            <a:off x="6183570" y="2511900"/>
            <a:ext cx="2622678" cy="2481535"/>
          </a:xfrm>
          <a:custGeom>
            <a:avLst/>
            <a:gdLst>
              <a:gd name="connsiteX0" fmla="*/ 299634 w 3749851"/>
              <a:gd name="connsiteY0" fmla="*/ 694772 h 3548049"/>
              <a:gd name="connsiteX1" fmla="*/ 0 w 3749851"/>
              <a:gd name="connsiteY1" fmla="*/ 1177670 h 3548049"/>
              <a:gd name="connsiteX2" fmla="*/ 0 w 3749851"/>
              <a:gd name="connsiteY2" fmla="*/ 2370442 h 3548049"/>
              <a:gd name="connsiteX3" fmla="*/ 299634 w 3749851"/>
              <a:gd name="connsiteY3" fmla="*/ 2853341 h 3548049"/>
              <a:gd name="connsiteX4" fmla="*/ 1575292 w 3749851"/>
              <a:gd name="connsiteY4" fmla="*/ 3486466 h 3548049"/>
              <a:gd name="connsiteX5" fmla="*/ 2174560 w 3749851"/>
              <a:gd name="connsiteY5" fmla="*/ 3486466 h 3548049"/>
              <a:gd name="connsiteX6" fmla="*/ 3450218 w 3749851"/>
              <a:gd name="connsiteY6" fmla="*/ 2853341 h 3548049"/>
              <a:gd name="connsiteX7" fmla="*/ 3749852 w 3749851"/>
              <a:gd name="connsiteY7" fmla="*/ 2370442 h 3548049"/>
              <a:gd name="connsiteX8" fmla="*/ 3749852 w 3749851"/>
              <a:gd name="connsiteY8" fmla="*/ 1177670 h 3548049"/>
              <a:gd name="connsiteX9" fmla="*/ 3450218 w 3749851"/>
              <a:gd name="connsiteY9" fmla="*/ 694772 h 3548049"/>
              <a:gd name="connsiteX10" fmla="*/ 2174560 w 3749851"/>
              <a:gd name="connsiteY10" fmla="*/ 61584 h 3548049"/>
              <a:gd name="connsiteX11" fmla="*/ 1575292 w 3749851"/>
              <a:gd name="connsiteY11" fmla="*/ 61584 h 3548049"/>
              <a:gd name="connsiteX12" fmla="*/ 299634 w 3749851"/>
              <a:gd name="connsiteY12" fmla="*/ 694700 h 3548049"/>
              <a:gd name="connsiteX13" fmla="*/ 299634 w 3749851"/>
              <a:gd name="connsiteY13" fmla="*/ 694772 h 35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9851" h="3548049">
                <a:moveTo>
                  <a:pt x="299634" y="694772"/>
                </a:moveTo>
                <a:cubicBezTo>
                  <a:pt x="134141" y="776885"/>
                  <a:pt x="0" y="993099"/>
                  <a:pt x="0" y="1177670"/>
                </a:cubicBezTo>
                <a:lnTo>
                  <a:pt x="0" y="2370442"/>
                </a:lnTo>
                <a:cubicBezTo>
                  <a:pt x="0" y="2555014"/>
                  <a:pt x="134141" y="2771235"/>
                  <a:pt x="299634" y="2853341"/>
                </a:cubicBezTo>
                <a:lnTo>
                  <a:pt x="1575292" y="3486466"/>
                </a:lnTo>
                <a:cubicBezTo>
                  <a:pt x="1740785" y="3568578"/>
                  <a:pt x="2009067" y="3568578"/>
                  <a:pt x="2174560" y="3486466"/>
                </a:cubicBezTo>
                <a:lnTo>
                  <a:pt x="3450218" y="2853341"/>
                </a:lnTo>
                <a:cubicBezTo>
                  <a:pt x="3615711" y="2771235"/>
                  <a:pt x="3749852" y="2555014"/>
                  <a:pt x="3749852" y="2370442"/>
                </a:cubicBezTo>
                <a:lnTo>
                  <a:pt x="3749852" y="1177670"/>
                </a:lnTo>
                <a:cubicBezTo>
                  <a:pt x="3749852" y="993099"/>
                  <a:pt x="3615645" y="776885"/>
                  <a:pt x="3450218" y="694772"/>
                </a:cubicBezTo>
                <a:lnTo>
                  <a:pt x="2174560" y="61584"/>
                </a:lnTo>
                <a:cubicBezTo>
                  <a:pt x="2009067" y="-20528"/>
                  <a:pt x="1740785" y="-20528"/>
                  <a:pt x="1575292" y="61584"/>
                </a:cubicBezTo>
                <a:lnTo>
                  <a:pt x="299634" y="694700"/>
                </a:lnTo>
                <a:lnTo>
                  <a:pt x="299634" y="694772"/>
                </a:lnTo>
                <a:close/>
              </a:path>
            </a:pathLst>
          </a:custGeom>
          <a:solidFill>
            <a:srgbClr val="66CFE5"/>
          </a:solidFill>
          <a:ln w="6602" cap="flat">
            <a:noFill/>
            <a:prstDash val="solid"/>
            <a:miter/>
          </a:ln>
        </p:spPr>
        <p:txBody>
          <a:bodyPr lIns="108000" tIns="0" rIns="108000" bIns="0" rtlCol="0" anchor="ctr"/>
          <a:lstStyle/>
          <a:p>
            <a:pPr algn="ctr"/>
            <a:r>
              <a:rPr lang="de-DE" b="1" dirty="0">
                <a:solidFill>
                  <a:schemeClr val="bg1"/>
                </a:solidFill>
                <a:latin typeface="+mj-lt"/>
              </a:rPr>
              <a:t>Verpackungen</a:t>
            </a:r>
          </a:p>
        </p:txBody>
      </p:sp>
      <p:sp>
        <p:nvSpPr>
          <p:cNvPr id="9" name="Grafik 6">
            <a:extLst>
              <a:ext uri="{FF2B5EF4-FFF2-40B4-BE49-F238E27FC236}">
                <a16:creationId xmlns:a16="http://schemas.microsoft.com/office/drawing/2014/main" id="{D84E19D5-4CB6-F54C-85A5-7205E01CF971}"/>
              </a:ext>
            </a:extLst>
          </p:cNvPr>
          <p:cNvSpPr/>
          <p:nvPr/>
        </p:nvSpPr>
        <p:spPr>
          <a:xfrm>
            <a:off x="9017386" y="2511899"/>
            <a:ext cx="2622678" cy="2481535"/>
          </a:xfrm>
          <a:custGeom>
            <a:avLst/>
            <a:gdLst>
              <a:gd name="connsiteX0" fmla="*/ 299634 w 3749851"/>
              <a:gd name="connsiteY0" fmla="*/ 694772 h 3548049"/>
              <a:gd name="connsiteX1" fmla="*/ 0 w 3749851"/>
              <a:gd name="connsiteY1" fmla="*/ 1177670 h 3548049"/>
              <a:gd name="connsiteX2" fmla="*/ 0 w 3749851"/>
              <a:gd name="connsiteY2" fmla="*/ 2370442 h 3548049"/>
              <a:gd name="connsiteX3" fmla="*/ 299634 w 3749851"/>
              <a:gd name="connsiteY3" fmla="*/ 2853341 h 3548049"/>
              <a:gd name="connsiteX4" fmla="*/ 1575292 w 3749851"/>
              <a:gd name="connsiteY4" fmla="*/ 3486466 h 3548049"/>
              <a:gd name="connsiteX5" fmla="*/ 2174560 w 3749851"/>
              <a:gd name="connsiteY5" fmla="*/ 3486466 h 3548049"/>
              <a:gd name="connsiteX6" fmla="*/ 3450218 w 3749851"/>
              <a:gd name="connsiteY6" fmla="*/ 2853341 h 3548049"/>
              <a:gd name="connsiteX7" fmla="*/ 3749852 w 3749851"/>
              <a:gd name="connsiteY7" fmla="*/ 2370442 h 3548049"/>
              <a:gd name="connsiteX8" fmla="*/ 3749852 w 3749851"/>
              <a:gd name="connsiteY8" fmla="*/ 1177670 h 3548049"/>
              <a:gd name="connsiteX9" fmla="*/ 3450218 w 3749851"/>
              <a:gd name="connsiteY9" fmla="*/ 694772 h 3548049"/>
              <a:gd name="connsiteX10" fmla="*/ 2174560 w 3749851"/>
              <a:gd name="connsiteY10" fmla="*/ 61584 h 3548049"/>
              <a:gd name="connsiteX11" fmla="*/ 1575292 w 3749851"/>
              <a:gd name="connsiteY11" fmla="*/ 61584 h 3548049"/>
              <a:gd name="connsiteX12" fmla="*/ 299634 w 3749851"/>
              <a:gd name="connsiteY12" fmla="*/ 694700 h 3548049"/>
              <a:gd name="connsiteX13" fmla="*/ 299634 w 3749851"/>
              <a:gd name="connsiteY13" fmla="*/ 694772 h 354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49851" h="3548049">
                <a:moveTo>
                  <a:pt x="299634" y="694772"/>
                </a:moveTo>
                <a:cubicBezTo>
                  <a:pt x="134141" y="776885"/>
                  <a:pt x="0" y="993099"/>
                  <a:pt x="0" y="1177670"/>
                </a:cubicBezTo>
                <a:lnTo>
                  <a:pt x="0" y="2370442"/>
                </a:lnTo>
                <a:cubicBezTo>
                  <a:pt x="0" y="2555014"/>
                  <a:pt x="134141" y="2771235"/>
                  <a:pt x="299634" y="2853341"/>
                </a:cubicBezTo>
                <a:lnTo>
                  <a:pt x="1575292" y="3486466"/>
                </a:lnTo>
                <a:cubicBezTo>
                  <a:pt x="1740785" y="3568578"/>
                  <a:pt x="2009067" y="3568578"/>
                  <a:pt x="2174560" y="3486466"/>
                </a:cubicBezTo>
                <a:lnTo>
                  <a:pt x="3450218" y="2853341"/>
                </a:lnTo>
                <a:cubicBezTo>
                  <a:pt x="3615711" y="2771235"/>
                  <a:pt x="3749852" y="2555014"/>
                  <a:pt x="3749852" y="2370442"/>
                </a:cubicBezTo>
                <a:lnTo>
                  <a:pt x="3749852" y="1177670"/>
                </a:lnTo>
                <a:cubicBezTo>
                  <a:pt x="3749852" y="993099"/>
                  <a:pt x="3615645" y="776885"/>
                  <a:pt x="3450218" y="694772"/>
                </a:cubicBezTo>
                <a:lnTo>
                  <a:pt x="2174560" y="61584"/>
                </a:lnTo>
                <a:cubicBezTo>
                  <a:pt x="2009067" y="-20528"/>
                  <a:pt x="1740785" y="-20528"/>
                  <a:pt x="1575292" y="61584"/>
                </a:cubicBezTo>
                <a:lnTo>
                  <a:pt x="299634" y="694700"/>
                </a:lnTo>
                <a:lnTo>
                  <a:pt x="299634" y="694772"/>
                </a:lnTo>
                <a:close/>
              </a:path>
            </a:pathLst>
          </a:custGeom>
          <a:solidFill>
            <a:srgbClr val="B6D67A"/>
          </a:solidFill>
          <a:ln w="6602" cap="flat">
            <a:noFill/>
            <a:prstDash val="solid"/>
            <a:miter/>
          </a:ln>
        </p:spPr>
        <p:txBody>
          <a:bodyPr lIns="108000" tIns="0" rIns="108000" bIns="0" rtlCol="0" anchor="ctr"/>
          <a:lstStyle/>
          <a:p>
            <a:pPr algn="ctr"/>
            <a:r>
              <a:rPr lang="de-DE" b="1" dirty="0">
                <a:solidFill>
                  <a:schemeClr val="bg1"/>
                </a:solidFill>
                <a:latin typeface="+mj-lt"/>
              </a:rPr>
              <a:t>Produktlebens-</a:t>
            </a:r>
            <a:br>
              <a:rPr lang="de-DE" b="1" dirty="0">
                <a:solidFill>
                  <a:schemeClr val="bg1"/>
                </a:solidFill>
                <a:latin typeface="+mj-lt"/>
              </a:rPr>
            </a:br>
            <a:r>
              <a:rPr lang="de-DE" b="1" dirty="0" err="1">
                <a:solidFill>
                  <a:schemeClr val="bg1"/>
                </a:solidFill>
                <a:latin typeface="+mj-lt"/>
              </a:rPr>
              <a:t>zyklus</a:t>
            </a:r>
            <a:endParaRPr lang="de-DE" b="1" dirty="0">
              <a:solidFill>
                <a:schemeClr val="bg1"/>
              </a:solidFill>
              <a:latin typeface="+mj-lt"/>
            </a:endParaRPr>
          </a:p>
        </p:txBody>
      </p:sp>
    </p:spTree>
    <p:extLst>
      <p:ext uri="{BB962C8B-B14F-4D97-AF65-F5344CB8AC3E}">
        <p14:creationId xmlns:p14="http://schemas.microsoft.com/office/powerpoint/2010/main" val="142598621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DF53C0C-FE60-9A69-4F2B-75F634917B40}"/>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9EFF6238-5712-8D73-A75D-92CFEDD759FD}"/>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1C6A970-E0E0-52C8-2977-8DB0EF695BF9}"/>
              </a:ext>
            </a:extLst>
          </p:cNvPr>
          <p:cNvSpPr>
            <a:spLocks noGrp="1"/>
          </p:cNvSpPr>
          <p:nvPr>
            <p:ph type="sldNum" sz="quarter" idx="12"/>
          </p:nvPr>
        </p:nvSpPr>
        <p:spPr/>
        <p:txBody>
          <a:bodyPr/>
          <a:lstStyle/>
          <a:p>
            <a:fld id="{E84006A6-0E15-460A-BCD4-002C20F8AC9F}" type="slidenum">
              <a:rPr lang="de-DE" smtClean="0"/>
              <a:pPr/>
              <a:t>97</a:t>
            </a:fld>
            <a:endParaRPr lang="de-DE"/>
          </a:p>
        </p:txBody>
      </p:sp>
      <p:sp>
        <p:nvSpPr>
          <p:cNvPr id="5" name="Titel 4">
            <a:extLst>
              <a:ext uri="{FF2B5EF4-FFF2-40B4-BE49-F238E27FC236}">
                <a16:creationId xmlns:a16="http://schemas.microsoft.com/office/drawing/2014/main" id="{2DE5CA1F-9C43-F64E-E003-AD3F3C631D5B}"/>
              </a:ext>
            </a:extLst>
          </p:cNvPr>
          <p:cNvSpPr>
            <a:spLocks noGrp="1"/>
          </p:cNvSpPr>
          <p:nvPr>
            <p:ph type="title"/>
          </p:nvPr>
        </p:nvSpPr>
        <p:spPr/>
        <p:txBody>
          <a:bodyPr/>
          <a:lstStyle/>
          <a:p>
            <a:r>
              <a:rPr lang="de-DE" dirty="0"/>
              <a:t>Infografik</a:t>
            </a:r>
          </a:p>
        </p:txBody>
      </p:sp>
      <p:grpSp>
        <p:nvGrpSpPr>
          <p:cNvPr id="36" name="Gruppieren 35">
            <a:extLst>
              <a:ext uri="{FF2B5EF4-FFF2-40B4-BE49-F238E27FC236}">
                <a16:creationId xmlns:a16="http://schemas.microsoft.com/office/drawing/2014/main" id="{A2DC9856-F716-F907-4878-3D40E6E65638}"/>
              </a:ext>
            </a:extLst>
          </p:cNvPr>
          <p:cNvGrpSpPr/>
          <p:nvPr/>
        </p:nvGrpSpPr>
        <p:grpSpPr>
          <a:xfrm>
            <a:off x="3823278" y="1527375"/>
            <a:ext cx="4535277" cy="520538"/>
            <a:chOff x="3823278" y="1773238"/>
            <a:chExt cx="4535277" cy="520538"/>
          </a:xfrm>
        </p:grpSpPr>
        <p:grpSp>
          <p:nvGrpSpPr>
            <p:cNvPr id="9" name="Grafik 6">
              <a:extLst>
                <a:ext uri="{FF2B5EF4-FFF2-40B4-BE49-F238E27FC236}">
                  <a16:creationId xmlns:a16="http://schemas.microsoft.com/office/drawing/2014/main" id="{766675AF-22C0-919F-F886-A5B579E14FA2}"/>
                </a:ext>
              </a:extLst>
            </p:cNvPr>
            <p:cNvGrpSpPr/>
            <p:nvPr/>
          </p:nvGrpSpPr>
          <p:grpSpPr>
            <a:xfrm>
              <a:off x="3823278" y="1773238"/>
              <a:ext cx="2710309" cy="520538"/>
              <a:chOff x="3823278" y="1773238"/>
              <a:chExt cx="2710309" cy="520538"/>
            </a:xfrm>
            <a:solidFill>
              <a:srgbClr val="50936E"/>
            </a:solidFill>
          </p:grpSpPr>
          <p:sp>
            <p:nvSpPr>
              <p:cNvPr id="10" name="Freihandform 9">
                <a:extLst>
                  <a:ext uri="{FF2B5EF4-FFF2-40B4-BE49-F238E27FC236}">
                    <a16:creationId xmlns:a16="http://schemas.microsoft.com/office/drawing/2014/main" id="{25A7ED7F-1B43-E16A-1D49-ED7E8811D170}"/>
                  </a:ext>
                </a:extLst>
              </p:cNvPr>
              <p:cNvSpPr/>
              <p:nvPr/>
            </p:nvSpPr>
            <p:spPr>
              <a:xfrm>
                <a:off x="3823278" y="1883192"/>
                <a:ext cx="297048" cy="406492"/>
              </a:xfrm>
              <a:custGeom>
                <a:avLst/>
                <a:gdLst>
                  <a:gd name="connsiteX0" fmla="*/ 0 w 297048"/>
                  <a:gd name="connsiteY0" fmla="*/ 8192 h 406492"/>
                  <a:gd name="connsiteX1" fmla="*/ 76588 w 297048"/>
                  <a:gd name="connsiteY1" fmla="*/ 8192 h 406492"/>
                  <a:gd name="connsiteX2" fmla="*/ 76588 w 297048"/>
                  <a:gd name="connsiteY2" fmla="*/ 45616 h 406492"/>
                  <a:gd name="connsiteX3" fmla="*/ 78349 w 297048"/>
                  <a:gd name="connsiteY3" fmla="*/ 45616 h 406492"/>
                  <a:gd name="connsiteX4" fmla="*/ 166648 w 297048"/>
                  <a:gd name="connsiteY4" fmla="*/ 0 h 406492"/>
                  <a:gd name="connsiteX5" fmla="*/ 297049 w 297048"/>
                  <a:gd name="connsiteY5" fmla="*/ 158502 h 406492"/>
                  <a:gd name="connsiteX6" fmla="*/ 167233 w 297048"/>
                  <a:gd name="connsiteY6" fmla="*/ 316996 h 406492"/>
                  <a:gd name="connsiteX7" fmla="*/ 80694 w 297048"/>
                  <a:gd name="connsiteY7" fmla="*/ 274293 h 406492"/>
                  <a:gd name="connsiteX8" fmla="*/ 79517 w 297048"/>
                  <a:gd name="connsiteY8" fmla="*/ 274293 h 406492"/>
                  <a:gd name="connsiteX9" fmla="*/ 79517 w 297048"/>
                  <a:gd name="connsiteY9" fmla="*/ 406492 h 406492"/>
                  <a:gd name="connsiteX10" fmla="*/ 0 w 297048"/>
                  <a:gd name="connsiteY10" fmla="*/ 406492 h 406492"/>
                  <a:gd name="connsiteX11" fmla="*/ 0 w 297048"/>
                  <a:gd name="connsiteY11" fmla="*/ 8192 h 406492"/>
                  <a:gd name="connsiteX12" fmla="*/ 216354 w 297048"/>
                  <a:gd name="connsiteY12" fmla="*/ 160848 h 406492"/>
                  <a:gd name="connsiteX13" fmla="*/ 147356 w 297048"/>
                  <a:gd name="connsiteY13" fmla="*/ 64337 h 406492"/>
                  <a:gd name="connsiteX14" fmla="*/ 77765 w 297048"/>
                  <a:gd name="connsiteY14" fmla="*/ 160848 h 406492"/>
                  <a:gd name="connsiteX15" fmla="*/ 150278 w 297048"/>
                  <a:gd name="connsiteY15" fmla="*/ 250913 h 406492"/>
                  <a:gd name="connsiteX16" fmla="*/ 216354 w 297048"/>
                  <a:gd name="connsiteY16" fmla="*/ 160848 h 40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7048" h="406492">
                    <a:moveTo>
                      <a:pt x="0" y="8192"/>
                    </a:moveTo>
                    <a:lnTo>
                      <a:pt x="76588" y="8192"/>
                    </a:lnTo>
                    <a:lnTo>
                      <a:pt x="76588" y="45616"/>
                    </a:lnTo>
                    <a:lnTo>
                      <a:pt x="78349" y="45616"/>
                    </a:lnTo>
                    <a:cubicBezTo>
                      <a:pt x="97643" y="19297"/>
                      <a:pt x="125717" y="0"/>
                      <a:pt x="166648" y="0"/>
                    </a:cubicBezTo>
                    <a:cubicBezTo>
                      <a:pt x="246165" y="0"/>
                      <a:pt x="297049" y="64923"/>
                      <a:pt x="297049" y="158502"/>
                    </a:cubicBezTo>
                    <a:cubicBezTo>
                      <a:pt x="297049" y="255588"/>
                      <a:pt x="244405" y="316996"/>
                      <a:pt x="167233" y="316996"/>
                    </a:cubicBezTo>
                    <a:cubicBezTo>
                      <a:pt x="125125" y="316996"/>
                      <a:pt x="97643" y="300046"/>
                      <a:pt x="80694" y="274293"/>
                    </a:cubicBezTo>
                    <a:lnTo>
                      <a:pt x="79517" y="274293"/>
                    </a:lnTo>
                    <a:lnTo>
                      <a:pt x="79517" y="406492"/>
                    </a:lnTo>
                    <a:lnTo>
                      <a:pt x="0" y="406492"/>
                    </a:lnTo>
                    <a:lnTo>
                      <a:pt x="0" y="8192"/>
                    </a:lnTo>
                    <a:close/>
                    <a:moveTo>
                      <a:pt x="216354" y="160848"/>
                    </a:moveTo>
                    <a:cubicBezTo>
                      <a:pt x="216354" y="104101"/>
                      <a:pt x="196469" y="64337"/>
                      <a:pt x="147356" y="64337"/>
                    </a:cubicBezTo>
                    <a:cubicBezTo>
                      <a:pt x="97643" y="64337"/>
                      <a:pt x="77765" y="107032"/>
                      <a:pt x="77765" y="160848"/>
                    </a:cubicBezTo>
                    <a:cubicBezTo>
                      <a:pt x="77765" y="215225"/>
                      <a:pt x="102910" y="250913"/>
                      <a:pt x="150278" y="250913"/>
                    </a:cubicBezTo>
                    <a:cubicBezTo>
                      <a:pt x="190624" y="250913"/>
                      <a:pt x="216354" y="217562"/>
                      <a:pt x="216354" y="160848"/>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1" name="Freihandform 10">
                <a:extLst>
                  <a:ext uri="{FF2B5EF4-FFF2-40B4-BE49-F238E27FC236}">
                    <a16:creationId xmlns:a16="http://schemas.microsoft.com/office/drawing/2014/main" id="{4465C5DC-A83E-6412-5ACC-1A69CA33B638}"/>
                  </a:ext>
                </a:extLst>
              </p:cNvPr>
              <p:cNvSpPr/>
              <p:nvPr/>
            </p:nvSpPr>
            <p:spPr>
              <a:xfrm>
                <a:off x="4172385" y="1887876"/>
                <a:ext cx="170761" cy="303545"/>
              </a:xfrm>
              <a:custGeom>
                <a:avLst/>
                <a:gdLst>
                  <a:gd name="connsiteX0" fmla="*/ 76612 w 170761"/>
                  <a:gd name="connsiteY0" fmla="*/ 51462 h 303545"/>
                  <a:gd name="connsiteX1" fmla="*/ 78365 w 170761"/>
                  <a:gd name="connsiteY1" fmla="*/ 51462 h 303545"/>
                  <a:gd name="connsiteX2" fmla="*/ 152030 w 170761"/>
                  <a:gd name="connsiteY2" fmla="*/ 0 h 303545"/>
                  <a:gd name="connsiteX3" fmla="*/ 170762 w 170761"/>
                  <a:gd name="connsiteY3" fmla="*/ 2331 h 303545"/>
                  <a:gd name="connsiteX4" fmla="*/ 170762 w 170761"/>
                  <a:gd name="connsiteY4" fmla="*/ 71937 h 303545"/>
                  <a:gd name="connsiteX5" fmla="*/ 168993 w 170761"/>
                  <a:gd name="connsiteY5" fmla="*/ 71937 h 303545"/>
                  <a:gd name="connsiteX6" fmla="*/ 79534 w 170761"/>
                  <a:gd name="connsiteY6" fmla="*/ 157325 h 303545"/>
                  <a:gd name="connsiteX7" fmla="*/ 79534 w 170761"/>
                  <a:gd name="connsiteY7" fmla="*/ 303545 h 303545"/>
                  <a:gd name="connsiteX8" fmla="*/ 0 w 170761"/>
                  <a:gd name="connsiteY8" fmla="*/ 303545 h 303545"/>
                  <a:gd name="connsiteX9" fmla="*/ 0 w 170761"/>
                  <a:gd name="connsiteY9" fmla="*/ 3508 h 303545"/>
                  <a:gd name="connsiteX10" fmla="*/ 76612 w 170761"/>
                  <a:gd name="connsiteY10" fmla="*/ 3508 h 303545"/>
                  <a:gd name="connsiteX11" fmla="*/ 76612 w 170761"/>
                  <a:gd name="connsiteY11" fmla="*/ 51462 h 30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761" h="303545">
                    <a:moveTo>
                      <a:pt x="76612" y="51462"/>
                    </a:moveTo>
                    <a:lnTo>
                      <a:pt x="78365" y="51462"/>
                    </a:lnTo>
                    <a:cubicBezTo>
                      <a:pt x="96497" y="17544"/>
                      <a:pt x="116966" y="0"/>
                      <a:pt x="152030" y="0"/>
                    </a:cubicBezTo>
                    <a:cubicBezTo>
                      <a:pt x="160812" y="0"/>
                      <a:pt x="166063" y="577"/>
                      <a:pt x="170762" y="2331"/>
                    </a:cubicBezTo>
                    <a:lnTo>
                      <a:pt x="170762" y="71937"/>
                    </a:lnTo>
                    <a:lnTo>
                      <a:pt x="168993" y="71937"/>
                    </a:lnTo>
                    <a:cubicBezTo>
                      <a:pt x="116966" y="66668"/>
                      <a:pt x="79534" y="94148"/>
                      <a:pt x="79534" y="157325"/>
                    </a:cubicBezTo>
                    <a:lnTo>
                      <a:pt x="79534" y="303545"/>
                    </a:lnTo>
                    <a:lnTo>
                      <a:pt x="0" y="303545"/>
                    </a:lnTo>
                    <a:lnTo>
                      <a:pt x="0" y="3508"/>
                    </a:lnTo>
                    <a:lnTo>
                      <a:pt x="76612" y="3508"/>
                    </a:lnTo>
                    <a:lnTo>
                      <a:pt x="76612" y="51462"/>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2" name="Freihandform 11">
                <a:extLst>
                  <a:ext uri="{FF2B5EF4-FFF2-40B4-BE49-F238E27FC236}">
                    <a16:creationId xmlns:a16="http://schemas.microsoft.com/office/drawing/2014/main" id="{F9CF9206-2673-FDEE-71F5-BA41712DEBDA}"/>
                  </a:ext>
                </a:extLst>
              </p:cNvPr>
              <p:cNvSpPr/>
              <p:nvPr/>
            </p:nvSpPr>
            <p:spPr>
              <a:xfrm>
                <a:off x="4364032" y="1883192"/>
                <a:ext cx="313418" cy="316996"/>
              </a:xfrm>
              <a:custGeom>
                <a:avLst/>
                <a:gdLst>
                  <a:gd name="connsiteX0" fmla="*/ 0 w 313418"/>
                  <a:gd name="connsiteY0" fmla="*/ 158502 h 316996"/>
                  <a:gd name="connsiteX1" fmla="*/ 156704 w 313418"/>
                  <a:gd name="connsiteY1" fmla="*/ 0 h 316996"/>
                  <a:gd name="connsiteX2" fmla="*/ 313419 w 313418"/>
                  <a:gd name="connsiteY2" fmla="*/ 158502 h 316996"/>
                  <a:gd name="connsiteX3" fmla="*/ 156704 w 313418"/>
                  <a:gd name="connsiteY3" fmla="*/ 316996 h 316996"/>
                  <a:gd name="connsiteX4" fmla="*/ 0 w 313418"/>
                  <a:gd name="connsiteY4" fmla="*/ 158502 h 316996"/>
                  <a:gd name="connsiteX5" fmla="*/ 232741 w 313418"/>
                  <a:gd name="connsiteY5" fmla="*/ 158502 h 316996"/>
                  <a:gd name="connsiteX6" fmla="*/ 156704 w 313418"/>
                  <a:gd name="connsiteY6" fmla="*/ 60246 h 316996"/>
                  <a:gd name="connsiteX7" fmla="*/ 80686 w 313418"/>
                  <a:gd name="connsiteY7" fmla="*/ 158502 h 316996"/>
                  <a:gd name="connsiteX8" fmla="*/ 156704 w 313418"/>
                  <a:gd name="connsiteY8" fmla="*/ 256174 h 316996"/>
                  <a:gd name="connsiteX9" fmla="*/ 232741 w 313418"/>
                  <a:gd name="connsiteY9" fmla="*/ 158502 h 31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18" h="316996">
                    <a:moveTo>
                      <a:pt x="0" y="158502"/>
                    </a:moveTo>
                    <a:cubicBezTo>
                      <a:pt x="0" y="69014"/>
                      <a:pt x="63731" y="0"/>
                      <a:pt x="156704" y="0"/>
                    </a:cubicBezTo>
                    <a:cubicBezTo>
                      <a:pt x="249678" y="0"/>
                      <a:pt x="313419" y="69014"/>
                      <a:pt x="313419" y="158502"/>
                    </a:cubicBezTo>
                    <a:cubicBezTo>
                      <a:pt x="313419" y="247990"/>
                      <a:pt x="249688" y="316996"/>
                      <a:pt x="156704" y="316996"/>
                    </a:cubicBezTo>
                    <a:cubicBezTo>
                      <a:pt x="63721" y="316996"/>
                      <a:pt x="0" y="247990"/>
                      <a:pt x="0" y="158502"/>
                    </a:cubicBezTo>
                    <a:close/>
                    <a:moveTo>
                      <a:pt x="232741" y="158502"/>
                    </a:moveTo>
                    <a:cubicBezTo>
                      <a:pt x="232741" y="100017"/>
                      <a:pt x="205257" y="60246"/>
                      <a:pt x="156704" y="60246"/>
                    </a:cubicBezTo>
                    <a:cubicBezTo>
                      <a:pt x="107600" y="60246"/>
                      <a:pt x="80686" y="100017"/>
                      <a:pt x="80686" y="158502"/>
                    </a:cubicBezTo>
                    <a:cubicBezTo>
                      <a:pt x="80686" y="216987"/>
                      <a:pt x="107600" y="256174"/>
                      <a:pt x="156704" y="256174"/>
                    </a:cubicBezTo>
                    <a:cubicBezTo>
                      <a:pt x="205257" y="256174"/>
                      <a:pt x="232741" y="216979"/>
                      <a:pt x="232741" y="158502"/>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3" name="Freihandform 12">
                <a:extLst>
                  <a:ext uri="{FF2B5EF4-FFF2-40B4-BE49-F238E27FC236}">
                    <a16:creationId xmlns:a16="http://schemas.microsoft.com/office/drawing/2014/main" id="{E21A9759-5F11-AA5F-7FD8-3C367647A7C8}"/>
                  </a:ext>
                </a:extLst>
              </p:cNvPr>
              <p:cNvSpPr/>
              <p:nvPr/>
            </p:nvSpPr>
            <p:spPr>
              <a:xfrm>
                <a:off x="4697888" y="1797796"/>
                <a:ext cx="172507" cy="394208"/>
              </a:xfrm>
              <a:custGeom>
                <a:avLst/>
                <a:gdLst>
                  <a:gd name="connsiteX0" fmla="*/ 0 w 172507"/>
                  <a:gd name="connsiteY0" fmla="*/ 93588 h 394208"/>
                  <a:gd name="connsiteX1" fmla="*/ 41531 w 172507"/>
                  <a:gd name="connsiteY1" fmla="*/ 93588 h 394208"/>
                  <a:gd name="connsiteX2" fmla="*/ 41531 w 172507"/>
                  <a:gd name="connsiteY2" fmla="*/ 0 h 394208"/>
                  <a:gd name="connsiteX3" fmla="*/ 119287 w 172507"/>
                  <a:gd name="connsiteY3" fmla="*/ 0 h 394208"/>
                  <a:gd name="connsiteX4" fmla="*/ 119287 w 172507"/>
                  <a:gd name="connsiteY4" fmla="*/ 93588 h 394208"/>
                  <a:gd name="connsiteX5" fmla="*/ 170754 w 172507"/>
                  <a:gd name="connsiteY5" fmla="*/ 93588 h 394208"/>
                  <a:gd name="connsiteX6" fmla="*/ 170754 w 172507"/>
                  <a:gd name="connsiteY6" fmla="*/ 146219 h 394208"/>
                  <a:gd name="connsiteX7" fmla="*/ 119287 w 172507"/>
                  <a:gd name="connsiteY7" fmla="*/ 146219 h 394208"/>
                  <a:gd name="connsiteX8" fmla="*/ 119287 w 172507"/>
                  <a:gd name="connsiteY8" fmla="*/ 305298 h 394208"/>
                  <a:gd name="connsiteX9" fmla="*/ 149124 w 172507"/>
                  <a:gd name="connsiteY9" fmla="*/ 335140 h 394208"/>
                  <a:gd name="connsiteX10" fmla="*/ 172507 w 172507"/>
                  <a:gd name="connsiteY10" fmla="*/ 334555 h 394208"/>
                  <a:gd name="connsiteX11" fmla="*/ 172507 w 172507"/>
                  <a:gd name="connsiteY11" fmla="*/ 393040 h 394208"/>
                  <a:gd name="connsiteX12" fmla="*/ 122803 w 172507"/>
                  <a:gd name="connsiteY12" fmla="*/ 394209 h 394208"/>
                  <a:gd name="connsiteX13" fmla="*/ 41531 w 172507"/>
                  <a:gd name="connsiteY13" fmla="*/ 322280 h 394208"/>
                  <a:gd name="connsiteX14" fmla="*/ 41531 w 172507"/>
                  <a:gd name="connsiteY14" fmla="*/ 146219 h 394208"/>
                  <a:gd name="connsiteX15" fmla="*/ 0 w 172507"/>
                  <a:gd name="connsiteY15" fmla="*/ 146219 h 394208"/>
                  <a:gd name="connsiteX16" fmla="*/ 0 w 172507"/>
                  <a:gd name="connsiteY16" fmla="*/ 93588 h 39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507" h="394208">
                    <a:moveTo>
                      <a:pt x="0" y="93588"/>
                    </a:moveTo>
                    <a:lnTo>
                      <a:pt x="41531" y="93588"/>
                    </a:lnTo>
                    <a:lnTo>
                      <a:pt x="41531" y="0"/>
                    </a:lnTo>
                    <a:lnTo>
                      <a:pt x="119287" y="0"/>
                    </a:lnTo>
                    <a:lnTo>
                      <a:pt x="119287" y="93588"/>
                    </a:lnTo>
                    <a:lnTo>
                      <a:pt x="170754" y="93588"/>
                    </a:lnTo>
                    <a:lnTo>
                      <a:pt x="170754" y="146219"/>
                    </a:lnTo>
                    <a:lnTo>
                      <a:pt x="119287" y="146219"/>
                    </a:lnTo>
                    <a:lnTo>
                      <a:pt x="119287" y="305298"/>
                    </a:lnTo>
                    <a:cubicBezTo>
                      <a:pt x="119287" y="327542"/>
                      <a:pt x="131568" y="335140"/>
                      <a:pt x="149124" y="335140"/>
                    </a:cubicBezTo>
                    <a:cubicBezTo>
                      <a:pt x="159058" y="335140"/>
                      <a:pt x="172507" y="334555"/>
                      <a:pt x="172507" y="334555"/>
                    </a:cubicBezTo>
                    <a:lnTo>
                      <a:pt x="172507" y="393040"/>
                    </a:lnTo>
                    <a:cubicBezTo>
                      <a:pt x="172507" y="393040"/>
                      <a:pt x="154384" y="394209"/>
                      <a:pt x="122803" y="394209"/>
                    </a:cubicBezTo>
                    <a:cubicBezTo>
                      <a:pt x="84217" y="394209"/>
                      <a:pt x="41531" y="379012"/>
                      <a:pt x="41531" y="322280"/>
                    </a:cubicBezTo>
                    <a:lnTo>
                      <a:pt x="41531" y="146219"/>
                    </a:lnTo>
                    <a:lnTo>
                      <a:pt x="0" y="146219"/>
                    </a:lnTo>
                    <a:lnTo>
                      <a:pt x="0" y="93588"/>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4" name="Freihandform 13">
                <a:extLst>
                  <a:ext uri="{FF2B5EF4-FFF2-40B4-BE49-F238E27FC236}">
                    <a16:creationId xmlns:a16="http://schemas.microsoft.com/office/drawing/2014/main" id="{7E99C72B-8888-C343-E143-4E22F76AFE3A}"/>
                  </a:ext>
                </a:extLst>
              </p:cNvPr>
              <p:cNvSpPr/>
              <p:nvPr/>
            </p:nvSpPr>
            <p:spPr>
              <a:xfrm>
                <a:off x="4902813" y="1883192"/>
                <a:ext cx="295886" cy="316996"/>
              </a:xfrm>
              <a:custGeom>
                <a:avLst/>
                <a:gdLst>
                  <a:gd name="connsiteX0" fmla="*/ 0 w 295886"/>
                  <a:gd name="connsiteY0" fmla="*/ 157925 h 316996"/>
                  <a:gd name="connsiteX1" fmla="*/ 147956 w 295886"/>
                  <a:gd name="connsiteY1" fmla="*/ 0 h 316996"/>
                  <a:gd name="connsiteX2" fmla="*/ 295887 w 295886"/>
                  <a:gd name="connsiteY2" fmla="*/ 180738 h 316996"/>
                  <a:gd name="connsiteX3" fmla="*/ 78357 w 295886"/>
                  <a:gd name="connsiteY3" fmla="*/ 180738 h 316996"/>
                  <a:gd name="connsiteX4" fmla="*/ 154961 w 295886"/>
                  <a:gd name="connsiteY4" fmla="*/ 255588 h 316996"/>
                  <a:gd name="connsiteX5" fmla="*/ 212847 w 295886"/>
                  <a:gd name="connsiteY5" fmla="*/ 218733 h 316996"/>
                  <a:gd name="connsiteX6" fmla="*/ 291203 w 295886"/>
                  <a:gd name="connsiteY6" fmla="*/ 218733 h 316996"/>
                  <a:gd name="connsiteX7" fmla="*/ 155561 w 295886"/>
                  <a:gd name="connsiteY7" fmla="*/ 316996 h 316996"/>
                  <a:gd name="connsiteX8" fmla="*/ 0 w 295886"/>
                  <a:gd name="connsiteY8" fmla="*/ 157925 h 316996"/>
                  <a:gd name="connsiteX9" fmla="*/ 79549 w 295886"/>
                  <a:gd name="connsiteY9" fmla="*/ 125745 h 316996"/>
                  <a:gd name="connsiteX10" fmla="*/ 212847 w 295886"/>
                  <a:gd name="connsiteY10" fmla="*/ 125745 h 316996"/>
                  <a:gd name="connsiteX11" fmla="*/ 149116 w 295886"/>
                  <a:gd name="connsiteY11" fmla="*/ 61414 h 316996"/>
                  <a:gd name="connsiteX12" fmla="*/ 79549 w 295886"/>
                  <a:gd name="connsiteY12" fmla="*/ 125745 h 31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886" h="316996">
                    <a:moveTo>
                      <a:pt x="0" y="157925"/>
                    </a:moveTo>
                    <a:cubicBezTo>
                      <a:pt x="0" y="69014"/>
                      <a:pt x="60232" y="0"/>
                      <a:pt x="147956" y="0"/>
                    </a:cubicBezTo>
                    <a:cubicBezTo>
                      <a:pt x="244428" y="0"/>
                      <a:pt x="295887" y="73690"/>
                      <a:pt x="295887" y="180738"/>
                    </a:cubicBezTo>
                    <a:lnTo>
                      <a:pt x="78357" y="180738"/>
                    </a:lnTo>
                    <a:cubicBezTo>
                      <a:pt x="84217" y="226948"/>
                      <a:pt x="109938" y="255588"/>
                      <a:pt x="154961" y="255588"/>
                    </a:cubicBezTo>
                    <a:cubicBezTo>
                      <a:pt x="185957" y="255588"/>
                      <a:pt x="204080" y="241561"/>
                      <a:pt x="212847" y="218733"/>
                    </a:cubicBezTo>
                    <a:lnTo>
                      <a:pt x="291203" y="218733"/>
                    </a:lnTo>
                    <a:cubicBezTo>
                      <a:pt x="280100" y="271955"/>
                      <a:pt x="232733" y="316996"/>
                      <a:pt x="155561" y="316996"/>
                    </a:cubicBezTo>
                    <a:cubicBezTo>
                      <a:pt x="56149" y="316996"/>
                      <a:pt x="0" y="247407"/>
                      <a:pt x="0" y="157925"/>
                    </a:cubicBezTo>
                    <a:close/>
                    <a:moveTo>
                      <a:pt x="79549" y="125745"/>
                    </a:moveTo>
                    <a:lnTo>
                      <a:pt x="212847" y="125745"/>
                    </a:lnTo>
                    <a:cubicBezTo>
                      <a:pt x="210517" y="87727"/>
                      <a:pt x="185380" y="61414"/>
                      <a:pt x="149116" y="61414"/>
                    </a:cubicBezTo>
                    <a:cubicBezTo>
                      <a:pt x="107024" y="61414"/>
                      <a:pt x="86554" y="86565"/>
                      <a:pt x="79549" y="125745"/>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5" name="Freihandform 14">
                <a:extLst>
                  <a:ext uri="{FF2B5EF4-FFF2-40B4-BE49-F238E27FC236}">
                    <a16:creationId xmlns:a16="http://schemas.microsoft.com/office/drawing/2014/main" id="{EE21E039-A606-9A45-329B-3D495E0D735C}"/>
                  </a:ext>
                </a:extLst>
              </p:cNvPr>
              <p:cNvSpPr/>
              <p:nvPr/>
            </p:nvSpPr>
            <p:spPr>
              <a:xfrm>
                <a:off x="5235273" y="1883192"/>
                <a:ext cx="288857" cy="316996"/>
              </a:xfrm>
              <a:custGeom>
                <a:avLst/>
                <a:gdLst>
                  <a:gd name="connsiteX0" fmla="*/ 0 w 288857"/>
                  <a:gd name="connsiteY0" fmla="*/ 158502 h 316996"/>
                  <a:gd name="connsiteX1" fmla="*/ 149708 w 288857"/>
                  <a:gd name="connsiteY1" fmla="*/ 0 h 316996"/>
                  <a:gd name="connsiteX2" fmla="*/ 285943 w 288857"/>
                  <a:gd name="connsiteY2" fmla="*/ 109963 h 316996"/>
                  <a:gd name="connsiteX3" fmla="*/ 208171 w 288857"/>
                  <a:gd name="connsiteY3" fmla="*/ 109963 h 316996"/>
                  <a:gd name="connsiteX4" fmla="*/ 153199 w 288857"/>
                  <a:gd name="connsiteY4" fmla="*/ 63745 h 316996"/>
                  <a:gd name="connsiteX5" fmla="*/ 80694 w 288857"/>
                  <a:gd name="connsiteY5" fmla="*/ 158502 h 316996"/>
                  <a:gd name="connsiteX6" fmla="*/ 152038 w 288857"/>
                  <a:gd name="connsiteY6" fmla="*/ 253251 h 316996"/>
                  <a:gd name="connsiteX7" fmla="*/ 212270 w 288857"/>
                  <a:gd name="connsiteY7" fmla="*/ 202366 h 316996"/>
                  <a:gd name="connsiteX8" fmla="*/ 288857 w 288857"/>
                  <a:gd name="connsiteY8" fmla="*/ 202366 h 316996"/>
                  <a:gd name="connsiteX9" fmla="*/ 153790 w 288857"/>
                  <a:gd name="connsiteY9" fmla="*/ 316996 h 316996"/>
                  <a:gd name="connsiteX10" fmla="*/ 0 w 288857"/>
                  <a:gd name="connsiteY10" fmla="*/ 158502 h 31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857" h="316996">
                    <a:moveTo>
                      <a:pt x="0" y="158502"/>
                    </a:moveTo>
                    <a:cubicBezTo>
                      <a:pt x="0" y="69014"/>
                      <a:pt x="58471" y="0"/>
                      <a:pt x="149708" y="0"/>
                    </a:cubicBezTo>
                    <a:cubicBezTo>
                      <a:pt x="227457" y="0"/>
                      <a:pt x="275408" y="45049"/>
                      <a:pt x="285943" y="109963"/>
                    </a:cubicBezTo>
                    <a:lnTo>
                      <a:pt x="208171" y="109963"/>
                    </a:lnTo>
                    <a:cubicBezTo>
                      <a:pt x="202912" y="83635"/>
                      <a:pt x="182443" y="63745"/>
                      <a:pt x="153199" y="63745"/>
                    </a:cubicBezTo>
                    <a:cubicBezTo>
                      <a:pt x="105254" y="63745"/>
                      <a:pt x="80694" y="100603"/>
                      <a:pt x="80694" y="158502"/>
                    </a:cubicBezTo>
                    <a:cubicBezTo>
                      <a:pt x="80694" y="215225"/>
                      <a:pt x="103509" y="253251"/>
                      <a:pt x="152038" y="253251"/>
                    </a:cubicBezTo>
                    <a:cubicBezTo>
                      <a:pt x="184180" y="253251"/>
                      <a:pt x="206986" y="236300"/>
                      <a:pt x="212270" y="202366"/>
                    </a:cubicBezTo>
                    <a:lnTo>
                      <a:pt x="288857" y="202366"/>
                    </a:lnTo>
                    <a:cubicBezTo>
                      <a:pt x="283606" y="266143"/>
                      <a:pt x="233909" y="316996"/>
                      <a:pt x="153790" y="316996"/>
                    </a:cubicBezTo>
                    <a:cubicBezTo>
                      <a:pt x="59055" y="316996"/>
                      <a:pt x="0" y="247990"/>
                      <a:pt x="0" y="158502"/>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6" name="Freihandform 15">
                <a:extLst>
                  <a:ext uri="{FF2B5EF4-FFF2-40B4-BE49-F238E27FC236}">
                    <a16:creationId xmlns:a16="http://schemas.microsoft.com/office/drawing/2014/main" id="{1C9C0CB7-8B00-70E8-EFC1-D9B193CEF0E8}"/>
                  </a:ext>
                </a:extLst>
              </p:cNvPr>
              <p:cNvSpPr/>
              <p:nvPr/>
            </p:nvSpPr>
            <p:spPr>
              <a:xfrm>
                <a:off x="5548430" y="1797796"/>
                <a:ext cx="172500" cy="394208"/>
              </a:xfrm>
              <a:custGeom>
                <a:avLst/>
                <a:gdLst>
                  <a:gd name="connsiteX0" fmla="*/ 0 w 172500"/>
                  <a:gd name="connsiteY0" fmla="*/ 93588 h 394208"/>
                  <a:gd name="connsiteX1" fmla="*/ 41517 w 172500"/>
                  <a:gd name="connsiteY1" fmla="*/ 93588 h 394208"/>
                  <a:gd name="connsiteX2" fmla="*/ 41517 w 172500"/>
                  <a:gd name="connsiteY2" fmla="*/ 0 h 394208"/>
                  <a:gd name="connsiteX3" fmla="*/ 119289 w 172500"/>
                  <a:gd name="connsiteY3" fmla="*/ 0 h 394208"/>
                  <a:gd name="connsiteX4" fmla="*/ 119289 w 172500"/>
                  <a:gd name="connsiteY4" fmla="*/ 93588 h 394208"/>
                  <a:gd name="connsiteX5" fmla="*/ 170747 w 172500"/>
                  <a:gd name="connsiteY5" fmla="*/ 93588 h 394208"/>
                  <a:gd name="connsiteX6" fmla="*/ 170747 w 172500"/>
                  <a:gd name="connsiteY6" fmla="*/ 146219 h 394208"/>
                  <a:gd name="connsiteX7" fmla="*/ 119289 w 172500"/>
                  <a:gd name="connsiteY7" fmla="*/ 146219 h 394208"/>
                  <a:gd name="connsiteX8" fmla="*/ 119289 w 172500"/>
                  <a:gd name="connsiteY8" fmla="*/ 305298 h 394208"/>
                  <a:gd name="connsiteX9" fmla="*/ 149101 w 172500"/>
                  <a:gd name="connsiteY9" fmla="*/ 335140 h 394208"/>
                  <a:gd name="connsiteX10" fmla="*/ 172501 w 172500"/>
                  <a:gd name="connsiteY10" fmla="*/ 334555 h 394208"/>
                  <a:gd name="connsiteX11" fmla="*/ 172501 w 172500"/>
                  <a:gd name="connsiteY11" fmla="*/ 393040 h 394208"/>
                  <a:gd name="connsiteX12" fmla="*/ 122794 w 172500"/>
                  <a:gd name="connsiteY12" fmla="*/ 394209 h 394208"/>
                  <a:gd name="connsiteX13" fmla="*/ 41517 w 172500"/>
                  <a:gd name="connsiteY13" fmla="*/ 322280 h 394208"/>
                  <a:gd name="connsiteX14" fmla="*/ 41517 w 172500"/>
                  <a:gd name="connsiteY14" fmla="*/ 146219 h 394208"/>
                  <a:gd name="connsiteX15" fmla="*/ 0 w 172500"/>
                  <a:gd name="connsiteY15" fmla="*/ 146219 h 394208"/>
                  <a:gd name="connsiteX16" fmla="*/ 0 w 172500"/>
                  <a:gd name="connsiteY16" fmla="*/ 93588 h 39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500" h="394208">
                    <a:moveTo>
                      <a:pt x="0" y="93588"/>
                    </a:moveTo>
                    <a:lnTo>
                      <a:pt x="41517" y="93588"/>
                    </a:lnTo>
                    <a:lnTo>
                      <a:pt x="41517" y="0"/>
                    </a:lnTo>
                    <a:lnTo>
                      <a:pt x="119289" y="0"/>
                    </a:lnTo>
                    <a:lnTo>
                      <a:pt x="119289" y="93588"/>
                    </a:lnTo>
                    <a:lnTo>
                      <a:pt x="170747" y="93588"/>
                    </a:lnTo>
                    <a:lnTo>
                      <a:pt x="170747" y="146219"/>
                    </a:lnTo>
                    <a:lnTo>
                      <a:pt x="119289" y="146219"/>
                    </a:lnTo>
                    <a:lnTo>
                      <a:pt x="119289" y="305298"/>
                    </a:lnTo>
                    <a:cubicBezTo>
                      <a:pt x="119289" y="327542"/>
                      <a:pt x="131561" y="335140"/>
                      <a:pt x="149101" y="335140"/>
                    </a:cubicBezTo>
                    <a:cubicBezTo>
                      <a:pt x="159043" y="335140"/>
                      <a:pt x="172501" y="334555"/>
                      <a:pt x="172501" y="334555"/>
                    </a:cubicBezTo>
                    <a:lnTo>
                      <a:pt x="172501" y="393040"/>
                    </a:lnTo>
                    <a:cubicBezTo>
                      <a:pt x="172501" y="393040"/>
                      <a:pt x="154375" y="394209"/>
                      <a:pt x="122794" y="394209"/>
                    </a:cubicBezTo>
                    <a:cubicBezTo>
                      <a:pt x="84202" y="394209"/>
                      <a:pt x="41517" y="379012"/>
                      <a:pt x="41517" y="322280"/>
                    </a:cubicBezTo>
                    <a:lnTo>
                      <a:pt x="41517" y="146219"/>
                    </a:lnTo>
                    <a:lnTo>
                      <a:pt x="0" y="146219"/>
                    </a:lnTo>
                    <a:lnTo>
                      <a:pt x="0" y="93588"/>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7" name="Freihandform 16">
                <a:extLst>
                  <a:ext uri="{FF2B5EF4-FFF2-40B4-BE49-F238E27FC236}">
                    <a16:creationId xmlns:a16="http://schemas.microsoft.com/office/drawing/2014/main" id="{CF974B56-5E4C-C8AB-D37C-607E03F2B879}"/>
                  </a:ext>
                </a:extLst>
              </p:cNvPr>
              <p:cNvSpPr/>
              <p:nvPr/>
            </p:nvSpPr>
            <p:spPr>
              <a:xfrm>
                <a:off x="5775362" y="1773238"/>
                <a:ext cx="79540" cy="418183"/>
              </a:xfrm>
              <a:custGeom>
                <a:avLst/>
                <a:gdLst>
                  <a:gd name="connsiteX0" fmla="*/ 0 w 79540"/>
                  <a:gd name="connsiteY0" fmla="*/ 0 h 418183"/>
                  <a:gd name="connsiteX1" fmla="*/ 79541 w 79540"/>
                  <a:gd name="connsiteY1" fmla="*/ 0 h 418183"/>
                  <a:gd name="connsiteX2" fmla="*/ 79541 w 79540"/>
                  <a:gd name="connsiteY2" fmla="*/ 71352 h 418183"/>
                  <a:gd name="connsiteX3" fmla="*/ 0 w 79540"/>
                  <a:gd name="connsiteY3" fmla="*/ 71352 h 418183"/>
                  <a:gd name="connsiteX4" fmla="*/ 0 w 79540"/>
                  <a:gd name="connsiteY4" fmla="*/ 0 h 418183"/>
                  <a:gd name="connsiteX5" fmla="*/ 0 w 79540"/>
                  <a:gd name="connsiteY5" fmla="*/ 118147 h 418183"/>
                  <a:gd name="connsiteX6" fmla="*/ 79541 w 79540"/>
                  <a:gd name="connsiteY6" fmla="*/ 118147 h 418183"/>
                  <a:gd name="connsiteX7" fmla="*/ 79541 w 79540"/>
                  <a:gd name="connsiteY7" fmla="*/ 418184 h 418183"/>
                  <a:gd name="connsiteX8" fmla="*/ 0 w 79540"/>
                  <a:gd name="connsiteY8" fmla="*/ 418184 h 418183"/>
                  <a:gd name="connsiteX9" fmla="*/ 0 w 79540"/>
                  <a:gd name="connsiteY9" fmla="*/ 118147 h 41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40" h="418183">
                    <a:moveTo>
                      <a:pt x="0" y="0"/>
                    </a:moveTo>
                    <a:lnTo>
                      <a:pt x="79541" y="0"/>
                    </a:lnTo>
                    <a:lnTo>
                      <a:pt x="79541" y="71352"/>
                    </a:lnTo>
                    <a:lnTo>
                      <a:pt x="0" y="71352"/>
                    </a:lnTo>
                    <a:lnTo>
                      <a:pt x="0" y="0"/>
                    </a:lnTo>
                    <a:close/>
                    <a:moveTo>
                      <a:pt x="0" y="118147"/>
                    </a:moveTo>
                    <a:lnTo>
                      <a:pt x="79541" y="118147"/>
                    </a:lnTo>
                    <a:lnTo>
                      <a:pt x="79541" y="418184"/>
                    </a:lnTo>
                    <a:lnTo>
                      <a:pt x="0" y="418184"/>
                    </a:lnTo>
                    <a:lnTo>
                      <a:pt x="0" y="118147"/>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8" name="Freihandform 17">
                <a:extLst>
                  <a:ext uri="{FF2B5EF4-FFF2-40B4-BE49-F238E27FC236}">
                    <a16:creationId xmlns:a16="http://schemas.microsoft.com/office/drawing/2014/main" id="{609208EA-3DCE-F90A-F0AD-31CC5629F343}"/>
                  </a:ext>
                </a:extLst>
              </p:cNvPr>
              <p:cNvSpPr/>
              <p:nvPr/>
            </p:nvSpPr>
            <p:spPr>
              <a:xfrm>
                <a:off x="5924087" y="1883192"/>
                <a:ext cx="271902" cy="308228"/>
              </a:xfrm>
              <a:custGeom>
                <a:avLst/>
                <a:gdLst>
                  <a:gd name="connsiteX0" fmla="*/ 77764 w 271902"/>
                  <a:gd name="connsiteY0" fmla="*/ 49132 h 308228"/>
                  <a:gd name="connsiteX1" fmla="*/ 79532 w 271902"/>
                  <a:gd name="connsiteY1" fmla="*/ 49132 h 308228"/>
                  <a:gd name="connsiteX2" fmla="*/ 168400 w 271902"/>
                  <a:gd name="connsiteY2" fmla="*/ 0 h 308228"/>
                  <a:gd name="connsiteX3" fmla="*/ 271902 w 271902"/>
                  <a:gd name="connsiteY3" fmla="*/ 112293 h 308228"/>
                  <a:gd name="connsiteX4" fmla="*/ 271902 w 271902"/>
                  <a:gd name="connsiteY4" fmla="*/ 308229 h 308228"/>
                  <a:gd name="connsiteX5" fmla="*/ 192385 w 271902"/>
                  <a:gd name="connsiteY5" fmla="*/ 308229 h 308228"/>
                  <a:gd name="connsiteX6" fmla="*/ 192385 w 271902"/>
                  <a:gd name="connsiteY6" fmla="*/ 123991 h 308228"/>
                  <a:gd name="connsiteX7" fmla="*/ 140349 w 271902"/>
                  <a:gd name="connsiteY7" fmla="*/ 69014 h 308228"/>
                  <a:gd name="connsiteX8" fmla="*/ 79532 w 271902"/>
                  <a:gd name="connsiteY8" fmla="*/ 138035 h 308228"/>
                  <a:gd name="connsiteX9" fmla="*/ 79532 w 271902"/>
                  <a:gd name="connsiteY9" fmla="*/ 308229 h 308228"/>
                  <a:gd name="connsiteX10" fmla="*/ 0 w 271902"/>
                  <a:gd name="connsiteY10" fmla="*/ 308229 h 308228"/>
                  <a:gd name="connsiteX11" fmla="*/ 0 w 271902"/>
                  <a:gd name="connsiteY11" fmla="*/ 8192 h 308228"/>
                  <a:gd name="connsiteX12" fmla="*/ 77764 w 271902"/>
                  <a:gd name="connsiteY12" fmla="*/ 8192 h 308228"/>
                  <a:gd name="connsiteX13" fmla="*/ 77764 w 271902"/>
                  <a:gd name="connsiteY13" fmla="*/ 49132 h 308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902" h="308228">
                    <a:moveTo>
                      <a:pt x="77764" y="49132"/>
                    </a:moveTo>
                    <a:lnTo>
                      <a:pt x="79532" y="49132"/>
                    </a:lnTo>
                    <a:cubicBezTo>
                      <a:pt x="99995" y="16959"/>
                      <a:pt x="127469" y="0"/>
                      <a:pt x="168400" y="0"/>
                    </a:cubicBezTo>
                    <a:cubicBezTo>
                      <a:pt x="230394" y="0"/>
                      <a:pt x="271902" y="46793"/>
                      <a:pt x="271902" y="112293"/>
                    </a:cubicBezTo>
                    <a:lnTo>
                      <a:pt x="271902" y="308229"/>
                    </a:lnTo>
                    <a:lnTo>
                      <a:pt x="192385" y="308229"/>
                    </a:lnTo>
                    <a:lnTo>
                      <a:pt x="192385" y="123991"/>
                    </a:lnTo>
                    <a:cubicBezTo>
                      <a:pt x="192385" y="91819"/>
                      <a:pt x="173676" y="69014"/>
                      <a:pt x="140349" y="69014"/>
                    </a:cubicBezTo>
                    <a:cubicBezTo>
                      <a:pt x="105254" y="69014"/>
                      <a:pt x="79532" y="97086"/>
                      <a:pt x="79532" y="138035"/>
                    </a:cubicBezTo>
                    <a:lnTo>
                      <a:pt x="79532" y="308229"/>
                    </a:lnTo>
                    <a:lnTo>
                      <a:pt x="0" y="308229"/>
                    </a:lnTo>
                    <a:lnTo>
                      <a:pt x="0" y="8192"/>
                    </a:lnTo>
                    <a:lnTo>
                      <a:pt x="77764" y="8192"/>
                    </a:lnTo>
                    <a:lnTo>
                      <a:pt x="77764" y="49132"/>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19" name="Freihandform 18">
                <a:extLst>
                  <a:ext uri="{FF2B5EF4-FFF2-40B4-BE49-F238E27FC236}">
                    <a16:creationId xmlns:a16="http://schemas.microsoft.com/office/drawing/2014/main" id="{11AAC20C-CB7D-F333-9599-15781A1D6D03}"/>
                  </a:ext>
                </a:extLst>
              </p:cNvPr>
              <p:cNvSpPr/>
              <p:nvPr/>
            </p:nvSpPr>
            <p:spPr>
              <a:xfrm>
                <a:off x="6242968" y="1883192"/>
                <a:ext cx="290619" cy="410584"/>
              </a:xfrm>
              <a:custGeom>
                <a:avLst/>
                <a:gdLst>
                  <a:gd name="connsiteX0" fmla="*/ 6428 w 290619"/>
                  <a:gd name="connsiteY0" fmla="*/ 316996 h 410584"/>
                  <a:gd name="connsiteX1" fmla="*/ 85369 w 290619"/>
                  <a:gd name="connsiteY1" fmla="*/ 316996 h 410584"/>
                  <a:gd name="connsiteX2" fmla="*/ 145609 w 290619"/>
                  <a:gd name="connsiteY2" fmla="*/ 350347 h 410584"/>
                  <a:gd name="connsiteX3" fmla="*/ 212262 w 290619"/>
                  <a:gd name="connsiteY3" fmla="*/ 287770 h 410584"/>
                  <a:gd name="connsiteX4" fmla="*/ 212262 w 290619"/>
                  <a:gd name="connsiteY4" fmla="*/ 255005 h 410584"/>
                  <a:gd name="connsiteX5" fmla="*/ 210508 w 290619"/>
                  <a:gd name="connsiteY5" fmla="*/ 255005 h 410584"/>
                  <a:gd name="connsiteX6" fmla="*/ 132151 w 290619"/>
                  <a:gd name="connsiteY6" fmla="*/ 290108 h 410584"/>
                  <a:gd name="connsiteX7" fmla="*/ 0 w 290619"/>
                  <a:gd name="connsiteY7" fmla="*/ 146812 h 410584"/>
                  <a:gd name="connsiteX8" fmla="*/ 129814 w 290619"/>
                  <a:gd name="connsiteY8" fmla="*/ 0 h 410584"/>
                  <a:gd name="connsiteX9" fmla="*/ 212862 w 290619"/>
                  <a:gd name="connsiteY9" fmla="*/ 39772 h 410584"/>
                  <a:gd name="connsiteX10" fmla="*/ 214016 w 290619"/>
                  <a:gd name="connsiteY10" fmla="*/ 39772 h 410584"/>
                  <a:gd name="connsiteX11" fmla="*/ 214016 w 290619"/>
                  <a:gd name="connsiteY11" fmla="*/ 8192 h 410584"/>
                  <a:gd name="connsiteX12" fmla="*/ 290619 w 290619"/>
                  <a:gd name="connsiteY12" fmla="*/ 8192 h 410584"/>
                  <a:gd name="connsiteX13" fmla="*/ 290619 w 290619"/>
                  <a:gd name="connsiteY13" fmla="*/ 285399 h 410584"/>
                  <a:gd name="connsiteX14" fmla="*/ 254954 w 290619"/>
                  <a:gd name="connsiteY14" fmla="*/ 376650 h 410584"/>
                  <a:gd name="connsiteX15" fmla="*/ 146777 w 290619"/>
                  <a:gd name="connsiteY15" fmla="*/ 410584 h 410584"/>
                  <a:gd name="connsiteX16" fmla="*/ 6428 w 290619"/>
                  <a:gd name="connsiteY16" fmla="*/ 316996 h 410584"/>
                  <a:gd name="connsiteX17" fmla="*/ 216369 w 290619"/>
                  <a:gd name="connsiteY17" fmla="*/ 145050 h 410584"/>
                  <a:gd name="connsiteX18" fmla="*/ 145025 w 290619"/>
                  <a:gd name="connsiteY18" fmla="*/ 63745 h 410584"/>
                  <a:gd name="connsiteX19" fmla="*/ 77772 w 290619"/>
                  <a:gd name="connsiteY19" fmla="*/ 145635 h 410584"/>
                  <a:gd name="connsiteX20" fmla="*/ 145609 w 290619"/>
                  <a:gd name="connsiteY20" fmla="*/ 226363 h 410584"/>
                  <a:gd name="connsiteX21" fmla="*/ 216369 w 290619"/>
                  <a:gd name="connsiteY21" fmla="*/ 145050 h 41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0619" h="410584">
                    <a:moveTo>
                      <a:pt x="6428" y="316996"/>
                    </a:moveTo>
                    <a:lnTo>
                      <a:pt x="85369" y="316996"/>
                    </a:lnTo>
                    <a:cubicBezTo>
                      <a:pt x="91813" y="335701"/>
                      <a:pt x="108760" y="350347"/>
                      <a:pt x="145609" y="350347"/>
                    </a:cubicBezTo>
                    <a:cubicBezTo>
                      <a:pt x="190623" y="350347"/>
                      <a:pt x="212262" y="328686"/>
                      <a:pt x="212262" y="287770"/>
                    </a:cubicBezTo>
                    <a:lnTo>
                      <a:pt x="212262" y="255005"/>
                    </a:lnTo>
                    <a:lnTo>
                      <a:pt x="210508" y="255005"/>
                    </a:lnTo>
                    <a:cubicBezTo>
                      <a:pt x="192976" y="274912"/>
                      <a:pt x="170170" y="290108"/>
                      <a:pt x="132151" y="290108"/>
                    </a:cubicBezTo>
                    <a:cubicBezTo>
                      <a:pt x="65500" y="290108"/>
                      <a:pt x="0" y="237437"/>
                      <a:pt x="0" y="146812"/>
                    </a:cubicBezTo>
                    <a:cubicBezTo>
                      <a:pt x="0" y="57308"/>
                      <a:pt x="53796" y="0"/>
                      <a:pt x="129814" y="0"/>
                    </a:cubicBezTo>
                    <a:cubicBezTo>
                      <a:pt x="167248" y="0"/>
                      <a:pt x="194730" y="14630"/>
                      <a:pt x="212862" y="39772"/>
                    </a:cubicBezTo>
                    <a:lnTo>
                      <a:pt x="214016" y="39772"/>
                    </a:lnTo>
                    <a:lnTo>
                      <a:pt x="214016" y="8192"/>
                    </a:lnTo>
                    <a:lnTo>
                      <a:pt x="290619" y="8192"/>
                    </a:lnTo>
                    <a:lnTo>
                      <a:pt x="290619" y="285399"/>
                    </a:lnTo>
                    <a:cubicBezTo>
                      <a:pt x="290619" y="327517"/>
                      <a:pt x="277178" y="356191"/>
                      <a:pt x="254954" y="376650"/>
                    </a:cubicBezTo>
                    <a:cubicBezTo>
                      <a:pt x="229809" y="400063"/>
                      <a:pt x="191208" y="410584"/>
                      <a:pt x="146777" y="410584"/>
                    </a:cubicBezTo>
                    <a:cubicBezTo>
                      <a:pt x="64914" y="410584"/>
                      <a:pt x="14624" y="375481"/>
                      <a:pt x="6428" y="316996"/>
                    </a:cubicBezTo>
                    <a:close/>
                    <a:moveTo>
                      <a:pt x="216369" y="145050"/>
                    </a:moveTo>
                    <a:cubicBezTo>
                      <a:pt x="216369" y="101186"/>
                      <a:pt x="192976" y="63745"/>
                      <a:pt x="145025" y="63745"/>
                    </a:cubicBezTo>
                    <a:cubicBezTo>
                      <a:pt x="104686" y="63745"/>
                      <a:pt x="77772" y="95325"/>
                      <a:pt x="77772" y="145635"/>
                    </a:cubicBezTo>
                    <a:cubicBezTo>
                      <a:pt x="77772" y="196520"/>
                      <a:pt x="104686" y="226363"/>
                      <a:pt x="145609" y="226363"/>
                    </a:cubicBezTo>
                    <a:cubicBezTo>
                      <a:pt x="195882" y="226363"/>
                      <a:pt x="216369" y="189505"/>
                      <a:pt x="216369" y="145050"/>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grpSp>
        <p:grpSp>
          <p:nvGrpSpPr>
            <p:cNvPr id="20" name="Grafik 6">
              <a:extLst>
                <a:ext uri="{FF2B5EF4-FFF2-40B4-BE49-F238E27FC236}">
                  <a16:creationId xmlns:a16="http://schemas.microsoft.com/office/drawing/2014/main" id="{31C42420-6F77-24A5-C31F-F927555E4C54}"/>
                </a:ext>
              </a:extLst>
            </p:cNvPr>
            <p:cNvGrpSpPr/>
            <p:nvPr/>
          </p:nvGrpSpPr>
          <p:grpSpPr>
            <a:xfrm>
              <a:off x="6718399" y="1773238"/>
              <a:ext cx="1640156" cy="516447"/>
              <a:chOff x="6718399" y="1773238"/>
              <a:chExt cx="1640156" cy="516447"/>
            </a:xfrm>
            <a:solidFill>
              <a:srgbClr val="50936E"/>
            </a:solidFill>
          </p:grpSpPr>
          <p:sp>
            <p:nvSpPr>
              <p:cNvPr id="21" name="Freihandform 20">
                <a:extLst>
                  <a:ext uri="{FF2B5EF4-FFF2-40B4-BE49-F238E27FC236}">
                    <a16:creationId xmlns:a16="http://schemas.microsoft.com/office/drawing/2014/main" id="{0ACA51FC-97AD-4664-20E6-8B6AA21F07D0}"/>
                  </a:ext>
                </a:extLst>
              </p:cNvPr>
              <p:cNvSpPr/>
              <p:nvPr/>
            </p:nvSpPr>
            <p:spPr>
              <a:xfrm>
                <a:off x="7198395" y="1884188"/>
                <a:ext cx="292357" cy="317925"/>
              </a:xfrm>
              <a:custGeom>
                <a:avLst/>
                <a:gdLst>
                  <a:gd name="connsiteX0" fmla="*/ 281031 w 292357"/>
                  <a:gd name="connsiteY0" fmla="*/ 262944 h 317925"/>
                  <a:gd name="connsiteX1" fmla="*/ 281031 w 292357"/>
                  <a:gd name="connsiteY1" fmla="*/ 108247 h 317925"/>
                  <a:gd name="connsiteX2" fmla="*/ 269701 w 292357"/>
                  <a:gd name="connsiteY2" fmla="*/ 54982 h 317925"/>
                  <a:gd name="connsiteX3" fmla="*/ 235183 w 292357"/>
                  <a:gd name="connsiteY3" fmla="*/ 18121 h 317925"/>
                  <a:gd name="connsiteX4" fmla="*/ 198289 w 292357"/>
                  <a:gd name="connsiteY4" fmla="*/ 4541 h 317925"/>
                  <a:gd name="connsiteX5" fmla="*/ 148470 w 292357"/>
                  <a:gd name="connsiteY5" fmla="*/ 0 h 317925"/>
                  <a:gd name="connsiteX6" fmla="*/ 90066 w 292357"/>
                  <a:gd name="connsiteY6" fmla="*/ 8508 h 317925"/>
                  <a:gd name="connsiteX7" fmla="*/ 48759 w 292357"/>
                  <a:gd name="connsiteY7" fmla="*/ 30597 h 317925"/>
                  <a:gd name="connsiteX8" fmla="*/ 23808 w 292357"/>
                  <a:gd name="connsiteY8" fmla="*/ 62345 h 317925"/>
                  <a:gd name="connsiteX9" fmla="*/ 14729 w 292357"/>
                  <a:gd name="connsiteY9" fmla="*/ 99735 h 317925"/>
                  <a:gd name="connsiteX10" fmla="*/ 96940 w 292357"/>
                  <a:gd name="connsiteY10" fmla="*/ 99735 h 317925"/>
                  <a:gd name="connsiteX11" fmla="*/ 111092 w 292357"/>
                  <a:gd name="connsiteY11" fmla="*/ 70855 h 317925"/>
                  <a:gd name="connsiteX12" fmla="*/ 149620 w 292357"/>
                  <a:gd name="connsiteY12" fmla="*/ 60093 h 317925"/>
                  <a:gd name="connsiteX13" fmla="*/ 183648 w 292357"/>
                  <a:gd name="connsiteY13" fmla="*/ 70281 h 317925"/>
                  <a:gd name="connsiteX14" fmla="*/ 194361 w 292357"/>
                  <a:gd name="connsiteY14" fmla="*/ 96300 h 317925"/>
                  <a:gd name="connsiteX15" fmla="*/ 176243 w 292357"/>
                  <a:gd name="connsiteY15" fmla="*/ 121296 h 317925"/>
                  <a:gd name="connsiteX16" fmla="*/ 118449 w 292357"/>
                  <a:gd name="connsiteY16" fmla="*/ 134876 h 317925"/>
                  <a:gd name="connsiteX17" fmla="*/ 71989 w 292357"/>
                  <a:gd name="connsiteY17" fmla="*/ 143342 h 317925"/>
                  <a:gd name="connsiteX18" fmla="*/ 34605 w 292357"/>
                  <a:gd name="connsiteY18" fmla="*/ 158645 h 317925"/>
                  <a:gd name="connsiteX19" fmla="*/ 9081 w 292357"/>
                  <a:gd name="connsiteY19" fmla="*/ 185297 h 317925"/>
                  <a:gd name="connsiteX20" fmla="*/ 0 w 292357"/>
                  <a:gd name="connsiteY20" fmla="*/ 226698 h 317925"/>
                  <a:gd name="connsiteX21" fmla="*/ 7364 w 292357"/>
                  <a:gd name="connsiteY21" fmla="*/ 266382 h 317925"/>
                  <a:gd name="connsiteX22" fmla="*/ 28878 w 292357"/>
                  <a:gd name="connsiteY22" fmla="*/ 294689 h 317925"/>
                  <a:gd name="connsiteX23" fmla="*/ 61760 w 292357"/>
                  <a:gd name="connsiteY23" fmla="*/ 311709 h 317925"/>
                  <a:gd name="connsiteX24" fmla="*/ 103151 w 292357"/>
                  <a:gd name="connsiteY24" fmla="*/ 317925 h 317925"/>
                  <a:gd name="connsiteX25" fmla="*/ 158654 w 292357"/>
                  <a:gd name="connsiteY25" fmla="*/ 306063 h 317925"/>
                  <a:gd name="connsiteX26" fmla="*/ 195506 w 292357"/>
                  <a:gd name="connsiteY26" fmla="*/ 273174 h 317925"/>
                  <a:gd name="connsiteX27" fmla="*/ 199431 w 292357"/>
                  <a:gd name="connsiteY27" fmla="*/ 295837 h 317925"/>
                  <a:gd name="connsiteX28" fmla="*/ 205691 w 292357"/>
                  <a:gd name="connsiteY28" fmla="*/ 309993 h 317925"/>
                  <a:gd name="connsiteX29" fmla="*/ 292358 w 292357"/>
                  <a:gd name="connsiteY29" fmla="*/ 309993 h 317925"/>
                  <a:gd name="connsiteX30" fmla="*/ 292358 w 292357"/>
                  <a:gd name="connsiteY30" fmla="*/ 304920 h 317925"/>
                  <a:gd name="connsiteX31" fmla="*/ 281030 w 292357"/>
                  <a:gd name="connsiteY31" fmla="*/ 262944 h 317925"/>
                  <a:gd name="connsiteX32" fmla="*/ 196652 w 292357"/>
                  <a:gd name="connsiteY32" fmla="*/ 201744 h 317925"/>
                  <a:gd name="connsiteX33" fmla="*/ 178492 w 292357"/>
                  <a:gd name="connsiteY33" fmla="*/ 243145 h 317925"/>
                  <a:gd name="connsiteX34" fmla="*/ 130885 w 292357"/>
                  <a:gd name="connsiteY34" fmla="*/ 259589 h 317925"/>
                  <a:gd name="connsiteX35" fmla="*/ 99720 w 292357"/>
                  <a:gd name="connsiteY35" fmla="*/ 251570 h 317925"/>
                  <a:gd name="connsiteX36" fmla="*/ 86713 w 292357"/>
                  <a:gd name="connsiteY36" fmla="*/ 223834 h 317925"/>
                  <a:gd name="connsiteX37" fmla="*/ 100864 w 292357"/>
                  <a:gd name="connsiteY37" fmla="*/ 194954 h 317925"/>
                  <a:gd name="connsiteX38" fmla="*/ 144505 w 292357"/>
                  <a:gd name="connsiteY38" fmla="*/ 179651 h 317925"/>
                  <a:gd name="connsiteX39" fmla="*/ 172810 w 292357"/>
                  <a:gd name="connsiteY39" fmla="*/ 172861 h 317925"/>
                  <a:gd name="connsiteX40" fmla="*/ 196653 w 292357"/>
                  <a:gd name="connsiteY40" fmla="*/ 162614 h 317925"/>
                  <a:gd name="connsiteX41" fmla="*/ 196653 w 292357"/>
                  <a:gd name="connsiteY41" fmla="*/ 201746 h 31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2357" h="317925">
                    <a:moveTo>
                      <a:pt x="281031" y="262944"/>
                    </a:moveTo>
                    <a:lnTo>
                      <a:pt x="281031" y="108247"/>
                    </a:lnTo>
                    <a:cubicBezTo>
                      <a:pt x="281031" y="87830"/>
                      <a:pt x="277265" y="70077"/>
                      <a:pt x="269701" y="54982"/>
                    </a:cubicBezTo>
                    <a:cubicBezTo>
                      <a:pt x="262502" y="39478"/>
                      <a:pt x="251009" y="27204"/>
                      <a:pt x="235183" y="18121"/>
                    </a:cubicBezTo>
                    <a:cubicBezTo>
                      <a:pt x="224586" y="11700"/>
                      <a:pt x="212277" y="7158"/>
                      <a:pt x="198289" y="4541"/>
                    </a:cubicBezTo>
                    <a:cubicBezTo>
                      <a:pt x="184384" y="1511"/>
                      <a:pt x="167735" y="0"/>
                      <a:pt x="148470" y="0"/>
                    </a:cubicBezTo>
                    <a:cubicBezTo>
                      <a:pt x="126222" y="0"/>
                      <a:pt x="106714" y="2823"/>
                      <a:pt x="90066" y="8508"/>
                    </a:cubicBezTo>
                    <a:cubicBezTo>
                      <a:pt x="73502" y="13787"/>
                      <a:pt x="59718" y="21150"/>
                      <a:pt x="48759" y="30597"/>
                    </a:cubicBezTo>
                    <a:cubicBezTo>
                      <a:pt x="37798" y="39679"/>
                      <a:pt x="29492" y="50236"/>
                      <a:pt x="23808" y="62345"/>
                    </a:cubicBezTo>
                    <a:cubicBezTo>
                      <a:pt x="18163" y="74409"/>
                      <a:pt x="15136" y="86891"/>
                      <a:pt x="14729" y="99735"/>
                    </a:cubicBezTo>
                    <a:lnTo>
                      <a:pt x="96940" y="99735"/>
                    </a:lnTo>
                    <a:cubicBezTo>
                      <a:pt x="98083" y="87627"/>
                      <a:pt x="102786" y="78012"/>
                      <a:pt x="111092" y="70855"/>
                    </a:cubicBezTo>
                    <a:cubicBezTo>
                      <a:pt x="119761" y="63652"/>
                      <a:pt x="132603" y="60093"/>
                      <a:pt x="149620" y="60093"/>
                    </a:cubicBezTo>
                    <a:cubicBezTo>
                      <a:pt x="165077" y="60093"/>
                      <a:pt x="176407" y="63489"/>
                      <a:pt x="183648" y="70281"/>
                    </a:cubicBezTo>
                    <a:cubicBezTo>
                      <a:pt x="190764" y="76702"/>
                      <a:pt x="194361" y="85380"/>
                      <a:pt x="194361" y="96300"/>
                    </a:cubicBezTo>
                    <a:cubicBezTo>
                      <a:pt x="194361" y="107672"/>
                      <a:pt x="188309" y="115975"/>
                      <a:pt x="176243" y="121296"/>
                    </a:cubicBezTo>
                    <a:cubicBezTo>
                      <a:pt x="164507" y="126573"/>
                      <a:pt x="145283" y="131074"/>
                      <a:pt x="118449" y="134876"/>
                    </a:cubicBezTo>
                    <a:cubicBezTo>
                      <a:pt x="101847" y="136758"/>
                      <a:pt x="86304" y="139581"/>
                      <a:pt x="71989" y="143342"/>
                    </a:cubicBezTo>
                    <a:cubicBezTo>
                      <a:pt x="57632" y="146739"/>
                      <a:pt x="45155" y="151855"/>
                      <a:pt x="34605" y="158645"/>
                    </a:cubicBezTo>
                    <a:cubicBezTo>
                      <a:pt x="24013" y="165499"/>
                      <a:pt x="15502" y="174334"/>
                      <a:pt x="9081" y="185297"/>
                    </a:cubicBezTo>
                    <a:cubicBezTo>
                      <a:pt x="3072" y="196261"/>
                      <a:pt x="0" y="210089"/>
                      <a:pt x="0" y="226698"/>
                    </a:cubicBezTo>
                    <a:cubicBezTo>
                      <a:pt x="0" y="241428"/>
                      <a:pt x="2453" y="254597"/>
                      <a:pt x="7364" y="266382"/>
                    </a:cubicBezTo>
                    <a:cubicBezTo>
                      <a:pt x="12682" y="277673"/>
                      <a:pt x="19877" y="287165"/>
                      <a:pt x="28878" y="294689"/>
                    </a:cubicBezTo>
                    <a:cubicBezTo>
                      <a:pt x="38365" y="302217"/>
                      <a:pt x="49329" y="307943"/>
                      <a:pt x="61760" y="311709"/>
                    </a:cubicBezTo>
                    <a:cubicBezTo>
                      <a:pt x="74642" y="315797"/>
                      <a:pt x="88425" y="317925"/>
                      <a:pt x="103151" y="317925"/>
                    </a:cubicBezTo>
                    <a:cubicBezTo>
                      <a:pt x="126548" y="317925"/>
                      <a:pt x="145075" y="313917"/>
                      <a:pt x="158654" y="306063"/>
                    </a:cubicBezTo>
                    <a:cubicBezTo>
                      <a:pt x="172644" y="298045"/>
                      <a:pt x="184545" y="287165"/>
                      <a:pt x="195506" y="273174"/>
                    </a:cubicBezTo>
                    <a:cubicBezTo>
                      <a:pt x="196243" y="281845"/>
                      <a:pt x="197550" y="289373"/>
                      <a:pt x="199431" y="295837"/>
                    </a:cubicBezTo>
                    <a:cubicBezTo>
                      <a:pt x="201396" y="301891"/>
                      <a:pt x="203439" y="306553"/>
                      <a:pt x="205691" y="309993"/>
                    </a:cubicBezTo>
                    <a:lnTo>
                      <a:pt x="292358" y="309993"/>
                    </a:lnTo>
                    <a:lnTo>
                      <a:pt x="292358" y="304920"/>
                    </a:lnTo>
                    <a:cubicBezTo>
                      <a:pt x="284831" y="300011"/>
                      <a:pt x="281030" y="286020"/>
                      <a:pt x="281030" y="262944"/>
                    </a:cubicBezTo>
                    <a:close/>
                    <a:moveTo>
                      <a:pt x="196652" y="201744"/>
                    </a:moveTo>
                    <a:cubicBezTo>
                      <a:pt x="196652" y="218354"/>
                      <a:pt x="190599" y="232182"/>
                      <a:pt x="178492" y="243145"/>
                    </a:cubicBezTo>
                    <a:cubicBezTo>
                      <a:pt x="166794" y="254109"/>
                      <a:pt x="150925" y="259589"/>
                      <a:pt x="130885" y="259589"/>
                    </a:cubicBezTo>
                    <a:cubicBezTo>
                      <a:pt x="118818" y="259589"/>
                      <a:pt x="108433" y="256890"/>
                      <a:pt x="99720" y="251570"/>
                    </a:cubicBezTo>
                    <a:cubicBezTo>
                      <a:pt x="91047" y="246334"/>
                      <a:pt x="86713" y="237088"/>
                      <a:pt x="86713" y="223834"/>
                    </a:cubicBezTo>
                    <a:cubicBezTo>
                      <a:pt x="86713" y="210664"/>
                      <a:pt x="91457" y="201007"/>
                      <a:pt x="100864" y="194954"/>
                    </a:cubicBezTo>
                    <a:cubicBezTo>
                      <a:pt x="110354" y="188897"/>
                      <a:pt x="124834" y="183827"/>
                      <a:pt x="144505" y="179651"/>
                    </a:cubicBezTo>
                    <a:cubicBezTo>
                      <a:pt x="154364" y="177363"/>
                      <a:pt x="163771" y="175152"/>
                      <a:pt x="172810" y="172861"/>
                    </a:cubicBezTo>
                    <a:cubicBezTo>
                      <a:pt x="182258" y="170242"/>
                      <a:pt x="190190" y="166807"/>
                      <a:pt x="196653" y="162614"/>
                    </a:cubicBezTo>
                    <a:lnTo>
                      <a:pt x="196653" y="201746"/>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22" name="Freihandform 21">
                <a:extLst>
                  <a:ext uri="{FF2B5EF4-FFF2-40B4-BE49-F238E27FC236}">
                    <a16:creationId xmlns:a16="http://schemas.microsoft.com/office/drawing/2014/main" id="{37D324CB-1023-2788-B054-DB594E6933CD}"/>
                  </a:ext>
                </a:extLst>
              </p:cNvPr>
              <p:cNvSpPr/>
              <p:nvPr/>
            </p:nvSpPr>
            <p:spPr>
              <a:xfrm>
                <a:off x="7548207" y="1883192"/>
                <a:ext cx="271902" cy="308228"/>
              </a:xfrm>
              <a:custGeom>
                <a:avLst/>
                <a:gdLst>
                  <a:gd name="connsiteX0" fmla="*/ 77764 w 271902"/>
                  <a:gd name="connsiteY0" fmla="*/ 49132 h 308228"/>
                  <a:gd name="connsiteX1" fmla="*/ 79532 w 271902"/>
                  <a:gd name="connsiteY1" fmla="*/ 49132 h 308228"/>
                  <a:gd name="connsiteX2" fmla="*/ 168400 w 271902"/>
                  <a:gd name="connsiteY2" fmla="*/ 0 h 308228"/>
                  <a:gd name="connsiteX3" fmla="*/ 271903 w 271902"/>
                  <a:gd name="connsiteY3" fmla="*/ 112293 h 308228"/>
                  <a:gd name="connsiteX4" fmla="*/ 271903 w 271902"/>
                  <a:gd name="connsiteY4" fmla="*/ 308229 h 308228"/>
                  <a:gd name="connsiteX5" fmla="*/ 192385 w 271902"/>
                  <a:gd name="connsiteY5" fmla="*/ 308229 h 308228"/>
                  <a:gd name="connsiteX6" fmla="*/ 192385 w 271902"/>
                  <a:gd name="connsiteY6" fmla="*/ 123991 h 308228"/>
                  <a:gd name="connsiteX7" fmla="*/ 140349 w 271902"/>
                  <a:gd name="connsiteY7" fmla="*/ 69014 h 308228"/>
                  <a:gd name="connsiteX8" fmla="*/ 79532 w 271902"/>
                  <a:gd name="connsiteY8" fmla="*/ 138035 h 308228"/>
                  <a:gd name="connsiteX9" fmla="*/ 79532 w 271902"/>
                  <a:gd name="connsiteY9" fmla="*/ 308229 h 308228"/>
                  <a:gd name="connsiteX10" fmla="*/ 0 w 271902"/>
                  <a:gd name="connsiteY10" fmla="*/ 308229 h 308228"/>
                  <a:gd name="connsiteX11" fmla="*/ 0 w 271902"/>
                  <a:gd name="connsiteY11" fmla="*/ 8192 h 308228"/>
                  <a:gd name="connsiteX12" fmla="*/ 77764 w 271902"/>
                  <a:gd name="connsiteY12" fmla="*/ 8192 h 308228"/>
                  <a:gd name="connsiteX13" fmla="*/ 77764 w 271902"/>
                  <a:gd name="connsiteY13" fmla="*/ 49132 h 308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1902" h="308228">
                    <a:moveTo>
                      <a:pt x="77764" y="49132"/>
                    </a:moveTo>
                    <a:lnTo>
                      <a:pt x="79532" y="49132"/>
                    </a:lnTo>
                    <a:cubicBezTo>
                      <a:pt x="99995" y="16959"/>
                      <a:pt x="127469" y="0"/>
                      <a:pt x="168400" y="0"/>
                    </a:cubicBezTo>
                    <a:cubicBezTo>
                      <a:pt x="230394" y="0"/>
                      <a:pt x="271903" y="46793"/>
                      <a:pt x="271903" y="112293"/>
                    </a:cubicBezTo>
                    <a:lnTo>
                      <a:pt x="271903" y="308229"/>
                    </a:lnTo>
                    <a:lnTo>
                      <a:pt x="192385" y="308229"/>
                    </a:lnTo>
                    <a:lnTo>
                      <a:pt x="192385" y="123991"/>
                    </a:lnTo>
                    <a:cubicBezTo>
                      <a:pt x="192385" y="91819"/>
                      <a:pt x="173676" y="69014"/>
                      <a:pt x="140349" y="69014"/>
                    </a:cubicBezTo>
                    <a:cubicBezTo>
                      <a:pt x="105254" y="69014"/>
                      <a:pt x="79532" y="97086"/>
                      <a:pt x="79532" y="138035"/>
                    </a:cubicBezTo>
                    <a:lnTo>
                      <a:pt x="79532" y="308229"/>
                    </a:lnTo>
                    <a:lnTo>
                      <a:pt x="0" y="308229"/>
                    </a:lnTo>
                    <a:lnTo>
                      <a:pt x="0" y="8192"/>
                    </a:lnTo>
                    <a:lnTo>
                      <a:pt x="77764" y="8192"/>
                    </a:lnTo>
                    <a:lnTo>
                      <a:pt x="77764" y="49132"/>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23" name="Freihandform 22">
                <a:extLst>
                  <a:ext uri="{FF2B5EF4-FFF2-40B4-BE49-F238E27FC236}">
                    <a16:creationId xmlns:a16="http://schemas.microsoft.com/office/drawing/2014/main" id="{76D57A97-11CD-08C7-95EB-4BFF21DF0B64}"/>
                  </a:ext>
                </a:extLst>
              </p:cNvPr>
              <p:cNvSpPr/>
              <p:nvPr/>
            </p:nvSpPr>
            <p:spPr>
              <a:xfrm>
                <a:off x="6718399" y="1883192"/>
                <a:ext cx="297030" cy="406492"/>
              </a:xfrm>
              <a:custGeom>
                <a:avLst/>
                <a:gdLst>
                  <a:gd name="connsiteX0" fmla="*/ 0 w 297030"/>
                  <a:gd name="connsiteY0" fmla="*/ 8192 h 406492"/>
                  <a:gd name="connsiteX1" fmla="*/ 76604 w 297030"/>
                  <a:gd name="connsiteY1" fmla="*/ 8192 h 406492"/>
                  <a:gd name="connsiteX2" fmla="*/ 76604 w 297030"/>
                  <a:gd name="connsiteY2" fmla="*/ 45616 h 406492"/>
                  <a:gd name="connsiteX3" fmla="*/ 78356 w 297030"/>
                  <a:gd name="connsiteY3" fmla="*/ 45616 h 406492"/>
                  <a:gd name="connsiteX4" fmla="*/ 166632 w 297030"/>
                  <a:gd name="connsiteY4" fmla="*/ 0 h 406492"/>
                  <a:gd name="connsiteX5" fmla="*/ 297031 w 297030"/>
                  <a:gd name="connsiteY5" fmla="*/ 158502 h 406492"/>
                  <a:gd name="connsiteX6" fmla="*/ 167215 w 297030"/>
                  <a:gd name="connsiteY6" fmla="*/ 316996 h 406492"/>
                  <a:gd name="connsiteX7" fmla="*/ 80678 w 297030"/>
                  <a:gd name="connsiteY7" fmla="*/ 274293 h 406492"/>
                  <a:gd name="connsiteX8" fmla="*/ 79509 w 297030"/>
                  <a:gd name="connsiteY8" fmla="*/ 274293 h 406492"/>
                  <a:gd name="connsiteX9" fmla="*/ 79509 w 297030"/>
                  <a:gd name="connsiteY9" fmla="*/ 406492 h 406492"/>
                  <a:gd name="connsiteX10" fmla="*/ 0 w 297030"/>
                  <a:gd name="connsiteY10" fmla="*/ 406492 h 406492"/>
                  <a:gd name="connsiteX11" fmla="*/ 0 w 297030"/>
                  <a:gd name="connsiteY11" fmla="*/ 8192 h 406492"/>
                  <a:gd name="connsiteX12" fmla="*/ 216336 w 297030"/>
                  <a:gd name="connsiteY12" fmla="*/ 160848 h 406492"/>
                  <a:gd name="connsiteX13" fmla="*/ 147331 w 297030"/>
                  <a:gd name="connsiteY13" fmla="*/ 64337 h 406492"/>
                  <a:gd name="connsiteX14" fmla="*/ 77755 w 297030"/>
                  <a:gd name="connsiteY14" fmla="*/ 160848 h 406492"/>
                  <a:gd name="connsiteX15" fmla="*/ 150268 w 297030"/>
                  <a:gd name="connsiteY15" fmla="*/ 250913 h 406492"/>
                  <a:gd name="connsiteX16" fmla="*/ 216336 w 297030"/>
                  <a:gd name="connsiteY16" fmla="*/ 160848 h 40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7030" h="406492">
                    <a:moveTo>
                      <a:pt x="0" y="8192"/>
                    </a:moveTo>
                    <a:lnTo>
                      <a:pt x="76604" y="8192"/>
                    </a:lnTo>
                    <a:lnTo>
                      <a:pt x="76604" y="45616"/>
                    </a:lnTo>
                    <a:lnTo>
                      <a:pt x="78356" y="45616"/>
                    </a:lnTo>
                    <a:cubicBezTo>
                      <a:pt x="97641" y="19297"/>
                      <a:pt x="125708" y="0"/>
                      <a:pt x="166632" y="0"/>
                    </a:cubicBezTo>
                    <a:cubicBezTo>
                      <a:pt x="246172" y="0"/>
                      <a:pt x="297031" y="64923"/>
                      <a:pt x="297031" y="158502"/>
                    </a:cubicBezTo>
                    <a:cubicBezTo>
                      <a:pt x="297031" y="255588"/>
                      <a:pt x="244420" y="316996"/>
                      <a:pt x="167215" y="316996"/>
                    </a:cubicBezTo>
                    <a:cubicBezTo>
                      <a:pt x="125107" y="316996"/>
                      <a:pt x="97641" y="300046"/>
                      <a:pt x="80678" y="274293"/>
                    </a:cubicBezTo>
                    <a:lnTo>
                      <a:pt x="79509" y="274293"/>
                    </a:lnTo>
                    <a:lnTo>
                      <a:pt x="79509" y="406492"/>
                    </a:lnTo>
                    <a:lnTo>
                      <a:pt x="0" y="406492"/>
                    </a:lnTo>
                    <a:lnTo>
                      <a:pt x="0" y="8192"/>
                    </a:lnTo>
                    <a:close/>
                    <a:moveTo>
                      <a:pt x="216336" y="160848"/>
                    </a:moveTo>
                    <a:cubicBezTo>
                      <a:pt x="216336" y="104101"/>
                      <a:pt x="196451" y="64337"/>
                      <a:pt x="147331" y="64337"/>
                    </a:cubicBezTo>
                    <a:cubicBezTo>
                      <a:pt x="97641" y="64337"/>
                      <a:pt x="77755" y="107032"/>
                      <a:pt x="77755" y="160848"/>
                    </a:cubicBezTo>
                    <a:cubicBezTo>
                      <a:pt x="77755" y="215225"/>
                      <a:pt x="102917" y="250913"/>
                      <a:pt x="150268" y="250913"/>
                    </a:cubicBezTo>
                    <a:cubicBezTo>
                      <a:pt x="190623" y="250913"/>
                      <a:pt x="216336" y="217562"/>
                      <a:pt x="216336" y="160848"/>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24" name="Freihandform 23">
                <a:extLst>
                  <a:ext uri="{FF2B5EF4-FFF2-40B4-BE49-F238E27FC236}">
                    <a16:creationId xmlns:a16="http://schemas.microsoft.com/office/drawing/2014/main" id="{3EE1C362-55D2-2406-4C84-8392117B6B0C}"/>
                  </a:ext>
                </a:extLst>
              </p:cNvPr>
              <p:cNvSpPr/>
              <p:nvPr/>
            </p:nvSpPr>
            <p:spPr>
              <a:xfrm>
                <a:off x="7067506" y="1773238"/>
                <a:ext cx="79525" cy="418183"/>
              </a:xfrm>
              <a:custGeom>
                <a:avLst/>
                <a:gdLst>
                  <a:gd name="connsiteX0" fmla="*/ 0 w 79525"/>
                  <a:gd name="connsiteY0" fmla="*/ 0 h 418183"/>
                  <a:gd name="connsiteX1" fmla="*/ 79526 w 79525"/>
                  <a:gd name="connsiteY1" fmla="*/ 0 h 418183"/>
                  <a:gd name="connsiteX2" fmla="*/ 79526 w 79525"/>
                  <a:gd name="connsiteY2" fmla="*/ 418184 h 418183"/>
                  <a:gd name="connsiteX3" fmla="*/ 0 w 79525"/>
                  <a:gd name="connsiteY3" fmla="*/ 418184 h 418183"/>
                  <a:gd name="connsiteX4" fmla="*/ 0 w 79525"/>
                  <a:gd name="connsiteY4" fmla="*/ 0 h 41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25" h="418183">
                    <a:moveTo>
                      <a:pt x="0" y="0"/>
                    </a:moveTo>
                    <a:lnTo>
                      <a:pt x="79526" y="0"/>
                    </a:lnTo>
                    <a:lnTo>
                      <a:pt x="79526" y="418184"/>
                    </a:lnTo>
                    <a:lnTo>
                      <a:pt x="0" y="418184"/>
                    </a:lnTo>
                    <a:lnTo>
                      <a:pt x="0" y="0"/>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25" name="Freihandform 24">
                <a:extLst>
                  <a:ext uri="{FF2B5EF4-FFF2-40B4-BE49-F238E27FC236}">
                    <a16:creationId xmlns:a16="http://schemas.microsoft.com/office/drawing/2014/main" id="{FD44418B-3BD4-9DC0-8C13-36CD40EF6822}"/>
                  </a:ext>
                </a:extLst>
              </p:cNvPr>
              <p:cNvSpPr/>
              <p:nvPr/>
            </p:nvSpPr>
            <p:spPr>
              <a:xfrm>
                <a:off x="8186054" y="1797825"/>
                <a:ext cx="172500" cy="394208"/>
              </a:xfrm>
              <a:custGeom>
                <a:avLst/>
                <a:gdLst>
                  <a:gd name="connsiteX0" fmla="*/ 0 w 172500"/>
                  <a:gd name="connsiteY0" fmla="*/ 93588 h 394208"/>
                  <a:gd name="connsiteX1" fmla="*/ 41516 w 172500"/>
                  <a:gd name="connsiteY1" fmla="*/ 93588 h 394208"/>
                  <a:gd name="connsiteX2" fmla="*/ 41516 w 172500"/>
                  <a:gd name="connsiteY2" fmla="*/ 0 h 394208"/>
                  <a:gd name="connsiteX3" fmla="*/ 119289 w 172500"/>
                  <a:gd name="connsiteY3" fmla="*/ 0 h 394208"/>
                  <a:gd name="connsiteX4" fmla="*/ 119289 w 172500"/>
                  <a:gd name="connsiteY4" fmla="*/ 93588 h 394208"/>
                  <a:gd name="connsiteX5" fmla="*/ 170747 w 172500"/>
                  <a:gd name="connsiteY5" fmla="*/ 93588 h 394208"/>
                  <a:gd name="connsiteX6" fmla="*/ 170747 w 172500"/>
                  <a:gd name="connsiteY6" fmla="*/ 146219 h 394208"/>
                  <a:gd name="connsiteX7" fmla="*/ 119289 w 172500"/>
                  <a:gd name="connsiteY7" fmla="*/ 146219 h 394208"/>
                  <a:gd name="connsiteX8" fmla="*/ 119289 w 172500"/>
                  <a:gd name="connsiteY8" fmla="*/ 305298 h 394208"/>
                  <a:gd name="connsiteX9" fmla="*/ 149101 w 172500"/>
                  <a:gd name="connsiteY9" fmla="*/ 335140 h 394208"/>
                  <a:gd name="connsiteX10" fmla="*/ 172501 w 172500"/>
                  <a:gd name="connsiteY10" fmla="*/ 334555 h 394208"/>
                  <a:gd name="connsiteX11" fmla="*/ 172501 w 172500"/>
                  <a:gd name="connsiteY11" fmla="*/ 393040 h 394208"/>
                  <a:gd name="connsiteX12" fmla="*/ 122794 w 172500"/>
                  <a:gd name="connsiteY12" fmla="*/ 394209 h 394208"/>
                  <a:gd name="connsiteX13" fmla="*/ 41516 w 172500"/>
                  <a:gd name="connsiteY13" fmla="*/ 322280 h 394208"/>
                  <a:gd name="connsiteX14" fmla="*/ 41516 w 172500"/>
                  <a:gd name="connsiteY14" fmla="*/ 146219 h 394208"/>
                  <a:gd name="connsiteX15" fmla="*/ 0 w 172500"/>
                  <a:gd name="connsiteY15" fmla="*/ 146219 h 394208"/>
                  <a:gd name="connsiteX16" fmla="*/ 0 w 172500"/>
                  <a:gd name="connsiteY16" fmla="*/ 93588 h 39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500" h="394208">
                    <a:moveTo>
                      <a:pt x="0" y="93588"/>
                    </a:moveTo>
                    <a:lnTo>
                      <a:pt x="41516" y="93588"/>
                    </a:lnTo>
                    <a:lnTo>
                      <a:pt x="41516" y="0"/>
                    </a:lnTo>
                    <a:lnTo>
                      <a:pt x="119289" y="0"/>
                    </a:lnTo>
                    <a:lnTo>
                      <a:pt x="119289" y="93588"/>
                    </a:lnTo>
                    <a:lnTo>
                      <a:pt x="170747" y="93588"/>
                    </a:lnTo>
                    <a:lnTo>
                      <a:pt x="170747" y="146219"/>
                    </a:lnTo>
                    <a:lnTo>
                      <a:pt x="119289" y="146219"/>
                    </a:lnTo>
                    <a:lnTo>
                      <a:pt x="119289" y="305298"/>
                    </a:lnTo>
                    <a:cubicBezTo>
                      <a:pt x="119289" y="327542"/>
                      <a:pt x="131561" y="335140"/>
                      <a:pt x="149101" y="335140"/>
                    </a:cubicBezTo>
                    <a:cubicBezTo>
                      <a:pt x="159043" y="335140"/>
                      <a:pt x="172501" y="334555"/>
                      <a:pt x="172501" y="334555"/>
                    </a:cubicBezTo>
                    <a:lnTo>
                      <a:pt x="172501" y="393040"/>
                    </a:lnTo>
                    <a:cubicBezTo>
                      <a:pt x="172501" y="393040"/>
                      <a:pt x="154376" y="394209"/>
                      <a:pt x="122794" y="394209"/>
                    </a:cubicBezTo>
                    <a:cubicBezTo>
                      <a:pt x="84202" y="394209"/>
                      <a:pt x="41516" y="379012"/>
                      <a:pt x="41516" y="322280"/>
                    </a:cubicBezTo>
                    <a:lnTo>
                      <a:pt x="41516" y="146219"/>
                    </a:lnTo>
                    <a:lnTo>
                      <a:pt x="0" y="146219"/>
                    </a:lnTo>
                    <a:lnTo>
                      <a:pt x="0" y="93588"/>
                    </a:lnTo>
                    <a:close/>
                  </a:path>
                </a:pathLst>
              </a:custGeom>
              <a:solidFill>
                <a:srgbClr val="50936E"/>
              </a:solidFill>
              <a:ln w="16623" cap="flat">
                <a:noFill/>
                <a:prstDash val="solid"/>
                <a:miter/>
              </a:ln>
            </p:spPr>
            <p:txBody>
              <a:bodyPr rtlCol="0" anchor="ctr"/>
              <a:lstStyle/>
              <a:p>
                <a:endParaRPr lang="de-DE">
                  <a:solidFill>
                    <a:srgbClr val="50936E"/>
                  </a:solidFill>
                </a:endParaRPr>
              </a:p>
            </p:txBody>
          </p:sp>
          <p:sp>
            <p:nvSpPr>
              <p:cNvPr id="26" name="Freihandform 25">
                <a:extLst>
                  <a:ext uri="{FF2B5EF4-FFF2-40B4-BE49-F238E27FC236}">
                    <a16:creationId xmlns:a16="http://schemas.microsoft.com/office/drawing/2014/main" id="{6193E16B-5E94-59A4-006B-5C2F54E47CC1}"/>
                  </a:ext>
                </a:extLst>
              </p:cNvPr>
              <p:cNvSpPr/>
              <p:nvPr/>
            </p:nvSpPr>
            <p:spPr>
              <a:xfrm>
                <a:off x="7868375" y="1883221"/>
                <a:ext cx="295886" cy="316996"/>
              </a:xfrm>
              <a:custGeom>
                <a:avLst/>
                <a:gdLst>
                  <a:gd name="connsiteX0" fmla="*/ 0 w 295886"/>
                  <a:gd name="connsiteY0" fmla="*/ 157925 h 316996"/>
                  <a:gd name="connsiteX1" fmla="*/ 147956 w 295886"/>
                  <a:gd name="connsiteY1" fmla="*/ 0 h 316996"/>
                  <a:gd name="connsiteX2" fmla="*/ 295887 w 295886"/>
                  <a:gd name="connsiteY2" fmla="*/ 180738 h 316996"/>
                  <a:gd name="connsiteX3" fmla="*/ 78357 w 295886"/>
                  <a:gd name="connsiteY3" fmla="*/ 180738 h 316996"/>
                  <a:gd name="connsiteX4" fmla="*/ 154961 w 295886"/>
                  <a:gd name="connsiteY4" fmla="*/ 255588 h 316996"/>
                  <a:gd name="connsiteX5" fmla="*/ 212847 w 295886"/>
                  <a:gd name="connsiteY5" fmla="*/ 218733 h 316996"/>
                  <a:gd name="connsiteX6" fmla="*/ 291203 w 295886"/>
                  <a:gd name="connsiteY6" fmla="*/ 218733 h 316996"/>
                  <a:gd name="connsiteX7" fmla="*/ 155561 w 295886"/>
                  <a:gd name="connsiteY7" fmla="*/ 316996 h 316996"/>
                  <a:gd name="connsiteX8" fmla="*/ 0 w 295886"/>
                  <a:gd name="connsiteY8" fmla="*/ 157925 h 316996"/>
                  <a:gd name="connsiteX9" fmla="*/ 79549 w 295886"/>
                  <a:gd name="connsiteY9" fmla="*/ 125745 h 316996"/>
                  <a:gd name="connsiteX10" fmla="*/ 212847 w 295886"/>
                  <a:gd name="connsiteY10" fmla="*/ 125745 h 316996"/>
                  <a:gd name="connsiteX11" fmla="*/ 149116 w 295886"/>
                  <a:gd name="connsiteY11" fmla="*/ 61414 h 316996"/>
                  <a:gd name="connsiteX12" fmla="*/ 79549 w 295886"/>
                  <a:gd name="connsiteY12" fmla="*/ 125745 h 31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886" h="316996">
                    <a:moveTo>
                      <a:pt x="0" y="157925"/>
                    </a:moveTo>
                    <a:cubicBezTo>
                      <a:pt x="0" y="69014"/>
                      <a:pt x="60232" y="0"/>
                      <a:pt x="147956" y="0"/>
                    </a:cubicBezTo>
                    <a:cubicBezTo>
                      <a:pt x="244428" y="0"/>
                      <a:pt x="295887" y="73690"/>
                      <a:pt x="295887" y="180738"/>
                    </a:cubicBezTo>
                    <a:lnTo>
                      <a:pt x="78357" y="180738"/>
                    </a:lnTo>
                    <a:cubicBezTo>
                      <a:pt x="84217" y="226948"/>
                      <a:pt x="109938" y="255588"/>
                      <a:pt x="154961" y="255588"/>
                    </a:cubicBezTo>
                    <a:cubicBezTo>
                      <a:pt x="185957" y="255588"/>
                      <a:pt x="204080" y="241561"/>
                      <a:pt x="212847" y="218733"/>
                    </a:cubicBezTo>
                    <a:lnTo>
                      <a:pt x="291203" y="218733"/>
                    </a:lnTo>
                    <a:cubicBezTo>
                      <a:pt x="280100" y="271955"/>
                      <a:pt x="232733" y="316996"/>
                      <a:pt x="155561" y="316996"/>
                    </a:cubicBezTo>
                    <a:cubicBezTo>
                      <a:pt x="56149" y="316996"/>
                      <a:pt x="0" y="247407"/>
                      <a:pt x="0" y="157925"/>
                    </a:cubicBezTo>
                    <a:close/>
                    <a:moveTo>
                      <a:pt x="79549" y="125745"/>
                    </a:moveTo>
                    <a:lnTo>
                      <a:pt x="212847" y="125745"/>
                    </a:lnTo>
                    <a:cubicBezTo>
                      <a:pt x="210516" y="87727"/>
                      <a:pt x="185380" y="61414"/>
                      <a:pt x="149116" y="61414"/>
                    </a:cubicBezTo>
                    <a:cubicBezTo>
                      <a:pt x="107025" y="61414"/>
                      <a:pt x="86554" y="86565"/>
                      <a:pt x="79549" y="125745"/>
                    </a:cubicBezTo>
                    <a:close/>
                  </a:path>
                </a:pathLst>
              </a:custGeom>
              <a:solidFill>
                <a:srgbClr val="50936E"/>
              </a:solidFill>
              <a:ln w="16623" cap="flat">
                <a:noFill/>
                <a:prstDash val="solid"/>
                <a:miter/>
              </a:ln>
            </p:spPr>
            <p:txBody>
              <a:bodyPr rtlCol="0" anchor="ctr"/>
              <a:lstStyle/>
              <a:p>
                <a:endParaRPr lang="de-DE">
                  <a:solidFill>
                    <a:srgbClr val="50936E"/>
                  </a:solidFill>
                </a:endParaRPr>
              </a:p>
            </p:txBody>
          </p:sp>
        </p:grpSp>
      </p:grpSp>
      <p:sp>
        <p:nvSpPr>
          <p:cNvPr id="28" name="Freihandform 27">
            <a:extLst>
              <a:ext uri="{FF2B5EF4-FFF2-40B4-BE49-F238E27FC236}">
                <a16:creationId xmlns:a16="http://schemas.microsoft.com/office/drawing/2014/main" id="{C605FE9A-96A7-AE7C-BAED-181B5B6CCA42}"/>
              </a:ext>
            </a:extLst>
          </p:cNvPr>
          <p:cNvSpPr/>
          <p:nvPr/>
        </p:nvSpPr>
        <p:spPr>
          <a:xfrm>
            <a:off x="3854286" y="4551337"/>
            <a:ext cx="4464649" cy="1330273"/>
          </a:xfrm>
          <a:custGeom>
            <a:avLst/>
            <a:gdLst>
              <a:gd name="connsiteX0" fmla="*/ 4351915 w 4464649"/>
              <a:gd name="connsiteY0" fmla="*/ 260479 h 1330273"/>
              <a:gd name="connsiteX1" fmla="*/ 3871992 w 4464649"/>
              <a:gd name="connsiteY1" fmla="*/ 23097 h 1330273"/>
              <a:gd name="connsiteX2" fmla="*/ 3646531 w 4464649"/>
              <a:gd name="connsiteY2" fmla="*/ 23097 h 1330273"/>
              <a:gd name="connsiteX3" fmla="*/ 3590101 w 4464649"/>
              <a:gd name="connsiteY3" fmla="*/ 51006 h 1330273"/>
              <a:gd name="connsiteX4" fmla="*/ 3588154 w 4464649"/>
              <a:gd name="connsiteY4" fmla="*/ 52081 h 1330273"/>
              <a:gd name="connsiteX5" fmla="*/ 3164661 w 4464649"/>
              <a:gd name="connsiteY5" fmla="*/ 261555 h 1330273"/>
              <a:gd name="connsiteX6" fmla="*/ 3108231 w 4464649"/>
              <a:gd name="connsiteY6" fmla="*/ 289464 h 1330273"/>
              <a:gd name="connsiteX7" fmla="*/ 2882770 w 4464649"/>
              <a:gd name="connsiteY7" fmla="*/ 289464 h 1330273"/>
              <a:gd name="connsiteX8" fmla="*/ 2828597 w 4464649"/>
              <a:gd name="connsiteY8" fmla="*/ 262669 h 1330273"/>
              <a:gd name="connsiteX9" fmla="*/ 2824628 w 4464649"/>
              <a:gd name="connsiteY9" fmla="*/ 260481 h 1330273"/>
              <a:gd name="connsiteX10" fmla="*/ 2344704 w 4464649"/>
              <a:gd name="connsiteY10" fmla="*/ 23098 h 1330273"/>
              <a:gd name="connsiteX11" fmla="*/ 2119244 w 4464649"/>
              <a:gd name="connsiteY11" fmla="*/ 23098 h 1330273"/>
              <a:gd name="connsiteX12" fmla="*/ 2062814 w 4464649"/>
              <a:gd name="connsiteY12" fmla="*/ 51007 h 1330273"/>
              <a:gd name="connsiteX13" fmla="*/ 2060867 w 4464649"/>
              <a:gd name="connsiteY13" fmla="*/ 52083 h 1330273"/>
              <a:gd name="connsiteX14" fmla="*/ 1637375 w 4464649"/>
              <a:gd name="connsiteY14" fmla="*/ 261556 h 1330273"/>
              <a:gd name="connsiteX15" fmla="*/ 1634252 w 4464649"/>
              <a:gd name="connsiteY15" fmla="*/ 263329 h 1330273"/>
              <a:gd name="connsiteX16" fmla="*/ 1581412 w 4464649"/>
              <a:gd name="connsiteY16" fmla="*/ 289465 h 1330273"/>
              <a:gd name="connsiteX17" fmla="*/ 1355952 w 4464649"/>
              <a:gd name="connsiteY17" fmla="*/ 289465 h 1330273"/>
              <a:gd name="connsiteX18" fmla="*/ 1303996 w 4464649"/>
              <a:gd name="connsiteY18" fmla="*/ 263764 h 1330273"/>
              <a:gd name="connsiteX19" fmla="*/ 1298032 w 4464649"/>
              <a:gd name="connsiteY19" fmla="*/ 260481 h 1330273"/>
              <a:gd name="connsiteX20" fmla="*/ 818108 w 4464649"/>
              <a:gd name="connsiteY20" fmla="*/ 23098 h 1330273"/>
              <a:gd name="connsiteX21" fmla="*/ 592648 w 4464649"/>
              <a:gd name="connsiteY21" fmla="*/ 23098 h 1330273"/>
              <a:gd name="connsiteX22" fmla="*/ 536218 w 4464649"/>
              <a:gd name="connsiteY22" fmla="*/ 51007 h 1330273"/>
              <a:gd name="connsiteX23" fmla="*/ 534271 w 4464649"/>
              <a:gd name="connsiteY23" fmla="*/ 52083 h 1330273"/>
              <a:gd name="connsiteX24" fmla="*/ 110779 w 4464649"/>
              <a:gd name="connsiteY24" fmla="*/ 261556 h 1330273"/>
              <a:gd name="connsiteX25" fmla="*/ 0 w 4464649"/>
              <a:gd name="connsiteY25" fmla="*/ 441532 h 1330273"/>
              <a:gd name="connsiteX26" fmla="*/ 0 w 4464649"/>
              <a:gd name="connsiteY26" fmla="*/ 888735 h 1330273"/>
              <a:gd name="connsiteX27" fmla="*/ 107364 w 4464649"/>
              <a:gd name="connsiteY27" fmla="*/ 1066841 h 1330273"/>
              <a:gd name="connsiteX28" fmla="*/ 534271 w 4464649"/>
              <a:gd name="connsiteY28" fmla="*/ 1277999 h 1330273"/>
              <a:gd name="connsiteX29" fmla="*/ 539622 w 4464649"/>
              <a:gd name="connsiteY29" fmla="*/ 1280952 h 1330273"/>
              <a:gd name="connsiteX30" fmla="*/ 592646 w 4464649"/>
              <a:gd name="connsiteY30" fmla="*/ 1307177 h 1330273"/>
              <a:gd name="connsiteX31" fmla="*/ 818107 w 4464649"/>
              <a:gd name="connsiteY31" fmla="*/ 1307177 h 1330273"/>
              <a:gd name="connsiteX32" fmla="*/ 1298030 w 4464649"/>
              <a:gd name="connsiteY32" fmla="*/ 1069794 h 1330273"/>
              <a:gd name="connsiteX33" fmla="*/ 1307401 w 4464649"/>
              <a:gd name="connsiteY33" fmla="*/ 1064633 h 1330273"/>
              <a:gd name="connsiteX34" fmla="*/ 1355950 w 4464649"/>
              <a:gd name="connsiteY34" fmla="*/ 1040617 h 1330273"/>
              <a:gd name="connsiteX35" fmla="*/ 1581411 w 4464649"/>
              <a:gd name="connsiteY35" fmla="*/ 1040617 h 1330273"/>
              <a:gd name="connsiteX36" fmla="*/ 1631780 w 4464649"/>
              <a:gd name="connsiteY36" fmla="*/ 1065533 h 1330273"/>
              <a:gd name="connsiteX37" fmla="*/ 1633959 w 4464649"/>
              <a:gd name="connsiteY37" fmla="*/ 1066840 h 1330273"/>
              <a:gd name="connsiteX38" fmla="*/ 2060867 w 4464649"/>
              <a:gd name="connsiteY38" fmla="*/ 1277998 h 1330273"/>
              <a:gd name="connsiteX39" fmla="*/ 2066218 w 4464649"/>
              <a:gd name="connsiteY39" fmla="*/ 1280950 h 1330273"/>
              <a:gd name="connsiteX40" fmla="*/ 2119242 w 4464649"/>
              <a:gd name="connsiteY40" fmla="*/ 1307175 h 1330273"/>
              <a:gd name="connsiteX41" fmla="*/ 2344702 w 4464649"/>
              <a:gd name="connsiteY41" fmla="*/ 1307175 h 1330273"/>
              <a:gd name="connsiteX42" fmla="*/ 2824626 w 4464649"/>
              <a:gd name="connsiteY42" fmla="*/ 1069793 h 1330273"/>
              <a:gd name="connsiteX43" fmla="*/ 2832012 w 4464649"/>
              <a:gd name="connsiteY43" fmla="*/ 1065726 h 1330273"/>
              <a:gd name="connsiteX44" fmla="*/ 2882770 w 4464649"/>
              <a:gd name="connsiteY44" fmla="*/ 1040615 h 1330273"/>
              <a:gd name="connsiteX45" fmla="*/ 3108231 w 4464649"/>
              <a:gd name="connsiteY45" fmla="*/ 1040615 h 1330273"/>
              <a:gd name="connsiteX46" fmla="*/ 3161247 w 4464649"/>
              <a:gd name="connsiteY46" fmla="*/ 1066840 h 1330273"/>
              <a:gd name="connsiteX47" fmla="*/ 3588154 w 4464649"/>
              <a:gd name="connsiteY47" fmla="*/ 1277998 h 1330273"/>
              <a:gd name="connsiteX48" fmla="*/ 3593515 w 4464649"/>
              <a:gd name="connsiteY48" fmla="*/ 1280950 h 1330273"/>
              <a:gd name="connsiteX49" fmla="*/ 3646531 w 4464649"/>
              <a:gd name="connsiteY49" fmla="*/ 1307175 h 1330273"/>
              <a:gd name="connsiteX50" fmla="*/ 3871992 w 4464649"/>
              <a:gd name="connsiteY50" fmla="*/ 1307175 h 1330273"/>
              <a:gd name="connsiteX51" fmla="*/ 4351915 w 4464649"/>
              <a:gd name="connsiteY51" fmla="*/ 1069793 h 1330273"/>
              <a:gd name="connsiteX52" fmla="*/ 4464649 w 4464649"/>
              <a:gd name="connsiteY52" fmla="*/ 888732 h 1330273"/>
              <a:gd name="connsiteX53" fmla="*/ 4464649 w 4464649"/>
              <a:gd name="connsiteY53" fmla="*/ 441528 h 1330273"/>
              <a:gd name="connsiteX54" fmla="*/ 4351915 w 4464649"/>
              <a:gd name="connsiteY54" fmla="*/ 260477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464649" h="1330273">
                <a:moveTo>
                  <a:pt x="4351915" y="260479"/>
                </a:moveTo>
                <a:lnTo>
                  <a:pt x="3871992" y="23097"/>
                </a:lnTo>
                <a:cubicBezTo>
                  <a:pt x="3809733" y="-7699"/>
                  <a:pt x="3708791" y="-7699"/>
                  <a:pt x="3646531" y="23097"/>
                </a:cubicBezTo>
                <a:lnTo>
                  <a:pt x="3590101" y="51006"/>
                </a:lnTo>
                <a:cubicBezTo>
                  <a:pt x="3589450" y="51345"/>
                  <a:pt x="3588816" y="51750"/>
                  <a:pt x="3588154" y="52081"/>
                </a:cubicBezTo>
                <a:lnTo>
                  <a:pt x="3164661" y="261555"/>
                </a:lnTo>
                <a:lnTo>
                  <a:pt x="3108231" y="289464"/>
                </a:lnTo>
                <a:cubicBezTo>
                  <a:pt x="3045973" y="320259"/>
                  <a:pt x="2945030" y="320259"/>
                  <a:pt x="2882770" y="289464"/>
                </a:cubicBezTo>
                <a:lnTo>
                  <a:pt x="2828597" y="262669"/>
                </a:lnTo>
                <a:cubicBezTo>
                  <a:pt x="2827264" y="261962"/>
                  <a:pt x="2825961" y="261149"/>
                  <a:pt x="2824628" y="260481"/>
                </a:cubicBezTo>
                <a:lnTo>
                  <a:pt x="2344704" y="23098"/>
                </a:lnTo>
                <a:cubicBezTo>
                  <a:pt x="2282446" y="-7697"/>
                  <a:pt x="2181504" y="-7697"/>
                  <a:pt x="2119244" y="23098"/>
                </a:cubicBezTo>
                <a:lnTo>
                  <a:pt x="2062814" y="51007"/>
                </a:lnTo>
                <a:cubicBezTo>
                  <a:pt x="2062152" y="51346"/>
                  <a:pt x="2061520" y="51752"/>
                  <a:pt x="2060867" y="52083"/>
                </a:cubicBezTo>
                <a:lnTo>
                  <a:pt x="1637375" y="261556"/>
                </a:lnTo>
                <a:cubicBezTo>
                  <a:pt x="1636315" y="262099"/>
                  <a:pt x="1635302" y="262757"/>
                  <a:pt x="1634252" y="263329"/>
                </a:cubicBezTo>
                <a:lnTo>
                  <a:pt x="1581412" y="289465"/>
                </a:lnTo>
                <a:cubicBezTo>
                  <a:pt x="1519154" y="320261"/>
                  <a:pt x="1418212" y="320261"/>
                  <a:pt x="1355952" y="289465"/>
                </a:cubicBezTo>
                <a:lnTo>
                  <a:pt x="1303996" y="263764"/>
                </a:lnTo>
                <a:cubicBezTo>
                  <a:pt x="1302002" y="262670"/>
                  <a:pt x="1300047" y="261478"/>
                  <a:pt x="1298032" y="260481"/>
                </a:cubicBezTo>
                <a:lnTo>
                  <a:pt x="818108" y="23098"/>
                </a:lnTo>
                <a:cubicBezTo>
                  <a:pt x="755850" y="-7697"/>
                  <a:pt x="654908" y="-7697"/>
                  <a:pt x="592648" y="23098"/>
                </a:cubicBezTo>
                <a:lnTo>
                  <a:pt x="536218" y="51007"/>
                </a:lnTo>
                <a:cubicBezTo>
                  <a:pt x="535566" y="51346"/>
                  <a:pt x="534924" y="51752"/>
                  <a:pt x="534271" y="52083"/>
                </a:cubicBezTo>
                <a:lnTo>
                  <a:pt x="110779" y="261556"/>
                </a:lnTo>
                <a:cubicBezTo>
                  <a:pt x="49426" y="293068"/>
                  <a:pt x="0" y="373068"/>
                  <a:pt x="0" y="441532"/>
                </a:cubicBezTo>
                <a:lnTo>
                  <a:pt x="0" y="888735"/>
                </a:lnTo>
                <a:cubicBezTo>
                  <a:pt x="0" y="955922"/>
                  <a:pt x="47615" y="1034159"/>
                  <a:pt x="107364" y="1066841"/>
                </a:cubicBezTo>
                <a:lnTo>
                  <a:pt x="534271" y="1277999"/>
                </a:lnTo>
                <a:cubicBezTo>
                  <a:pt x="536081" y="1278900"/>
                  <a:pt x="537842" y="1279975"/>
                  <a:pt x="539622" y="1280952"/>
                </a:cubicBezTo>
                <a:lnTo>
                  <a:pt x="592646" y="1307177"/>
                </a:lnTo>
                <a:cubicBezTo>
                  <a:pt x="654905" y="1337972"/>
                  <a:pt x="755849" y="1337972"/>
                  <a:pt x="818107" y="1307177"/>
                </a:cubicBezTo>
                <a:lnTo>
                  <a:pt x="1298030" y="1069794"/>
                </a:lnTo>
                <a:cubicBezTo>
                  <a:pt x="1301192" y="1068225"/>
                  <a:pt x="1304305" y="1066454"/>
                  <a:pt x="1307401" y="1064633"/>
                </a:cubicBezTo>
                <a:lnTo>
                  <a:pt x="1355950" y="1040617"/>
                </a:lnTo>
                <a:cubicBezTo>
                  <a:pt x="1418208" y="1009821"/>
                  <a:pt x="1519152" y="1009821"/>
                  <a:pt x="1581411" y="1040617"/>
                </a:cubicBezTo>
                <a:lnTo>
                  <a:pt x="1631780" y="1065533"/>
                </a:lnTo>
                <a:cubicBezTo>
                  <a:pt x="1632510" y="1065949"/>
                  <a:pt x="1633220" y="1066443"/>
                  <a:pt x="1633959" y="1066840"/>
                </a:cubicBezTo>
                <a:lnTo>
                  <a:pt x="2060867" y="1277998"/>
                </a:lnTo>
                <a:cubicBezTo>
                  <a:pt x="2062677" y="1278899"/>
                  <a:pt x="2064438" y="1279973"/>
                  <a:pt x="2066218" y="1280950"/>
                </a:cubicBezTo>
                <a:lnTo>
                  <a:pt x="2119242" y="1307175"/>
                </a:lnTo>
                <a:cubicBezTo>
                  <a:pt x="2181500" y="1337970"/>
                  <a:pt x="2282444" y="1337970"/>
                  <a:pt x="2344702" y="1307175"/>
                </a:cubicBezTo>
                <a:lnTo>
                  <a:pt x="2824626" y="1069793"/>
                </a:lnTo>
                <a:cubicBezTo>
                  <a:pt x="2827116" y="1068562"/>
                  <a:pt x="2829550" y="1067119"/>
                  <a:pt x="2832012" y="1065726"/>
                </a:cubicBezTo>
                <a:lnTo>
                  <a:pt x="2882770" y="1040615"/>
                </a:lnTo>
                <a:cubicBezTo>
                  <a:pt x="2945029" y="1009820"/>
                  <a:pt x="3045971" y="1009820"/>
                  <a:pt x="3108231" y="1040615"/>
                </a:cubicBezTo>
                <a:lnTo>
                  <a:pt x="3161247" y="1066840"/>
                </a:lnTo>
                <a:lnTo>
                  <a:pt x="3588154" y="1277998"/>
                </a:lnTo>
                <a:cubicBezTo>
                  <a:pt x="3589964" y="1278899"/>
                  <a:pt x="3591725" y="1279973"/>
                  <a:pt x="3593515" y="1280950"/>
                </a:cubicBezTo>
                <a:lnTo>
                  <a:pt x="3646531" y="1307175"/>
                </a:lnTo>
                <a:cubicBezTo>
                  <a:pt x="3708789" y="1337970"/>
                  <a:pt x="3809732" y="1337970"/>
                  <a:pt x="3871992" y="1307175"/>
                </a:cubicBezTo>
                <a:lnTo>
                  <a:pt x="4351915" y="1069793"/>
                </a:lnTo>
                <a:cubicBezTo>
                  <a:pt x="4414174" y="1038997"/>
                  <a:pt x="4464649" y="957934"/>
                  <a:pt x="4464649" y="888732"/>
                </a:cubicBezTo>
                <a:lnTo>
                  <a:pt x="4464649" y="441528"/>
                </a:lnTo>
                <a:cubicBezTo>
                  <a:pt x="4464649" y="372336"/>
                  <a:pt x="4414174" y="291273"/>
                  <a:pt x="4351915" y="260477"/>
                </a:cubicBezTo>
              </a:path>
            </a:pathLst>
          </a:custGeom>
          <a:solidFill>
            <a:srgbClr val="E0E0E0"/>
          </a:solidFill>
          <a:ln w="16623" cap="flat">
            <a:noFill/>
            <a:prstDash val="solid"/>
            <a:miter/>
          </a:ln>
        </p:spPr>
        <p:txBody>
          <a:bodyPr rtlCol="0" anchor="ctr"/>
          <a:lstStyle/>
          <a:p>
            <a:pPr algn="ctr"/>
            <a:r>
              <a:rPr lang="de-DE" sz="1000" b="1" dirty="0"/>
              <a:t>Messe / Katalog / </a:t>
            </a:r>
            <a:r>
              <a:rPr lang="de-DE" sz="1000" b="1" dirty="0" err="1"/>
              <a:t>SoMe</a:t>
            </a:r>
            <a:endParaRPr lang="de-DE" sz="1000" b="1" dirty="0"/>
          </a:p>
          <a:p>
            <a:pPr algn="ctr"/>
            <a:r>
              <a:rPr lang="de-DE" sz="1000" b="1" dirty="0"/>
              <a:t>Produkt*</a:t>
            </a:r>
          </a:p>
        </p:txBody>
      </p:sp>
      <p:sp>
        <p:nvSpPr>
          <p:cNvPr id="29" name="Freihandform 28">
            <a:extLst>
              <a:ext uri="{FF2B5EF4-FFF2-40B4-BE49-F238E27FC236}">
                <a16:creationId xmlns:a16="http://schemas.microsoft.com/office/drawing/2014/main" id="{71239F94-C933-3C08-BB79-D1EC09FEB478}"/>
              </a:ext>
            </a:extLst>
          </p:cNvPr>
          <p:cNvSpPr/>
          <p:nvPr/>
        </p:nvSpPr>
        <p:spPr>
          <a:xfrm>
            <a:off x="3095625" y="3408635"/>
            <a:ext cx="1410766" cy="1330273"/>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6"/>
                  <a:pt x="50466" y="1038999"/>
                  <a:pt x="112724" y="1069794"/>
                </a:cubicBezTo>
                <a:lnTo>
                  <a:pt x="592648" y="1307177"/>
                </a:lnTo>
                <a:cubicBezTo>
                  <a:pt x="654906" y="1337972"/>
                  <a:pt x="755850" y="1337972"/>
                  <a:pt x="818108" y="1307177"/>
                </a:cubicBezTo>
                <a:lnTo>
                  <a:pt x="1298032" y="1069794"/>
                </a:lnTo>
                <a:cubicBezTo>
                  <a:pt x="1360290" y="1038999"/>
                  <a:pt x="1410766" y="957936"/>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rgbClr val="50936E"/>
          </a:solidFill>
          <a:ln w="16623" cap="flat">
            <a:noFill/>
            <a:prstDash val="solid"/>
            <a:miter/>
          </a:ln>
        </p:spPr>
        <p:txBody>
          <a:bodyPr rtlCol="0" anchor="ctr"/>
          <a:lstStyle/>
          <a:p>
            <a:pPr algn="ctr"/>
            <a:r>
              <a:rPr lang="de-DE" sz="1000" b="1" dirty="0">
                <a:solidFill>
                  <a:schemeClr val="bg1"/>
                </a:solidFill>
              </a:rPr>
              <a:t>Innovationstreiber</a:t>
            </a:r>
          </a:p>
          <a:p>
            <a:pPr algn="ctr"/>
            <a:r>
              <a:rPr lang="de-DE" sz="1000" b="1" dirty="0">
                <a:solidFill>
                  <a:schemeClr val="bg1"/>
                </a:solidFill>
              </a:rPr>
              <a:t>Kreislaufwirtschaft</a:t>
            </a:r>
          </a:p>
        </p:txBody>
      </p:sp>
      <p:sp>
        <p:nvSpPr>
          <p:cNvPr id="30" name="Freihandform 29">
            <a:extLst>
              <a:ext uri="{FF2B5EF4-FFF2-40B4-BE49-F238E27FC236}">
                <a16:creationId xmlns:a16="http://schemas.microsoft.com/office/drawing/2014/main" id="{FC2086B3-7140-626E-3350-0A8B0C7FFE11}"/>
              </a:ext>
            </a:extLst>
          </p:cNvPr>
          <p:cNvSpPr/>
          <p:nvPr/>
        </p:nvSpPr>
        <p:spPr>
          <a:xfrm>
            <a:off x="4623143" y="3408635"/>
            <a:ext cx="1410767" cy="1330273"/>
          </a:xfrm>
          <a:custGeom>
            <a:avLst/>
            <a:gdLst>
              <a:gd name="connsiteX0" fmla="*/ 112726 w 1410767"/>
              <a:gd name="connsiteY0" fmla="*/ 260479 h 1330273"/>
              <a:gd name="connsiteX1" fmla="*/ 0 w 1410767"/>
              <a:gd name="connsiteY1" fmla="*/ 441530 h 1330273"/>
              <a:gd name="connsiteX2" fmla="*/ 0 w 1410767"/>
              <a:gd name="connsiteY2" fmla="*/ 888733 h 1330273"/>
              <a:gd name="connsiteX3" fmla="*/ 112726 w 1410767"/>
              <a:gd name="connsiteY3" fmla="*/ 1069794 h 1330273"/>
              <a:gd name="connsiteX4" fmla="*/ 592650 w 1410767"/>
              <a:gd name="connsiteY4" fmla="*/ 1307177 h 1330273"/>
              <a:gd name="connsiteX5" fmla="*/ 818110 w 1410767"/>
              <a:gd name="connsiteY5" fmla="*/ 1307177 h 1330273"/>
              <a:gd name="connsiteX6" fmla="*/ 1298034 w 1410767"/>
              <a:gd name="connsiteY6" fmla="*/ 1069794 h 1330273"/>
              <a:gd name="connsiteX7" fmla="*/ 1410768 w 1410767"/>
              <a:gd name="connsiteY7" fmla="*/ 888733 h 1330273"/>
              <a:gd name="connsiteX8" fmla="*/ 1410768 w 1410767"/>
              <a:gd name="connsiteY8" fmla="*/ 441530 h 1330273"/>
              <a:gd name="connsiteX9" fmla="*/ 1298034 w 1410767"/>
              <a:gd name="connsiteY9" fmla="*/ 260479 h 1330273"/>
              <a:gd name="connsiteX10" fmla="*/ 818110 w 1410767"/>
              <a:gd name="connsiteY10" fmla="*/ 23096 h 1330273"/>
              <a:gd name="connsiteX11" fmla="*/ 592650 w 1410767"/>
              <a:gd name="connsiteY11" fmla="*/ 23096 h 1330273"/>
              <a:gd name="connsiteX12" fmla="*/ 112726 w 1410767"/>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7" h="1330273">
                <a:moveTo>
                  <a:pt x="112726" y="260479"/>
                </a:moveTo>
                <a:cubicBezTo>
                  <a:pt x="50468" y="291274"/>
                  <a:pt x="0" y="372338"/>
                  <a:pt x="0" y="441530"/>
                </a:cubicBezTo>
                <a:lnTo>
                  <a:pt x="0" y="888733"/>
                </a:lnTo>
                <a:cubicBezTo>
                  <a:pt x="0" y="957936"/>
                  <a:pt x="50466" y="1038999"/>
                  <a:pt x="112726" y="1069794"/>
                </a:cubicBezTo>
                <a:lnTo>
                  <a:pt x="592650" y="1307177"/>
                </a:lnTo>
                <a:cubicBezTo>
                  <a:pt x="654908" y="1337972"/>
                  <a:pt x="755852" y="1337972"/>
                  <a:pt x="818110" y="1307177"/>
                </a:cubicBezTo>
                <a:lnTo>
                  <a:pt x="1298034" y="1069794"/>
                </a:lnTo>
                <a:cubicBezTo>
                  <a:pt x="1360292" y="1038999"/>
                  <a:pt x="1410768" y="957936"/>
                  <a:pt x="1410768" y="888733"/>
                </a:cubicBezTo>
                <a:lnTo>
                  <a:pt x="1410768" y="441530"/>
                </a:lnTo>
                <a:cubicBezTo>
                  <a:pt x="1410768" y="372338"/>
                  <a:pt x="1360292" y="291274"/>
                  <a:pt x="1298034" y="260479"/>
                </a:cubicBezTo>
                <a:lnTo>
                  <a:pt x="818110" y="23096"/>
                </a:lnTo>
                <a:cubicBezTo>
                  <a:pt x="755852" y="-7699"/>
                  <a:pt x="654908" y="-7699"/>
                  <a:pt x="592650" y="23096"/>
                </a:cubicBezTo>
                <a:lnTo>
                  <a:pt x="112726" y="260479"/>
                </a:lnTo>
                <a:close/>
              </a:path>
            </a:pathLst>
          </a:custGeom>
          <a:solidFill>
            <a:srgbClr val="50936E"/>
          </a:solidFill>
          <a:ln w="16623" cap="flat">
            <a:noFill/>
            <a:prstDash val="solid"/>
            <a:miter/>
          </a:ln>
        </p:spPr>
        <p:txBody>
          <a:bodyPr rtlCol="0" anchor="ctr"/>
          <a:lstStyle/>
          <a:p>
            <a:pPr algn="ctr"/>
            <a:r>
              <a:rPr lang="de-DE" sz="1000" b="1" dirty="0">
                <a:solidFill>
                  <a:schemeClr val="bg1"/>
                </a:solidFill>
              </a:rPr>
              <a:t>Ökologische</a:t>
            </a:r>
          </a:p>
          <a:p>
            <a:pPr algn="ctr"/>
            <a:r>
              <a:rPr lang="de-DE" sz="1000" b="1" dirty="0">
                <a:solidFill>
                  <a:schemeClr val="bg1"/>
                </a:solidFill>
              </a:rPr>
              <a:t>Transformation</a:t>
            </a:r>
          </a:p>
        </p:txBody>
      </p:sp>
      <p:sp>
        <p:nvSpPr>
          <p:cNvPr id="31" name="Freihandform 30">
            <a:extLst>
              <a:ext uri="{FF2B5EF4-FFF2-40B4-BE49-F238E27FC236}">
                <a16:creationId xmlns:a16="http://schemas.microsoft.com/office/drawing/2014/main" id="{69EACF43-5F6E-75B2-A47D-4ED04E65D5AC}"/>
              </a:ext>
            </a:extLst>
          </p:cNvPr>
          <p:cNvSpPr/>
          <p:nvPr/>
        </p:nvSpPr>
        <p:spPr>
          <a:xfrm>
            <a:off x="3859385" y="2265932"/>
            <a:ext cx="1410766" cy="1330273"/>
          </a:xfrm>
          <a:custGeom>
            <a:avLst/>
            <a:gdLst>
              <a:gd name="connsiteX0" fmla="*/ 112724 w 1410766"/>
              <a:gd name="connsiteY0" fmla="*/ 260479 h 1330273"/>
              <a:gd name="connsiteX1" fmla="*/ 0 w 1410766"/>
              <a:gd name="connsiteY1" fmla="*/ 441530 h 1330273"/>
              <a:gd name="connsiteX2" fmla="*/ 0 w 1410766"/>
              <a:gd name="connsiteY2" fmla="*/ 888733 h 1330273"/>
              <a:gd name="connsiteX3" fmla="*/ 112724 w 1410766"/>
              <a:gd name="connsiteY3" fmla="*/ 1069794 h 1330273"/>
              <a:gd name="connsiteX4" fmla="*/ 592648 w 1410766"/>
              <a:gd name="connsiteY4" fmla="*/ 1307177 h 1330273"/>
              <a:gd name="connsiteX5" fmla="*/ 818108 w 1410766"/>
              <a:gd name="connsiteY5" fmla="*/ 1307177 h 1330273"/>
              <a:gd name="connsiteX6" fmla="*/ 1298032 w 1410766"/>
              <a:gd name="connsiteY6" fmla="*/ 1069794 h 1330273"/>
              <a:gd name="connsiteX7" fmla="*/ 1410766 w 1410766"/>
              <a:gd name="connsiteY7" fmla="*/ 888733 h 1330273"/>
              <a:gd name="connsiteX8" fmla="*/ 1410766 w 1410766"/>
              <a:gd name="connsiteY8" fmla="*/ 441530 h 1330273"/>
              <a:gd name="connsiteX9" fmla="*/ 1298032 w 1410766"/>
              <a:gd name="connsiteY9" fmla="*/ 260479 h 1330273"/>
              <a:gd name="connsiteX10" fmla="*/ 818108 w 1410766"/>
              <a:gd name="connsiteY10" fmla="*/ 23096 h 1330273"/>
              <a:gd name="connsiteX11" fmla="*/ 592648 w 1410766"/>
              <a:gd name="connsiteY11" fmla="*/ 23096 h 1330273"/>
              <a:gd name="connsiteX12" fmla="*/ 112724 w 1410766"/>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6" h="1330273">
                <a:moveTo>
                  <a:pt x="112724" y="260479"/>
                </a:moveTo>
                <a:cubicBezTo>
                  <a:pt x="50466" y="291274"/>
                  <a:pt x="0" y="372338"/>
                  <a:pt x="0" y="441530"/>
                </a:cubicBezTo>
                <a:lnTo>
                  <a:pt x="0" y="888733"/>
                </a:lnTo>
                <a:cubicBezTo>
                  <a:pt x="0" y="957935"/>
                  <a:pt x="50466" y="1038999"/>
                  <a:pt x="112724" y="1069794"/>
                </a:cubicBezTo>
                <a:lnTo>
                  <a:pt x="592648" y="1307177"/>
                </a:lnTo>
                <a:cubicBezTo>
                  <a:pt x="654906" y="1337972"/>
                  <a:pt x="755850" y="1337972"/>
                  <a:pt x="818108" y="1307177"/>
                </a:cubicBezTo>
                <a:lnTo>
                  <a:pt x="1298032" y="1069794"/>
                </a:lnTo>
                <a:cubicBezTo>
                  <a:pt x="1360290" y="1038999"/>
                  <a:pt x="1410766" y="957935"/>
                  <a:pt x="1410766" y="888733"/>
                </a:cubicBezTo>
                <a:lnTo>
                  <a:pt x="1410766" y="441530"/>
                </a:lnTo>
                <a:cubicBezTo>
                  <a:pt x="1410766" y="372338"/>
                  <a:pt x="1360290" y="291274"/>
                  <a:pt x="1298032" y="260479"/>
                </a:cubicBezTo>
                <a:lnTo>
                  <a:pt x="818108" y="23096"/>
                </a:lnTo>
                <a:cubicBezTo>
                  <a:pt x="755850" y="-7699"/>
                  <a:pt x="654906" y="-7699"/>
                  <a:pt x="592648" y="23096"/>
                </a:cubicBezTo>
                <a:lnTo>
                  <a:pt x="112724" y="260479"/>
                </a:lnTo>
                <a:close/>
              </a:path>
            </a:pathLst>
          </a:custGeom>
          <a:solidFill>
            <a:schemeClr val="tx2"/>
          </a:solidFill>
          <a:ln w="16623" cap="flat">
            <a:noFill/>
            <a:prstDash val="solid"/>
            <a:miter/>
          </a:ln>
        </p:spPr>
        <p:txBody>
          <a:bodyPr rtlCol="0" anchor="ctr"/>
          <a:lstStyle/>
          <a:p>
            <a:pPr algn="ctr"/>
            <a:r>
              <a:rPr lang="de-DE" sz="1000" b="1" dirty="0">
                <a:solidFill>
                  <a:schemeClr val="bg1"/>
                </a:solidFill>
              </a:rPr>
              <a:t>Ökonomie</a:t>
            </a:r>
          </a:p>
        </p:txBody>
      </p:sp>
      <p:sp>
        <p:nvSpPr>
          <p:cNvPr id="32" name="Freihandform 31">
            <a:extLst>
              <a:ext uri="{FF2B5EF4-FFF2-40B4-BE49-F238E27FC236}">
                <a16:creationId xmlns:a16="http://schemas.microsoft.com/office/drawing/2014/main" id="{0ECD2E09-EE23-6328-0CC1-F67CCC72774B}"/>
              </a:ext>
            </a:extLst>
          </p:cNvPr>
          <p:cNvSpPr/>
          <p:nvPr/>
        </p:nvSpPr>
        <p:spPr>
          <a:xfrm>
            <a:off x="6150663" y="3408635"/>
            <a:ext cx="1410767" cy="1330273"/>
          </a:xfrm>
          <a:custGeom>
            <a:avLst/>
            <a:gdLst>
              <a:gd name="connsiteX0" fmla="*/ 112726 w 1410767"/>
              <a:gd name="connsiteY0" fmla="*/ 260479 h 1330273"/>
              <a:gd name="connsiteX1" fmla="*/ 0 w 1410767"/>
              <a:gd name="connsiteY1" fmla="*/ 441530 h 1330273"/>
              <a:gd name="connsiteX2" fmla="*/ 0 w 1410767"/>
              <a:gd name="connsiteY2" fmla="*/ 888733 h 1330273"/>
              <a:gd name="connsiteX3" fmla="*/ 112726 w 1410767"/>
              <a:gd name="connsiteY3" fmla="*/ 1069794 h 1330273"/>
              <a:gd name="connsiteX4" fmla="*/ 592650 w 1410767"/>
              <a:gd name="connsiteY4" fmla="*/ 1307177 h 1330273"/>
              <a:gd name="connsiteX5" fmla="*/ 818110 w 1410767"/>
              <a:gd name="connsiteY5" fmla="*/ 1307177 h 1330273"/>
              <a:gd name="connsiteX6" fmla="*/ 1298034 w 1410767"/>
              <a:gd name="connsiteY6" fmla="*/ 1069794 h 1330273"/>
              <a:gd name="connsiteX7" fmla="*/ 1410768 w 1410767"/>
              <a:gd name="connsiteY7" fmla="*/ 888733 h 1330273"/>
              <a:gd name="connsiteX8" fmla="*/ 1410768 w 1410767"/>
              <a:gd name="connsiteY8" fmla="*/ 441530 h 1330273"/>
              <a:gd name="connsiteX9" fmla="*/ 1298034 w 1410767"/>
              <a:gd name="connsiteY9" fmla="*/ 260479 h 1330273"/>
              <a:gd name="connsiteX10" fmla="*/ 818110 w 1410767"/>
              <a:gd name="connsiteY10" fmla="*/ 23096 h 1330273"/>
              <a:gd name="connsiteX11" fmla="*/ 592650 w 1410767"/>
              <a:gd name="connsiteY11" fmla="*/ 23096 h 1330273"/>
              <a:gd name="connsiteX12" fmla="*/ 112726 w 1410767"/>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7" h="1330273">
                <a:moveTo>
                  <a:pt x="112726" y="260479"/>
                </a:moveTo>
                <a:cubicBezTo>
                  <a:pt x="50468" y="291274"/>
                  <a:pt x="0" y="372338"/>
                  <a:pt x="0" y="441530"/>
                </a:cubicBezTo>
                <a:lnTo>
                  <a:pt x="0" y="888733"/>
                </a:lnTo>
                <a:cubicBezTo>
                  <a:pt x="0" y="957936"/>
                  <a:pt x="50466" y="1038999"/>
                  <a:pt x="112726" y="1069794"/>
                </a:cubicBezTo>
                <a:lnTo>
                  <a:pt x="592650" y="1307177"/>
                </a:lnTo>
                <a:cubicBezTo>
                  <a:pt x="654908" y="1337972"/>
                  <a:pt x="755850" y="1337972"/>
                  <a:pt x="818110" y="1307177"/>
                </a:cubicBezTo>
                <a:lnTo>
                  <a:pt x="1298034" y="1069794"/>
                </a:lnTo>
                <a:cubicBezTo>
                  <a:pt x="1360292" y="1038999"/>
                  <a:pt x="1410768" y="957936"/>
                  <a:pt x="1410768" y="888733"/>
                </a:cubicBezTo>
                <a:lnTo>
                  <a:pt x="1410768" y="441530"/>
                </a:lnTo>
                <a:cubicBezTo>
                  <a:pt x="1410768" y="372338"/>
                  <a:pt x="1360292" y="291274"/>
                  <a:pt x="1298034" y="260479"/>
                </a:cubicBezTo>
                <a:lnTo>
                  <a:pt x="818110" y="23096"/>
                </a:lnTo>
                <a:cubicBezTo>
                  <a:pt x="755852" y="-7699"/>
                  <a:pt x="654908" y="-7699"/>
                  <a:pt x="592650" y="23096"/>
                </a:cubicBezTo>
                <a:lnTo>
                  <a:pt x="112726" y="260479"/>
                </a:lnTo>
                <a:close/>
              </a:path>
            </a:pathLst>
          </a:custGeom>
          <a:solidFill>
            <a:srgbClr val="50936E"/>
          </a:solidFill>
          <a:ln w="16623" cap="flat">
            <a:noFill/>
            <a:prstDash val="solid"/>
            <a:miter/>
          </a:ln>
        </p:spPr>
        <p:txBody>
          <a:bodyPr rtlCol="0" anchor="ctr"/>
          <a:lstStyle/>
          <a:p>
            <a:pPr algn="ctr"/>
            <a:r>
              <a:rPr lang="de-DE" sz="1000" b="1" dirty="0">
                <a:solidFill>
                  <a:schemeClr val="bg1"/>
                </a:solidFill>
              </a:rPr>
              <a:t>Ökologische und</a:t>
            </a:r>
          </a:p>
          <a:p>
            <a:pPr algn="ctr"/>
            <a:r>
              <a:rPr lang="de-DE" sz="1000" b="1" dirty="0">
                <a:solidFill>
                  <a:schemeClr val="bg1"/>
                </a:solidFill>
              </a:rPr>
              <a:t>gesundheitliche</a:t>
            </a:r>
          </a:p>
          <a:p>
            <a:pPr algn="ctr"/>
            <a:r>
              <a:rPr lang="de-DE" sz="1000" b="1" dirty="0">
                <a:solidFill>
                  <a:schemeClr val="bg1"/>
                </a:solidFill>
              </a:rPr>
              <a:t>Unbedenklichkeit</a:t>
            </a:r>
          </a:p>
        </p:txBody>
      </p:sp>
      <p:sp>
        <p:nvSpPr>
          <p:cNvPr id="33" name="Freihandform 32">
            <a:extLst>
              <a:ext uri="{FF2B5EF4-FFF2-40B4-BE49-F238E27FC236}">
                <a16:creationId xmlns:a16="http://schemas.microsoft.com/office/drawing/2014/main" id="{C919A030-276B-C5C8-8780-BDBDE67E6AD1}"/>
              </a:ext>
            </a:extLst>
          </p:cNvPr>
          <p:cNvSpPr/>
          <p:nvPr/>
        </p:nvSpPr>
        <p:spPr>
          <a:xfrm>
            <a:off x="5386904" y="2265932"/>
            <a:ext cx="1410768" cy="1330273"/>
          </a:xfrm>
          <a:custGeom>
            <a:avLst/>
            <a:gdLst>
              <a:gd name="connsiteX0" fmla="*/ 112726 w 1410768"/>
              <a:gd name="connsiteY0" fmla="*/ 260479 h 1330273"/>
              <a:gd name="connsiteX1" fmla="*/ 0 w 1410768"/>
              <a:gd name="connsiteY1" fmla="*/ 441530 h 1330273"/>
              <a:gd name="connsiteX2" fmla="*/ 0 w 1410768"/>
              <a:gd name="connsiteY2" fmla="*/ 888733 h 1330273"/>
              <a:gd name="connsiteX3" fmla="*/ 112726 w 1410768"/>
              <a:gd name="connsiteY3" fmla="*/ 1069794 h 1330273"/>
              <a:gd name="connsiteX4" fmla="*/ 592650 w 1410768"/>
              <a:gd name="connsiteY4" fmla="*/ 1307177 h 1330273"/>
              <a:gd name="connsiteX5" fmla="*/ 818110 w 1410768"/>
              <a:gd name="connsiteY5" fmla="*/ 1307177 h 1330273"/>
              <a:gd name="connsiteX6" fmla="*/ 1298034 w 1410768"/>
              <a:gd name="connsiteY6" fmla="*/ 1069794 h 1330273"/>
              <a:gd name="connsiteX7" fmla="*/ 1410768 w 1410768"/>
              <a:gd name="connsiteY7" fmla="*/ 888733 h 1330273"/>
              <a:gd name="connsiteX8" fmla="*/ 1410768 w 1410768"/>
              <a:gd name="connsiteY8" fmla="*/ 441530 h 1330273"/>
              <a:gd name="connsiteX9" fmla="*/ 1298034 w 1410768"/>
              <a:gd name="connsiteY9" fmla="*/ 260479 h 1330273"/>
              <a:gd name="connsiteX10" fmla="*/ 818110 w 1410768"/>
              <a:gd name="connsiteY10" fmla="*/ 23096 h 1330273"/>
              <a:gd name="connsiteX11" fmla="*/ 592650 w 1410768"/>
              <a:gd name="connsiteY11" fmla="*/ 23096 h 1330273"/>
              <a:gd name="connsiteX12" fmla="*/ 112726 w 1410768"/>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8" h="1330273">
                <a:moveTo>
                  <a:pt x="112726" y="260479"/>
                </a:moveTo>
                <a:cubicBezTo>
                  <a:pt x="50468" y="291274"/>
                  <a:pt x="0" y="372338"/>
                  <a:pt x="0" y="441530"/>
                </a:cubicBezTo>
                <a:lnTo>
                  <a:pt x="0" y="888733"/>
                </a:lnTo>
                <a:cubicBezTo>
                  <a:pt x="0" y="957935"/>
                  <a:pt x="50466" y="1038999"/>
                  <a:pt x="112726" y="1069794"/>
                </a:cubicBezTo>
                <a:lnTo>
                  <a:pt x="592650" y="1307177"/>
                </a:lnTo>
                <a:cubicBezTo>
                  <a:pt x="654908" y="1337972"/>
                  <a:pt x="755850" y="1337972"/>
                  <a:pt x="818110" y="1307177"/>
                </a:cubicBezTo>
                <a:lnTo>
                  <a:pt x="1298034" y="1069794"/>
                </a:lnTo>
                <a:cubicBezTo>
                  <a:pt x="1360292" y="1038999"/>
                  <a:pt x="1410768" y="957935"/>
                  <a:pt x="1410768" y="888733"/>
                </a:cubicBezTo>
                <a:lnTo>
                  <a:pt x="1410768" y="441530"/>
                </a:lnTo>
                <a:cubicBezTo>
                  <a:pt x="1410768" y="372338"/>
                  <a:pt x="1360292" y="291274"/>
                  <a:pt x="1298034" y="260479"/>
                </a:cubicBezTo>
                <a:lnTo>
                  <a:pt x="818110" y="23096"/>
                </a:lnTo>
                <a:cubicBezTo>
                  <a:pt x="755852" y="-7699"/>
                  <a:pt x="654908" y="-7699"/>
                  <a:pt x="592650" y="23096"/>
                </a:cubicBezTo>
                <a:lnTo>
                  <a:pt x="112726" y="260479"/>
                </a:lnTo>
                <a:close/>
              </a:path>
            </a:pathLst>
          </a:custGeom>
          <a:solidFill>
            <a:schemeClr val="tx2"/>
          </a:solidFill>
          <a:ln w="16623" cap="flat">
            <a:noFill/>
            <a:prstDash val="solid"/>
            <a:miter/>
          </a:ln>
        </p:spPr>
        <p:txBody>
          <a:bodyPr rtlCol="0" anchor="ctr"/>
          <a:lstStyle/>
          <a:p>
            <a:pPr algn="ctr"/>
            <a:r>
              <a:rPr lang="de-DE" sz="1000" b="1" dirty="0">
                <a:solidFill>
                  <a:schemeClr val="bg1"/>
                </a:solidFill>
              </a:rPr>
              <a:t>Ökologie</a:t>
            </a:r>
          </a:p>
        </p:txBody>
      </p:sp>
      <p:sp>
        <p:nvSpPr>
          <p:cNvPr id="34" name="Freihandform 33">
            <a:extLst>
              <a:ext uri="{FF2B5EF4-FFF2-40B4-BE49-F238E27FC236}">
                <a16:creationId xmlns:a16="http://schemas.microsoft.com/office/drawing/2014/main" id="{D71BD81F-4BF1-47D7-2073-E820891C14ED}"/>
              </a:ext>
            </a:extLst>
          </p:cNvPr>
          <p:cNvSpPr/>
          <p:nvPr/>
        </p:nvSpPr>
        <p:spPr>
          <a:xfrm>
            <a:off x="7678183" y="3408635"/>
            <a:ext cx="1410768" cy="1330273"/>
          </a:xfrm>
          <a:custGeom>
            <a:avLst/>
            <a:gdLst>
              <a:gd name="connsiteX0" fmla="*/ 112726 w 1410768"/>
              <a:gd name="connsiteY0" fmla="*/ 260479 h 1330273"/>
              <a:gd name="connsiteX1" fmla="*/ 0 w 1410768"/>
              <a:gd name="connsiteY1" fmla="*/ 441530 h 1330273"/>
              <a:gd name="connsiteX2" fmla="*/ 0 w 1410768"/>
              <a:gd name="connsiteY2" fmla="*/ 888733 h 1330273"/>
              <a:gd name="connsiteX3" fmla="*/ 112726 w 1410768"/>
              <a:gd name="connsiteY3" fmla="*/ 1069794 h 1330273"/>
              <a:gd name="connsiteX4" fmla="*/ 592650 w 1410768"/>
              <a:gd name="connsiteY4" fmla="*/ 1307177 h 1330273"/>
              <a:gd name="connsiteX5" fmla="*/ 818110 w 1410768"/>
              <a:gd name="connsiteY5" fmla="*/ 1307177 h 1330273"/>
              <a:gd name="connsiteX6" fmla="*/ 1298034 w 1410768"/>
              <a:gd name="connsiteY6" fmla="*/ 1069794 h 1330273"/>
              <a:gd name="connsiteX7" fmla="*/ 1410768 w 1410768"/>
              <a:gd name="connsiteY7" fmla="*/ 888733 h 1330273"/>
              <a:gd name="connsiteX8" fmla="*/ 1410768 w 1410768"/>
              <a:gd name="connsiteY8" fmla="*/ 441530 h 1330273"/>
              <a:gd name="connsiteX9" fmla="*/ 1298034 w 1410768"/>
              <a:gd name="connsiteY9" fmla="*/ 260479 h 1330273"/>
              <a:gd name="connsiteX10" fmla="*/ 818110 w 1410768"/>
              <a:gd name="connsiteY10" fmla="*/ 23096 h 1330273"/>
              <a:gd name="connsiteX11" fmla="*/ 592650 w 1410768"/>
              <a:gd name="connsiteY11" fmla="*/ 23096 h 1330273"/>
              <a:gd name="connsiteX12" fmla="*/ 112726 w 1410768"/>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8" h="1330273">
                <a:moveTo>
                  <a:pt x="112726" y="260479"/>
                </a:moveTo>
                <a:cubicBezTo>
                  <a:pt x="50468" y="291274"/>
                  <a:pt x="0" y="372338"/>
                  <a:pt x="0" y="441530"/>
                </a:cubicBezTo>
                <a:lnTo>
                  <a:pt x="0" y="888733"/>
                </a:lnTo>
                <a:cubicBezTo>
                  <a:pt x="0" y="957936"/>
                  <a:pt x="50466" y="1038999"/>
                  <a:pt x="112726" y="1069794"/>
                </a:cubicBezTo>
                <a:lnTo>
                  <a:pt x="592650" y="1307177"/>
                </a:lnTo>
                <a:cubicBezTo>
                  <a:pt x="654908" y="1337972"/>
                  <a:pt x="755850" y="1337972"/>
                  <a:pt x="818110" y="1307177"/>
                </a:cubicBezTo>
                <a:lnTo>
                  <a:pt x="1298034" y="1069794"/>
                </a:lnTo>
                <a:cubicBezTo>
                  <a:pt x="1360292" y="1038999"/>
                  <a:pt x="1410768" y="957936"/>
                  <a:pt x="1410768" y="888733"/>
                </a:cubicBezTo>
                <a:lnTo>
                  <a:pt x="1410768" y="441530"/>
                </a:lnTo>
                <a:cubicBezTo>
                  <a:pt x="1410768" y="372338"/>
                  <a:pt x="1360292" y="291274"/>
                  <a:pt x="1298034" y="260479"/>
                </a:cubicBezTo>
                <a:lnTo>
                  <a:pt x="818110" y="23096"/>
                </a:lnTo>
                <a:cubicBezTo>
                  <a:pt x="755852" y="-7699"/>
                  <a:pt x="654910" y="-7699"/>
                  <a:pt x="592650" y="23096"/>
                </a:cubicBezTo>
                <a:lnTo>
                  <a:pt x="112726" y="260479"/>
                </a:lnTo>
                <a:close/>
              </a:path>
            </a:pathLst>
          </a:custGeom>
          <a:solidFill>
            <a:srgbClr val="50936E"/>
          </a:solidFill>
          <a:ln w="16623" cap="flat">
            <a:noFill/>
            <a:prstDash val="solid"/>
            <a:miter/>
          </a:ln>
        </p:spPr>
        <p:txBody>
          <a:bodyPr rtlCol="0" anchor="ctr"/>
          <a:lstStyle/>
          <a:p>
            <a:pPr algn="ctr"/>
            <a:r>
              <a:rPr lang="de-DE" sz="1000" b="1" dirty="0">
                <a:solidFill>
                  <a:schemeClr val="bg1"/>
                </a:solidFill>
              </a:rPr>
              <a:t>Gesellschaftliche</a:t>
            </a:r>
          </a:p>
          <a:p>
            <a:pPr algn="ctr"/>
            <a:r>
              <a:rPr lang="de-DE" sz="1000" b="1" dirty="0">
                <a:solidFill>
                  <a:schemeClr val="bg1"/>
                </a:solidFill>
              </a:rPr>
              <a:t>Verantwortung</a:t>
            </a:r>
          </a:p>
        </p:txBody>
      </p:sp>
      <p:sp>
        <p:nvSpPr>
          <p:cNvPr id="35" name="Freihandform 34">
            <a:extLst>
              <a:ext uri="{FF2B5EF4-FFF2-40B4-BE49-F238E27FC236}">
                <a16:creationId xmlns:a16="http://schemas.microsoft.com/office/drawing/2014/main" id="{C8922804-ED85-D51A-0649-3009EB117498}"/>
              </a:ext>
            </a:extLst>
          </p:cNvPr>
          <p:cNvSpPr/>
          <p:nvPr/>
        </p:nvSpPr>
        <p:spPr>
          <a:xfrm>
            <a:off x="6914422" y="2265932"/>
            <a:ext cx="1410768" cy="1330273"/>
          </a:xfrm>
          <a:custGeom>
            <a:avLst/>
            <a:gdLst>
              <a:gd name="connsiteX0" fmla="*/ 112726 w 1410768"/>
              <a:gd name="connsiteY0" fmla="*/ 260479 h 1330273"/>
              <a:gd name="connsiteX1" fmla="*/ 0 w 1410768"/>
              <a:gd name="connsiteY1" fmla="*/ 441530 h 1330273"/>
              <a:gd name="connsiteX2" fmla="*/ 0 w 1410768"/>
              <a:gd name="connsiteY2" fmla="*/ 888733 h 1330273"/>
              <a:gd name="connsiteX3" fmla="*/ 112726 w 1410768"/>
              <a:gd name="connsiteY3" fmla="*/ 1069794 h 1330273"/>
              <a:gd name="connsiteX4" fmla="*/ 592650 w 1410768"/>
              <a:gd name="connsiteY4" fmla="*/ 1307177 h 1330273"/>
              <a:gd name="connsiteX5" fmla="*/ 818110 w 1410768"/>
              <a:gd name="connsiteY5" fmla="*/ 1307177 h 1330273"/>
              <a:gd name="connsiteX6" fmla="*/ 1298034 w 1410768"/>
              <a:gd name="connsiteY6" fmla="*/ 1069794 h 1330273"/>
              <a:gd name="connsiteX7" fmla="*/ 1410768 w 1410768"/>
              <a:gd name="connsiteY7" fmla="*/ 888733 h 1330273"/>
              <a:gd name="connsiteX8" fmla="*/ 1410768 w 1410768"/>
              <a:gd name="connsiteY8" fmla="*/ 441530 h 1330273"/>
              <a:gd name="connsiteX9" fmla="*/ 1298034 w 1410768"/>
              <a:gd name="connsiteY9" fmla="*/ 260479 h 1330273"/>
              <a:gd name="connsiteX10" fmla="*/ 818110 w 1410768"/>
              <a:gd name="connsiteY10" fmla="*/ 23096 h 1330273"/>
              <a:gd name="connsiteX11" fmla="*/ 592650 w 1410768"/>
              <a:gd name="connsiteY11" fmla="*/ 23096 h 1330273"/>
              <a:gd name="connsiteX12" fmla="*/ 112726 w 1410768"/>
              <a:gd name="connsiteY12" fmla="*/ 260479 h 133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0768" h="1330273">
                <a:moveTo>
                  <a:pt x="112726" y="260479"/>
                </a:moveTo>
                <a:cubicBezTo>
                  <a:pt x="50468" y="291274"/>
                  <a:pt x="0" y="372338"/>
                  <a:pt x="0" y="441530"/>
                </a:cubicBezTo>
                <a:lnTo>
                  <a:pt x="0" y="888733"/>
                </a:lnTo>
                <a:cubicBezTo>
                  <a:pt x="0" y="957935"/>
                  <a:pt x="50466" y="1038999"/>
                  <a:pt x="112726" y="1069794"/>
                </a:cubicBezTo>
                <a:lnTo>
                  <a:pt x="592650" y="1307177"/>
                </a:lnTo>
                <a:cubicBezTo>
                  <a:pt x="654908" y="1337972"/>
                  <a:pt x="755850" y="1337972"/>
                  <a:pt x="818110" y="1307177"/>
                </a:cubicBezTo>
                <a:lnTo>
                  <a:pt x="1298034" y="1069794"/>
                </a:lnTo>
                <a:cubicBezTo>
                  <a:pt x="1360292" y="1038999"/>
                  <a:pt x="1410768" y="957935"/>
                  <a:pt x="1410768" y="888733"/>
                </a:cubicBezTo>
                <a:lnTo>
                  <a:pt x="1410768" y="441530"/>
                </a:lnTo>
                <a:cubicBezTo>
                  <a:pt x="1410768" y="372338"/>
                  <a:pt x="1360292" y="291274"/>
                  <a:pt x="1298034" y="260479"/>
                </a:cubicBezTo>
                <a:lnTo>
                  <a:pt x="818110" y="23096"/>
                </a:lnTo>
                <a:cubicBezTo>
                  <a:pt x="755852" y="-7699"/>
                  <a:pt x="654908" y="-7699"/>
                  <a:pt x="592650" y="23096"/>
                </a:cubicBezTo>
                <a:lnTo>
                  <a:pt x="112726" y="260479"/>
                </a:lnTo>
                <a:close/>
              </a:path>
            </a:pathLst>
          </a:custGeom>
          <a:solidFill>
            <a:schemeClr val="tx2"/>
          </a:solidFill>
          <a:ln w="16623" cap="flat">
            <a:noFill/>
            <a:prstDash val="solid"/>
            <a:miter/>
          </a:ln>
        </p:spPr>
        <p:txBody>
          <a:bodyPr rtlCol="0" anchor="ctr"/>
          <a:lstStyle/>
          <a:p>
            <a:pPr algn="ctr"/>
            <a:r>
              <a:rPr lang="de-DE" sz="1000" b="1" dirty="0">
                <a:solidFill>
                  <a:schemeClr val="bg1"/>
                </a:solidFill>
              </a:rPr>
              <a:t>Soziales</a:t>
            </a:r>
          </a:p>
        </p:txBody>
      </p:sp>
    </p:spTree>
    <p:extLst>
      <p:ext uri="{BB962C8B-B14F-4D97-AF65-F5344CB8AC3E}">
        <p14:creationId xmlns:p14="http://schemas.microsoft.com/office/powerpoint/2010/main" val="2716846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585E88C-B950-C645-F870-CC3CFD554108}"/>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08D1F56-83B0-FA65-A42A-2F8FFD71080D}"/>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0083C02-8E1C-AAE8-4236-5E3A39DCEF49}"/>
              </a:ext>
            </a:extLst>
          </p:cNvPr>
          <p:cNvSpPr>
            <a:spLocks noGrp="1"/>
          </p:cNvSpPr>
          <p:nvPr>
            <p:ph type="sldNum" sz="quarter" idx="12"/>
          </p:nvPr>
        </p:nvSpPr>
        <p:spPr/>
        <p:txBody>
          <a:bodyPr/>
          <a:lstStyle/>
          <a:p>
            <a:fld id="{E84006A6-0E15-460A-BCD4-002C20F8AC9F}" type="slidenum">
              <a:rPr lang="de-DE" smtClean="0"/>
              <a:pPr/>
              <a:t>98</a:t>
            </a:fld>
            <a:endParaRPr lang="de-DE"/>
          </a:p>
        </p:txBody>
      </p:sp>
      <p:sp>
        <p:nvSpPr>
          <p:cNvPr id="5" name="Titel 4">
            <a:extLst>
              <a:ext uri="{FF2B5EF4-FFF2-40B4-BE49-F238E27FC236}">
                <a16:creationId xmlns:a16="http://schemas.microsoft.com/office/drawing/2014/main" id="{893FB59D-5611-71BC-5BF3-85980CEAD51D}"/>
              </a:ext>
            </a:extLst>
          </p:cNvPr>
          <p:cNvSpPr>
            <a:spLocks noGrp="1"/>
          </p:cNvSpPr>
          <p:nvPr>
            <p:ph type="title"/>
          </p:nvPr>
        </p:nvSpPr>
        <p:spPr/>
        <p:txBody>
          <a:bodyPr/>
          <a:lstStyle/>
          <a:p>
            <a:r>
              <a:rPr lang="de-DE" dirty="0"/>
              <a:t>3 Säulen Icons</a:t>
            </a:r>
          </a:p>
        </p:txBody>
      </p:sp>
      <p:grpSp>
        <p:nvGrpSpPr>
          <p:cNvPr id="18" name="Gruppieren 17">
            <a:extLst>
              <a:ext uri="{FF2B5EF4-FFF2-40B4-BE49-F238E27FC236}">
                <a16:creationId xmlns:a16="http://schemas.microsoft.com/office/drawing/2014/main" id="{A64D6225-C6CD-C310-4F1B-B1CADDB8A478}"/>
              </a:ext>
            </a:extLst>
          </p:cNvPr>
          <p:cNvGrpSpPr/>
          <p:nvPr/>
        </p:nvGrpSpPr>
        <p:grpSpPr>
          <a:xfrm>
            <a:off x="746782" y="3340044"/>
            <a:ext cx="5050649" cy="1222489"/>
            <a:chOff x="670638" y="3000600"/>
            <a:chExt cx="5050649" cy="1222489"/>
          </a:xfrm>
        </p:grpSpPr>
        <p:pic>
          <p:nvPicPr>
            <p:cNvPr id="7" name="Grafik 6">
              <a:extLst>
                <a:ext uri="{FF2B5EF4-FFF2-40B4-BE49-F238E27FC236}">
                  <a16:creationId xmlns:a16="http://schemas.microsoft.com/office/drawing/2014/main" id="{8DEF2582-0191-1591-0175-34C60A943A3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39731" y="3000600"/>
              <a:ext cx="723112" cy="856798"/>
            </a:xfrm>
            <a:prstGeom prst="rect">
              <a:avLst/>
            </a:prstGeom>
          </p:spPr>
        </p:pic>
        <p:pic>
          <p:nvPicPr>
            <p:cNvPr id="9" name="Grafik 8">
              <a:extLst>
                <a:ext uri="{FF2B5EF4-FFF2-40B4-BE49-F238E27FC236}">
                  <a16:creationId xmlns:a16="http://schemas.microsoft.com/office/drawing/2014/main" id="{6FAFBA42-59EB-10B6-900A-EEC09510B9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67563" y="3000602"/>
              <a:ext cx="856798" cy="856796"/>
            </a:xfrm>
            <a:prstGeom prst="rect">
              <a:avLst/>
            </a:prstGeom>
          </p:spPr>
        </p:pic>
        <p:pic>
          <p:nvPicPr>
            <p:cNvPr id="11" name="Grafik 10">
              <a:extLst>
                <a:ext uri="{FF2B5EF4-FFF2-40B4-BE49-F238E27FC236}">
                  <a16:creationId xmlns:a16="http://schemas.microsoft.com/office/drawing/2014/main" id="{E5CEA8E0-FD00-05F9-73C6-4D085935B4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6427" y="3000602"/>
              <a:ext cx="668422" cy="856796"/>
            </a:xfrm>
            <a:prstGeom prst="rect">
              <a:avLst/>
            </a:prstGeom>
          </p:spPr>
        </p:pic>
        <p:sp>
          <p:nvSpPr>
            <p:cNvPr id="15" name="Textplatzhalter 6">
              <a:extLst>
                <a:ext uri="{FF2B5EF4-FFF2-40B4-BE49-F238E27FC236}">
                  <a16:creationId xmlns:a16="http://schemas.microsoft.com/office/drawing/2014/main" id="{B53DA4E1-E717-2465-264D-CCE3D6FE4700}"/>
                </a:ext>
              </a:extLst>
            </p:cNvPr>
            <p:cNvSpPr txBox="1">
              <a:spLocks/>
            </p:cNvSpPr>
            <p:nvPr/>
          </p:nvSpPr>
          <p:spPr>
            <a:xfrm>
              <a:off x="670638" y="4007645"/>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tx1"/>
                  </a:solidFill>
                </a:rPr>
                <a:t>Ökologie</a:t>
              </a:r>
              <a:endParaRPr lang="de-DE" dirty="0"/>
            </a:p>
          </p:txBody>
        </p:sp>
        <p:sp>
          <p:nvSpPr>
            <p:cNvPr id="16" name="Textplatzhalter 6">
              <a:extLst>
                <a:ext uri="{FF2B5EF4-FFF2-40B4-BE49-F238E27FC236}">
                  <a16:creationId xmlns:a16="http://schemas.microsoft.com/office/drawing/2014/main" id="{3481468F-4023-8D9A-4CAC-98801D28994E}"/>
                </a:ext>
              </a:extLst>
            </p:cNvPr>
            <p:cNvSpPr txBox="1">
              <a:spLocks/>
            </p:cNvSpPr>
            <p:nvPr/>
          </p:nvSpPr>
          <p:spPr>
            <a:xfrm>
              <a:off x="2475962" y="4007645"/>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tx1"/>
                  </a:solidFill>
                </a:rPr>
                <a:t>Ökonomie</a:t>
              </a:r>
              <a:endParaRPr lang="de-DE" dirty="0"/>
            </a:p>
          </p:txBody>
        </p:sp>
        <p:sp>
          <p:nvSpPr>
            <p:cNvPr id="17" name="Textplatzhalter 6">
              <a:extLst>
                <a:ext uri="{FF2B5EF4-FFF2-40B4-BE49-F238E27FC236}">
                  <a16:creationId xmlns:a16="http://schemas.microsoft.com/office/drawing/2014/main" id="{F151C1A5-4A81-1B7F-123B-B589A3983792}"/>
                </a:ext>
              </a:extLst>
            </p:cNvPr>
            <p:cNvSpPr txBox="1">
              <a:spLocks/>
            </p:cNvSpPr>
            <p:nvPr/>
          </p:nvSpPr>
          <p:spPr>
            <a:xfrm>
              <a:off x="4281287" y="4007643"/>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tx1"/>
                  </a:solidFill>
                </a:rPr>
                <a:t>Soziales</a:t>
              </a:r>
              <a:endParaRPr lang="de-DE" dirty="0"/>
            </a:p>
          </p:txBody>
        </p:sp>
      </p:grpSp>
      <p:sp>
        <p:nvSpPr>
          <p:cNvPr id="20" name="Rechteck 19">
            <a:extLst>
              <a:ext uri="{FF2B5EF4-FFF2-40B4-BE49-F238E27FC236}">
                <a16:creationId xmlns:a16="http://schemas.microsoft.com/office/drawing/2014/main" id="{CCAFB391-FEEF-F3E8-66B0-E7F2A9E7CFBC}"/>
              </a:ext>
            </a:extLst>
          </p:cNvPr>
          <p:cNvSpPr/>
          <p:nvPr/>
        </p:nvSpPr>
        <p:spPr>
          <a:xfrm>
            <a:off x="6096553" y="1773238"/>
            <a:ext cx="5580062" cy="4356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spcAft>
                <a:spcPts val="500"/>
              </a:spcAft>
            </a:pPr>
            <a:endParaRPr lang="de-DE" dirty="0">
              <a:solidFill>
                <a:schemeClr val="bg1"/>
              </a:solidFill>
            </a:endParaRPr>
          </a:p>
        </p:txBody>
      </p:sp>
      <p:grpSp>
        <p:nvGrpSpPr>
          <p:cNvPr id="21" name="Gruppieren 20">
            <a:extLst>
              <a:ext uri="{FF2B5EF4-FFF2-40B4-BE49-F238E27FC236}">
                <a16:creationId xmlns:a16="http://schemas.microsoft.com/office/drawing/2014/main" id="{94A0BA9B-8347-45EA-3B97-EE07FC0F5266}"/>
              </a:ext>
            </a:extLst>
          </p:cNvPr>
          <p:cNvGrpSpPr/>
          <p:nvPr/>
        </p:nvGrpSpPr>
        <p:grpSpPr>
          <a:xfrm>
            <a:off x="6361260" y="3340044"/>
            <a:ext cx="5050649" cy="1222489"/>
            <a:chOff x="670638" y="3000600"/>
            <a:chExt cx="5050649" cy="1222489"/>
          </a:xfrm>
        </p:grpSpPr>
        <p:pic>
          <p:nvPicPr>
            <p:cNvPr id="22" name="Grafik 21">
              <a:extLst>
                <a:ext uri="{FF2B5EF4-FFF2-40B4-BE49-F238E27FC236}">
                  <a16:creationId xmlns:a16="http://schemas.microsoft.com/office/drawing/2014/main" id="{DDD27C43-B8CF-4A98-8272-179A0F7DA5F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39731" y="3000600"/>
              <a:ext cx="723112" cy="856798"/>
            </a:xfrm>
            <a:prstGeom prst="rect">
              <a:avLst/>
            </a:prstGeom>
          </p:spPr>
        </p:pic>
        <p:pic>
          <p:nvPicPr>
            <p:cNvPr id="23" name="Grafik 22">
              <a:extLst>
                <a:ext uri="{FF2B5EF4-FFF2-40B4-BE49-F238E27FC236}">
                  <a16:creationId xmlns:a16="http://schemas.microsoft.com/office/drawing/2014/main" id="{76C374B5-0B69-CB14-C4E0-897741060A8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67563" y="3000602"/>
              <a:ext cx="856798" cy="856796"/>
            </a:xfrm>
            <a:prstGeom prst="rect">
              <a:avLst/>
            </a:prstGeom>
          </p:spPr>
        </p:pic>
        <p:pic>
          <p:nvPicPr>
            <p:cNvPr id="24" name="Grafik 23">
              <a:extLst>
                <a:ext uri="{FF2B5EF4-FFF2-40B4-BE49-F238E27FC236}">
                  <a16:creationId xmlns:a16="http://schemas.microsoft.com/office/drawing/2014/main" id="{D600AEB6-994F-56EE-5772-98E6822AE39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56427" y="3000602"/>
              <a:ext cx="668422" cy="856796"/>
            </a:xfrm>
            <a:prstGeom prst="rect">
              <a:avLst/>
            </a:prstGeom>
          </p:spPr>
        </p:pic>
        <p:sp>
          <p:nvSpPr>
            <p:cNvPr id="25" name="Textplatzhalter 6">
              <a:extLst>
                <a:ext uri="{FF2B5EF4-FFF2-40B4-BE49-F238E27FC236}">
                  <a16:creationId xmlns:a16="http://schemas.microsoft.com/office/drawing/2014/main" id="{3AAA59F6-94FC-1BDC-E6F7-7F6800152B37}"/>
                </a:ext>
              </a:extLst>
            </p:cNvPr>
            <p:cNvSpPr txBox="1">
              <a:spLocks/>
            </p:cNvSpPr>
            <p:nvPr/>
          </p:nvSpPr>
          <p:spPr>
            <a:xfrm>
              <a:off x="670638" y="4007645"/>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bg1"/>
                  </a:solidFill>
                </a:rPr>
                <a:t>Ökologie</a:t>
              </a:r>
              <a:endParaRPr lang="de-DE" dirty="0">
                <a:solidFill>
                  <a:schemeClr val="bg1"/>
                </a:solidFill>
              </a:endParaRPr>
            </a:p>
          </p:txBody>
        </p:sp>
        <p:sp>
          <p:nvSpPr>
            <p:cNvPr id="26" name="Textplatzhalter 6">
              <a:extLst>
                <a:ext uri="{FF2B5EF4-FFF2-40B4-BE49-F238E27FC236}">
                  <a16:creationId xmlns:a16="http://schemas.microsoft.com/office/drawing/2014/main" id="{00B1D62F-1FA1-F284-3555-DF1993867DB5}"/>
                </a:ext>
              </a:extLst>
            </p:cNvPr>
            <p:cNvSpPr txBox="1">
              <a:spLocks/>
            </p:cNvSpPr>
            <p:nvPr/>
          </p:nvSpPr>
          <p:spPr>
            <a:xfrm>
              <a:off x="2475962" y="4007645"/>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bg1"/>
                  </a:solidFill>
                </a:rPr>
                <a:t>Ökonomie</a:t>
              </a:r>
              <a:endParaRPr lang="de-DE" dirty="0">
                <a:solidFill>
                  <a:schemeClr val="bg1"/>
                </a:solidFill>
              </a:endParaRPr>
            </a:p>
          </p:txBody>
        </p:sp>
        <p:sp>
          <p:nvSpPr>
            <p:cNvPr id="27" name="Textplatzhalter 6">
              <a:extLst>
                <a:ext uri="{FF2B5EF4-FFF2-40B4-BE49-F238E27FC236}">
                  <a16:creationId xmlns:a16="http://schemas.microsoft.com/office/drawing/2014/main" id="{4E28ED13-E382-77A4-70D6-2F2C8C021BE0}"/>
                </a:ext>
              </a:extLst>
            </p:cNvPr>
            <p:cNvSpPr txBox="1">
              <a:spLocks/>
            </p:cNvSpPr>
            <p:nvPr/>
          </p:nvSpPr>
          <p:spPr>
            <a:xfrm>
              <a:off x="4281287" y="4007643"/>
              <a:ext cx="1440000" cy="215444"/>
            </a:xfrm>
            <a:prstGeom prst="rect">
              <a:avLst/>
            </a:prstGeom>
          </p:spPr>
          <p:txBody>
            <a:bodyPr vert="horz" lIns="0" tIns="0" rIns="0" bIns="0" rtlCol="0" anchor="ctr"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de-DE" b="1" dirty="0">
                  <a:solidFill>
                    <a:schemeClr val="bg1"/>
                  </a:solidFill>
                </a:rPr>
                <a:t>Soziales</a:t>
              </a:r>
              <a:endParaRPr lang="de-DE" dirty="0">
                <a:solidFill>
                  <a:schemeClr val="bg1"/>
                </a:solidFill>
              </a:endParaRPr>
            </a:p>
          </p:txBody>
        </p:sp>
      </p:grpSp>
    </p:spTree>
    <p:extLst>
      <p:ext uri="{BB962C8B-B14F-4D97-AF65-F5344CB8AC3E}">
        <p14:creationId xmlns:p14="http://schemas.microsoft.com/office/powerpoint/2010/main" val="287913087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585E88C-B950-C645-F870-CC3CFD554108}"/>
              </a:ext>
            </a:extLst>
          </p:cNvPr>
          <p:cNvSpPr>
            <a:spLocks noGrp="1"/>
          </p:cNvSpPr>
          <p:nvPr>
            <p:ph type="dt" sz="half" idx="10"/>
          </p:nvPr>
        </p:nvSpPr>
        <p:spPr/>
        <p:txBody>
          <a:bodyPr/>
          <a:lstStyle/>
          <a:p>
            <a:r>
              <a:rPr lang="de-DE"/>
              <a:t>02.08.2024</a:t>
            </a:r>
            <a:endParaRPr lang="de-DE" dirty="0"/>
          </a:p>
        </p:txBody>
      </p:sp>
      <p:sp>
        <p:nvSpPr>
          <p:cNvPr id="3" name="Fußzeilenplatzhalter 2">
            <a:extLst>
              <a:ext uri="{FF2B5EF4-FFF2-40B4-BE49-F238E27FC236}">
                <a16:creationId xmlns:a16="http://schemas.microsoft.com/office/drawing/2014/main" id="{108D1F56-83B0-FA65-A42A-2F8FFD71080D}"/>
              </a:ext>
            </a:extLst>
          </p:cNvPr>
          <p:cNvSpPr>
            <a:spLocks noGrp="1"/>
          </p:cNvSpPr>
          <p:nvPr>
            <p:ph type="ftr" sz="quarter" idx="11"/>
          </p:nvPr>
        </p:nvSpPr>
        <p:spPr/>
        <p:txBody>
          <a:bodyPr/>
          <a:lstStyle/>
          <a:p>
            <a:r>
              <a:rPr lang="de-DE"/>
              <a:t>PowerPoint Folienmaster</a:t>
            </a:r>
            <a:endParaRPr lang="de-DE" dirty="0"/>
          </a:p>
        </p:txBody>
      </p:sp>
      <p:sp>
        <p:nvSpPr>
          <p:cNvPr id="4" name="Foliennummernplatzhalter 3">
            <a:extLst>
              <a:ext uri="{FF2B5EF4-FFF2-40B4-BE49-F238E27FC236}">
                <a16:creationId xmlns:a16="http://schemas.microsoft.com/office/drawing/2014/main" id="{30083C02-8E1C-AAE8-4236-5E3A39DCEF49}"/>
              </a:ext>
            </a:extLst>
          </p:cNvPr>
          <p:cNvSpPr>
            <a:spLocks noGrp="1"/>
          </p:cNvSpPr>
          <p:nvPr>
            <p:ph type="sldNum" sz="quarter" idx="12"/>
          </p:nvPr>
        </p:nvSpPr>
        <p:spPr/>
        <p:txBody>
          <a:bodyPr/>
          <a:lstStyle/>
          <a:p>
            <a:fld id="{E84006A6-0E15-460A-BCD4-002C20F8AC9F}" type="slidenum">
              <a:rPr lang="de-DE" smtClean="0"/>
              <a:pPr/>
              <a:t>99</a:t>
            </a:fld>
            <a:endParaRPr lang="de-DE"/>
          </a:p>
        </p:txBody>
      </p:sp>
      <p:sp>
        <p:nvSpPr>
          <p:cNvPr id="5" name="Titel 4">
            <a:extLst>
              <a:ext uri="{FF2B5EF4-FFF2-40B4-BE49-F238E27FC236}">
                <a16:creationId xmlns:a16="http://schemas.microsoft.com/office/drawing/2014/main" id="{893FB59D-5611-71BC-5BF3-85980CEAD51D}"/>
              </a:ext>
            </a:extLst>
          </p:cNvPr>
          <p:cNvSpPr>
            <a:spLocks noGrp="1"/>
          </p:cNvSpPr>
          <p:nvPr>
            <p:ph type="title"/>
          </p:nvPr>
        </p:nvSpPr>
        <p:spPr/>
        <p:txBody>
          <a:bodyPr/>
          <a:lstStyle/>
          <a:p>
            <a:r>
              <a:rPr lang="de-DE" dirty="0"/>
              <a:t>4 Fokusbereiche Icons</a:t>
            </a:r>
          </a:p>
        </p:txBody>
      </p:sp>
      <p:grpSp>
        <p:nvGrpSpPr>
          <p:cNvPr id="18" name="Gruppieren 17">
            <a:extLst>
              <a:ext uri="{FF2B5EF4-FFF2-40B4-BE49-F238E27FC236}">
                <a16:creationId xmlns:a16="http://schemas.microsoft.com/office/drawing/2014/main" id="{A64D6225-C6CD-C310-4F1B-B1CADDB8A478}"/>
              </a:ext>
            </a:extLst>
          </p:cNvPr>
          <p:cNvGrpSpPr/>
          <p:nvPr/>
        </p:nvGrpSpPr>
        <p:grpSpPr>
          <a:xfrm>
            <a:off x="1068223" y="2213154"/>
            <a:ext cx="4281279" cy="3476269"/>
            <a:chOff x="482629" y="3023907"/>
            <a:chExt cx="4281279" cy="3476269"/>
          </a:xfrm>
        </p:grpSpPr>
        <p:pic>
          <p:nvPicPr>
            <p:cNvPr id="7" name="Grafik 6">
              <a:extLst>
                <a:ext uri="{FF2B5EF4-FFF2-40B4-BE49-F238E27FC236}">
                  <a16:creationId xmlns:a16="http://schemas.microsoft.com/office/drawing/2014/main" id="{8DEF2582-0191-1591-0175-34C60A943A3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98874" y="4934214"/>
              <a:ext cx="783528" cy="783528"/>
            </a:xfrm>
            <a:prstGeom prst="rect">
              <a:avLst/>
            </a:prstGeom>
          </p:spPr>
        </p:pic>
        <p:pic>
          <p:nvPicPr>
            <p:cNvPr id="9" name="Grafik 8">
              <a:extLst>
                <a:ext uri="{FF2B5EF4-FFF2-40B4-BE49-F238E27FC236}">
                  <a16:creationId xmlns:a16="http://schemas.microsoft.com/office/drawing/2014/main" id="{6FAFBA42-59EB-10B6-900A-EEC09510B9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464135" y="3157475"/>
              <a:ext cx="783528" cy="644604"/>
            </a:xfrm>
            <a:prstGeom prst="rect">
              <a:avLst/>
            </a:prstGeom>
          </p:spPr>
        </p:pic>
        <p:pic>
          <p:nvPicPr>
            <p:cNvPr id="11" name="Grafik 10">
              <a:extLst>
                <a:ext uri="{FF2B5EF4-FFF2-40B4-BE49-F238E27FC236}">
                  <a16:creationId xmlns:a16="http://schemas.microsoft.com/office/drawing/2014/main" id="{E5CEA8E0-FD00-05F9-73C6-4D085935B4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8874" y="3023907"/>
              <a:ext cx="783528" cy="783528"/>
            </a:xfrm>
            <a:prstGeom prst="rect">
              <a:avLst/>
            </a:prstGeom>
          </p:spPr>
        </p:pic>
        <p:sp>
          <p:nvSpPr>
            <p:cNvPr id="15" name="Textplatzhalter 6">
              <a:extLst>
                <a:ext uri="{FF2B5EF4-FFF2-40B4-BE49-F238E27FC236}">
                  <a16:creationId xmlns:a16="http://schemas.microsoft.com/office/drawing/2014/main" id="{B53DA4E1-E717-2465-264D-CCE3D6FE4700}"/>
                </a:ext>
              </a:extLst>
            </p:cNvPr>
            <p:cNvSpPr txBox="1">
              <a:spLocks/>
            </p:cNvSpPr>
            <p:nvPr/>
          </p:nvSpPr>
          <p:spPr>
            <a:xfrm>
              <a:off x="482629" y="40076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tx1"/>
                  </a:solidFill>
                </a:rPr>
                <a:t>Ökologische</a:t>
              </a:r>
            </a:p>
            <a:p>
              <a:pPr marL="0" indent="0" algn="ctr">
                <a:spcAft>
                  <a:spcPts val="0"/>
                </a:spcAft>
                <a:buFont typeface="Arial" panose="020B0604020202020204" pitchFamily="34" charset="0"/>
                <a:buNone/>
              </a:pPr>
              <a:r>
                <a:rPr lang="de-DE" b="1" dirty="0">
                  <a:solidFill>
                    <a:schemeClr val="tx1"/>
                  </a:solidFill>
                </a:rPr>
                <a:t>Transformation</a:t>
              </a:r>
              <a:endParaRPr lang="de-DE" dirty="0"/>
            </a:p>
          </p:txBody>
        </p:sp>
        <p:sp>
          <p:nvSpPr>
            <p:cNvPr id="16" name="Textplatzhalter 6">
              <a:extLst>
                <a:ext uri="{FF2B5EF4-FFF2-40B4-BE49-F238E27FC236}">
                  <a16:creationId xmlns:a16="http://schemas.microsoft.com/office/drawing/2014/main" id="{3481468F-4023-8D9A-4CAC-98801D28994E}"/>
                </a:ext>
              </a:extLst>
            </p:cNvPr>
            <p:cNvSpPr txBox="1">
              <a:spLocks/>
            </p:cNvSpPr>
            <p:nvPr/>
          </p:nvSpPr>
          <p:spPr>
            <a:xfrm>
              <a:off x="2947890" y="40076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tx1"/>
                  </a:solidFill>
                </a:rPr>
                <a:t>Innovationstreiber</a:t>
              </a:r>
            </a:p>
            <a:p>
              <a:pPr marL="0" indent="0" algn="ctr">
                <a:spcAft>
                  <a:spcPts val="0"/>
                </a:spcAft>
                <a:buFont typeface="Arial" panose="020B0604020202020204" pitchFamily="34" charset="0"/>
                <a:buNone/>
              </a:pPr>
              <a:r>
                <a:rPr lang="de-DE" b="1" dirty="0">
                  <a:solidFill>
                    <a:schemeClr val="tx1"/>
                  </a:solidFill>
                </a:rPr>
                <a:t>Kreislaufwirtschaft</a:t>
              </a:r>
              <a:endParaRPr lang="de-DE" dirty="0"/>
            </a:p>
          </p:txBody>
        </p:sp>
        <p:sp>
          <p:nvSpPr>
            <p:cNvPr id="17" name="Textplatzhalter 6">
              <a:extLst>
                <a:ext uri="{FF2B5EF4-FFF2-40B4-BE49-F238E27FC236}">
                  <a16:creationId xmlns:a16="http://schemas.microsoft.com/office/drawing/2014/main" id="{F151C1A5-4A81-1B7F-123B-B589A3983792}"/>
                </a:ext>
              </a:extLst>
            </p:cNvPr>
            <p:cNvSpPr txBox="1">
              <a:spLocks/>
            </p:cNvSpPr>
            <p:nvPr/>
          </p:nvSpPr>
          <p:spPr>
            <a:xfrm>
              <a:off x="482629" y="58538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tx1"/>
                  </a:solidFill>
                </a:rPr>
                <a:t>Gesellschaftliche</a:t>
              </a:r>
            </a:p>
            <a:p>
              <a:pPr marL="0" indent="0" algn="ctr">
                <a:spcAft>
                  <a:spcPts val="0"/>
                </a:spcAft>
                <a:buFont typeface="Arial" panose="020B0604020202020204" pitchFamily="34" charset="0"/>
                <a:buNone/>
              </a:pPr>
              <a:r>
                <a:rPr lang="de-DE" b="1" dirty="0">
                  <a:solidFill>
                    <a:schemeClr val="tx1"/>
                  </a:solidFill>
                </a:rPr>
                <a:t>Verantwortung</a:t>
              </a:r>
              <a:endParaRPr lang="de-DE" dirty="0"/>
            </a:p>
          </p:txBody>
        </p:sp>
        <p:pic>
          <p:nvPicPr>
            <p:cNvPr id="6" name="Grafik 5">
              <a:extLst>
                <a:ext uri="{FF2B5EF4-FFF2-40B4-BE49-F238E27FC236}">
                  <a16:creationId xmlns:a16="http://schemas.microsoft.com/office/drawing/2014/main" id="{28997730-94D2-3E0E-FF15-0AA446CCBF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464135" y="4934214"/>
              <a:ext cx="783528" cy="783528"/>
            </a:xfrm>
            <a:prstGeom prst="rect">
              <a:avLst/>
            </a:prstGeom>
          </p:spPr>
        </p:pic>
        <p:sp>
          <p:nvSpPr>
            <p:cNvPr id="8" name="Textplatzhalter 6">
              <a:extLst>
                <a:ext uri="{FF2B5EF4-FFF2-40B4-BE49-F238E27FC236}">
                  <a16:creationId xmlns:a16="http://schemas.microsoft.com/office/drawing/2014/main" id="{5775475A-3940-6979-AEC0-EAFD97BD9588}"/>
                </a:ext>
              </a:extLst>
            </p:cNvPr>
            <p:cNvSpPr txBox="1">
              <a:spLocks/>
            </p:cNvSpPr>
            <p:nvPr/>
          </p:nvSpPr>
          <p:spPr>
            <a:xfrm>
              <a:off x="2947890" y="5853845"/>
              <a:ext cx="1816018" cy="646331"/>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tx1"/>
                  </a:solidFill>
                </a:rPr>
                <a:t>Ökologische und</a:t>
              </a:r>
            </a:p>
            <a:p>
              <a:pPr marL="0" indent="0" algn="ctr">
                <a:spcAft>
                  <a:spcPts val="0"/>
                </a:spcAft>
                <a:buFont typeface="Arial" panose="020B0604020202020204" pitchFamily="34" charset="0"/>
                <a:buNone/>
              </a:pPr>
              <a:r>
                <a:rPr lang="de-DE" b="1" dirty="0">
                  <a:solidFill>
                    <a:schemeClr val="tx1"/>
                  </a:solidFill>
                </a:rPr>
                <a:t>gesundheitliche</a:t>
              </a:r>
            </a:p>
            <a:p>
              <a:pPr marL="0" indent="0" algn="ctr">
                <a:spcAft>
                  <a:spcPts val="0"/>
                </a:spcAft>
                <a:buFont typeface="Arial" panose="020B0604020202020204" pitchFamily="34" charset="0"/>
                <a:buNone/>
              </a:pPr>
              <a:r>
                <a:rPr lang="de-DE" b="1" dirty="0">
                  <a:solidFill>
                    <a:schemeClr val="tx1"/>
                  </a:solidFill>
                </a:rPr>
                <a:t>Unbedenklichkeit</a:t>
              </a:r>
              <a:endParaRPr lang="de-DE" dirty="0"/>
            </a:p>
          </p:txBody>
        </p:sp>
      </p:grpSp>
      <p:sp>
        <p:nvSpPr>
          <p:cNvPr id="20" name="Rechteck 19">
            <a:extLst>
              <a:ext uri="{FF2B5EF4-FFF2-40B4-BE49-F238E27FC236}">
                <a16:creationId xmlns:a16="http://schemas.microsoft.com/office/drawing/2014/main" id="{CCAFB391-FEEF-F3E8-66B0-E7F2A9E7CFBC}"/>
              </a:ext>
            </a:extLst>
          </p:cNvPr>
          <p:cNvSpPr/>
          <p:nvPr/>
        </p:nvSpPr>
        <p:spPr>
          <a:xfrm>
            <a:off x="6096553" y="1773238"/>
            <a:ext cx="5580062" cy="4356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nchorCtr="0"/>
          <a:lstStyle/>
          <a:p>
            <a:pPr algn="ctr">
              <a:spcAft>
                <a:spcPts val="500"/>
              </a:spcAft>
            </a:pPr>
            <a:endParaRPr lang="de-DE" dirty="0">
              <a:solidFill>
                <a:schemeClr val="bg1"/>
              </a:solidFill>
            </a:endParaRPr>
          </a:p>
        </p:txBody>
      </p:sp>
      <p:grpSp>
        <p:nvGrpSpPr>
          <p:cNvPr id="10" name="Gruppieren 9">
            <a:extLst>
              <a:ext uri="{FF2B5EF4-FFF2-40B4-BE49-F238E27FC236}">
                <a16:creationId xmlns:a16="http://schemas.microsoft.com/office/drawing/2014/main" id="{99F4271F-BB1E-D6C8-FE4B-72F6A5F1EBFB}"/>
              </a:ext>
            </a:extLst>
          </p:cNvPr>
          <p:cNvGrpSpPr/>
          <p:nvPr/>
        </p:nvGrpSpPr>
        <p:grpSpPr>
          <a:xfrm>
            <a:off x="6745944" y="2213154"/>
            <a:ext cx="4281279" cy="3476269"/>
            <a:chOff x="482629" y="3023907"/>
            <a:chExt cx="4281279" cy="3476269"/>
          </a:xfrm>
        </p:grpSpPr>
        <p:pic>
          <p:nvPicPr>
            <p:cNvPr id="12" name="Grafik 11">
              <a:extLst>
                <a:ext uri="{FF2B5EF4-FFF2-40B4-BE49-F238E27FC236}">
                  <a16:creationId xmlns:a16="http://schemas.microsoft.com/office/drawing/2014/main" id="{6BCE2B5B-10A0-09BC-EA47-B95D98B7306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998874" y="4934214"/>
              <a:ext cx="783528" cy="783528"/>
            </a:xfrm>
            <a:prstGeom prst="rect">
              <a:avLst/>
            </a:prstGeom>
          </p:spPr>
        </p:pic>
        <p:pic>
          <p:nvPicPr>
            <p:cNvPr id="13" name="Grafik 12">
              <a:extLst>
                <a:ext uri="{FF2B5EF4-FFF2-40B4-BE49-F238E27FC236}">
                  <a16:creationId xmlns:a16="http://schemas.microsoft.com/office/drawing/2014/main" id="{C0F6E1F7-046A-A8A2-1C7D-40961F030E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3464135" y="3157475"/>
              <a:ext cx="783528" cy="644604"/>
            </a:xfrm>
            <a:prstGeom prst="rect">
              <a:avLst/>
            </a:prstGeom>
          </p:spPr>
        </p:pic>
        <p:pic>
          <p:nvPicPr>
            <p:cNvPr id="14" name="Grafik 13">
              <a:extLst>
                <a:ext uri="{FF2B5EF4-FFF2-40B4-BE49-F238E27FC236}">
                  <a16:creationId xmlns:a16="http://schemas.microsoft.com/office/drawing/2014/main" id="{0C0AA31F-16D5-462E-894C-A1AF4224FBC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998874" y="3023907"/>
              <a:ext cx="783528" cy="783528"/>
            </a:xfrm>
            <a:prstGeom prst="rect">
              <a:avLst/>
            </a:prstGeom>
          </p:spPr>
        </p:pic>
        <p:sp>
          <p:nvSpPr>
            <p:cNvPr id="19" name="Textplatzhalter 6">
              <a:extLst>
                <a:ext uri="{FF2B5EF4-FFF2-40B4-BE49-F238E27FC236}">
                  <a16:creationId xmlns:a16="http://schemas.microsoft.com/office/drawing/2014/main" id="{F947FB86-F068-3526-7740-05FE76DFEE4A}"/>
                </a:ext>
              </a:extLst>
            </p:cNvPr>
            <p:cNvSpPr txBox="1">
              <a:spLocks/>
            </p:cNvSpPr>
            <p:nvPr/>
          </p:nvSpPr>
          <p:spPr>
            <a:xfrm>
              <a:off x="482629" y="40076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bg1"/>
                  </a:solidFill>
                </a:rPr>
                <a:t>Ökologische</a:t>
              </a:r>
            </a:p>
            <a:p>
              <a:pPr marL="0" indent="0" algn="ctr">
                <a:spcAft>
                  <a:spcPts val="0"/>
                </a:spcAft>
                <a:buFont typeface="Arial" panose="020B0604020202020204" pitchFamily="34" charset="0"/>
                <a:buNone/>
              </a:pPr>
              <a:r>
                <a:rPr lang="de-DE" b="1" dirty="0">
                  <a:solidFill>
                    <a:schemeClr val="bg1"/>
                  </a:solidFill>
                </a:rPr>
                <a:t>Transformation</a:t>
              </a:r>
              <a:endParaRPr lang="de-DE" dirty="0">
                <a:solidFill>
                  <a:schemeClr val="bg1"/>
                </a:solidFill>
              </a:endParaRPr>
            </a:p>
          </p:txBody>
        </p:sp>
        <p:sp>
          <p:nvSpPr>
            <p:cNvPr id="28" name="Textplatzhalter 6">
              <a:extLst>
                <a:ext uri="{FF2B5EF4-FFF2-40B4-BE49-F238E27FC236}">
                  <a16:creationId xmlns:a16="http://schemas.microsoft.com/office/drawing/2014/main" id="{E9AF1A78-3979-D1CC-48E4-244AB3AFC7F6}"/>
                </a:ext>
              </a:extLst>
            </p:cNvPr>
            <p:cNvSpPr txBox="1">
              <a:spLocks/>
            </p:cNvSpPr>
            <p:nvPr/>
          </p:nvSpPr>
          <p:spPr>
            <a:xfrm>
              <a:off x="2947890" y="40076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bg1"/>
                  </a:solidFill>
                </a:rPr>
                <a:t>Innovationstreiber</a:t>
              </a:r>
            </a:p>
            <a:p>
              <a:pPr marL="0" indent="0" algn="ctr">
                <a:spcAft>
                  <a:spcPts val="0"/>
                </a:spcAft>
                <a:buFont typeface="Arial" panose="020B0604020202020204" pitchFamily="34" charset="0"/>
                <a:buNone/>
              </a:pPr>
              <a:r>
                <a:rPr lang="de-DE" b="1" dirty="0">
                  <a:solidFill>
                    <a:schemeClr val="bg1"/>
                  </a:solidFill>
                </a:rPr>
                <a:t>Kreislaufwirtschaft</a:t>
              </a:r>
              <a:endParaRPr lang="de-DE" dirty="0">
                <a:solidFill>
                  <a:schemeClr val="bg1"/>
                </a:solidFill>
              </a:endParaRPr>
            </a:p>
          </p:txBody>
        </p:sp>
        <p:sp>
          <p:nvSpPr>
            <p:cNvPr id="29" name="Textplatzhalter 6">
              <a:extLst>
                <a:ext uri="{FF2B5EF4-FFF2-40B4-BE49-F238E27FC236}">
                  <a16:creationId xmlns:a16="http://schemas.microsoft.com/office/drawing/2014/main" id="{AD34AB3B-DD4D-4E51-A0AD-591828BD86FF}"/>
                </a:ext>
              </a:extLst>
            </p:cNvPr>
            <p:cNvSpPr txBox="1">
              <a:spLocks/>
            </p:cNvSpPr>
            <p:nvPr/>
          </p:nvSpPr>
          <p:spPr>
            <a:xfrm>
              <a:off x="482629" y="5853845"/>
              <a:ext cx="1816018" cy="430887"/>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bg1"/>
                  </a:solidFill>
                </a:rPr>
                <a:t>Gesellschaftliche</a:t>
              </a:r>
            </a:p>
            <a:p>
              <a:pPr marL="0" indent="0" algn="ctr">
                <a:spcAft>
                  <a:spcPts val="0"/>
                </a:spcAft>
                <a:buFont typeface="Arial" panose="020B0604020202020204" pitchFamily="34" charset="0"/>
                <a:buNone/>
              </a:pPr>
              <a:r>
                <a:rPr lang="de-DE" b="1" dirty="0">
                  <a:solidFill>
                    <a:schemeClr val="bg1"/>
                  </a:solidFill>
                </a:rPr>
                <a:t>Verantwortung</a:t>
              </a:r>
              <a:endParaRPr lang="de-DE" dirty="0">
                <a:solidFill>
                  <a:schemeClr val="bg1"/>
                </a:solidFill>
              </a:endParaRPr>
            </a:p>
          </p:txBody>
        </p:sp>
        <p:pic>
          <p:nvPicPr>
            <p:cNvPr id="30" name="Grafik 29">
              <a:extLst>
                <a:ext uri="{FF2B5EF4-FFF2-40B4-BE49-F238E27FC236}">
                  <a16:creationId xmlns:a16="http://schemas.microsoft.com/office/drawing/2014/main" id="{F0527E0B-41D6-8494-D646-D75B7B286FA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3464135" y="4934214"/>
              <a:ext cx="783528" cy="783528"/>
            </a:xfrm>
            <a:prstGeom prst="rect">
              <a:avLst/>
            </a:prstGeom>
          </p:spPr>
        </p:pic>
        <p:sp>
          <p:nvSpPr>
            <p:cNvPr id="31" name="Textplatzhalter 6">
              <a:extLst>
                <a:ext uri="{FF2B5EF4-FFF2-40B4-BE49-F238E27FC236}">
                  <a16:creationId xmlns:a16="http://schemas.microsoft.com/office/drawing/2014/main" id="{E640BF99-BCCD-9132-7D7A-10F870B0E8FE}"/>
                </a:ext>
              </a:extLst>
            </p:cNvPr>
            <p:cNvSpPr txBox="1">
              <a:spLocks/>
            </p:cNvSpPr>
            <p:nvPr/>
          </p:nvSpPr>
          <p:spPr>
            <a:xfrm>
              <a:off x="2947890" y="5853845"/>
              <a:ext cx="1816018" cy="646331"/>
            </a:xfrm>
            <a:prstGeom prst="rect">
              <a:avLst/>
            </a:prstGeom>
          </p:spPr>
          <p:txBody>
            <a:bodyPr vert="horz" wrap="square" lIns="0" tIns="0" rIns="0" bIns="0" rtlCol="0" anchor="t" anchorCtr="0">
              <a:spAutoFit/>
            </a:bodyPr>
            <a:lstStyle>
              <a:lvl1pPr marL="180000" indent="-180000" algn="l" defTabSz="914400" rtl="0" eaLnBrk="1" latinLnBrk="0" hangingPunct="1">
                <a:spcBef>
                  <a:spcPts val="0"/>
                </a:spcBef>
                <a:spcAft>
                  <a:spcPts val="500"/>
                </a:spcAft>
                <a:buFont typeface="Arial" panose="020B0604020202020204" pitchFamily="34" charset="0"/>
                <a:buChar char="•"/>
                <a:tabLst/>
                <a:defRPr sz="1400" kern="1200">
                  <a:solidFill>
                    <a:schemeClr val="accent3"/>
                  </a:solidFill>
                  <a:latin typeface="+mn-lt"/>
                  <a:ea typeface="+mn-ea"/>
                  <a:cs typeface="+mn-cs"/>
                </a:defRPr>
              </a:lvl1pPr>
              <a:lvl2pPr marL="584200" indent="-2428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2pPr>
              <a:lvl3pPr marL="898525" indent="-19685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3pPr>
              <a:lvl4pPr marL="1292225" indent="-230188"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4pPr>
              <a:lvl5pPr marL="1651000" indent="-228600" algn="l" defTabSz="914400" rtl="0" eaLnBrk="1" latinLnBrk="0" hangingPunct="1">
                <a:spcBef>
                  <a:spcPts val="0"/>
                </a:spcBef>
                <a:spcAft>
                  <a:spcPts val="500"/>
                </a:spcAft>
                <a:buFont typeface="Arial" panose="020B0604020202020204"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Aft>
                  <a:spcPts val="0"/>
                </a:spcAft>
                <a:buFont typeface="Arial" panose="020B0604020202020204" pitchFamily="34" charset="0"/>
                <a:buNone/>
              </a:pPr>
              <a:r>
                <a:rPr lang="de-DE" b="1" dirty="0">
                  <a:solidFill>
                    <a:schemeClr val="bg1"/>
                  </a:solidFill>
                </a:rPr>
                <a:t>Ökologische und</a:t>
              </a:r>
            </a:p>
            <a:p>
              <a:pPr marL="0" indent="0" algn="ctr">
                <a:spcAft>
                  <a:spcPts val="0"/>
                </a:spcAft>
                <a:buFont typeface="Arial" panose="020B0604020202020204" pitchFamily="34" charset="0"/>
                <a:buNone/>
              </a:pPr>
              <a:r>
                <a:rPr lang="de-DE" b="1" dirty="0">
                  <a:solidFill>
                    <a:schemeClr val="bg1"/>
                  </a:solidFill>
                </a:rPr>
                <a:t>gesundheitliche</a:t>
              </a:r>
            </a:p>
            <a:p>
              <a:pPr marL="0" indent="0" algn="ctr">
                <a:spcAft>
                  <a:spcPts val="0"/>
                </a:spcAft>
                <a:buFont typeface="Arial" panose="020B0604020202020204" pitchFamily="34" charset="0"/>
                <a:buNone/>
              </a:pPr>
              <a:r>
                <a:rPr lang="de-DE" b="1" dirty="0">
                  <a:solidFill>
                    <a:schemeClr val="bg1"/>
                  </a:solidFill>
                </a:rPr>
                <a:t>Unbedenklichkeit</a:t>
              </a:r>
              <a:endParaRPr lang="de-DE" dirty="0">
                <a:solidFill>
                  <a:schemeClr val="bg1"/>
                </a:solidFill>
              </a:endParaRPr>
            </a:p>
          </p:txBody>
        </p:sp>
      </p:grpSp>
    </p:spTree>
    <p:extLst>
      <p:ext uri="{BB962C8B-B14F-4D97-AF65-F5344CB8AC3E}">
        <p14:creationId xmlns:p14="http://schemas.microsoft.com/office/powerpoint/2010/main" val="1770813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Lst>
</file>

<file path=ppt/theme/theme1.xml><?xml version="1.0" encoding="utf-8"?>
<a:theme xmlns:a="http://schemas.openxmlformats.org/drawingml/2006/main" name="uvex - PPT Template">
  <a:themeElements>
    <a:clrScheme name="Benutzerdefiniert 17">
      <a:dk1>
        <a:srgbClr val="000000"/>
      </a:dk1>
      <a:lt1>
        <a:srgbClr val="FFFFFF"/>
      </a:lt1>
      <a:dk2>
        <a:srgbClr val="666666"/>
      </a:dk2>
      <a:lt2>
        <a:srgbClr val="FFFFFF"/>
      </a:lt2>
      <a:accent1>
        <a:srgbClr val="FF6600"/>
      </a:accent1>
      <a:accent2>
        <a:srgbClr val="003399"/>
      </a:accent2>
      <a:accent3>
        <a:srgbClr val="666666"/>
      </a:accent3>
      <a:accent4>
        <a:srgbClr val="FFA579"/>
      </a:accent4>
      <a:accent5>
        <a:srgbClr val="6783BF"/>
      </a:accent5>
      <a:accent6>
        <a:srgbClr val="A3A3A3"/>
      </a:accent6>
      <a:hlink>
        <a:srgbClr val="FF6600"/>
      </a:hlink>
      <a:folHlink>
        <a:srgbClr val="003399"/>
      </a:folHlink>
    </a:clrScheme>
    <a:fontScheme name="uvex">
      <a:majorFont>
        <a:latin typeface="NeueHaasGroteskText Pro"/>
        <a:ea typeface=""/>
        <a:cs typeface="Arial"/>
      </a:majorFont>
      <a:minorFont>
        <a:latin typeface="NeueHaasGroteskText Pro"/>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180000" tIns="180000" rIns="180000" bIns="180000" rtlCol="0" anchor="ctr" anchorCtr="0"/>
      <a:lstStyle>
        <a:defPPr algn="ctr">
          <a:spcAft>
            <a:spcPts val="500"/>
          </a:spcAft>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500"/>
          </a:spcAft>
          <a:defRPr dirty="0" err="1" smtClean="0">
            <a:solidFill>
              <a:schemeClr val="tx2"/>
            </a:solidFill>
          </a:defRPr>
        </a:defPPr>
      </a:lstStyle>
    </a:txDef>
  </a:objectDefaults>
  <a:extraClrSchemeLst/>
  <a:extLst>
    <a:ext uri="{05A4C25C-085E-4340-85A3-A5531E510DB2}">
      <thm15:themeFamily xmlns:thm15="http://schemas.microsoft.com/office/thememl/2012/main" name="Präsentation11" id="{F56BCBB7-CDD5-4B24-B2EA-6DE83DAD3FD4}" vid="{9D2B0D0C-4223-4674-8ABC-BA149935957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ba3b427-1510-44cb-a6b0-fe66d66f25b0">
      <Terms xmlns="http://schemas.microsoft.com/office/infopath/2007/PartnerControls"/>
    </lcf76f155ced4ddcb4097134ff3c332f>
    <TaxCatchAll xmlns="36ee26bf-5435-4839-a4dd-92c6af42e828" xsi:nil="true"/>
    <SharedWithUsers xmlns="36ee26bf-5435-4839-a4dd-92c6af42e828">
      <UserInfo>
        <DisplayName>Marius Wimmer</DisplayName>
        <AccountId>403</AccountId>
        <AccountType/>
      </UserInfo>
      <UserInfo>
        <DisplayName>Dagmar Hugenroth</DisplayName>
        <AccountId>2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F5C1E5CED2949E4BBDAC7C3DBDC9E266" ma:contentTypeVersion="18" ma:contentTypeDescription="Ein neues Dokument erstellen." ma:contentTypeScope="" ma:versionID="dfe3acb1b49808ceff3e96fd09e3d34d">
  <xsd:schema xmlns:xsd="http://www.w3.org/2001/XMLSchema" xmlns:xs="http://www.w3.org/2001/XMLSchema" xmlns:p="http://schemas.microsoft.com/office/2006/metadata/properties" xmlns:ns2="8ba3b427-1510-44cb-a6b0-fe66d66f25b0" xmlns:ns3="36ee26bf-5435-4839-a4dd-92c6af42e828" targetNamespace="http://schemas.microsoft.com/office/2006/metadata/properties" ma:root="true" ma:fieldsID="b7bec5acb501090eadb48b637b1f9582" ns2:_="" ns3:_="">
    <xsd:import namespace="8ba3b427-1510-44cb-a6b0-fe66d66f25b0"/>
    <xsd:import namespace="36ee26bf-5435-4839-a4dd-92c6af42e82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a3b427-1510-44cb-a6b0-fe66d66f25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57c4858c-dbd8-4919-9fb6-dfc6eaaff1b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ee26bf-5435-4839-a4dd-92c6af42e828"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5e287be-302d-4455-a920-f060d5426262}" ma:internalName="TaxCatchAll" ma:showField="CatchAllData" ma:web="36ee26bf-5435-4839-a4dd-92c6af42e8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23D3C5-B40C-4668-890A-61C6492146E4}">
  <ds:schemaRefs>
    <ds:schemaRef ds:uri="http://schemas.microsoft.com/sharepoint/v3/contenttype/forms"/>
  </ds:schemaRefs>
</ds:datastoreItem>
</file>

<file path=customXml/itemProps2.xml><?xml version="1.0" encoding="utf-8"?>
<ds:datastoreItem xmlns:ds="http://schemas.openxmlformats.org/officeDocument/2006/customXml" ds:itemID="{881A92DB-A8CE-4C42-8E3D-238A3175A8A0}">
  <ds:schemaRefs>
    <ds:schemaRef ds:uri="http://schemas.openxmlformats.org/package/2006/metadata/core-properties"/>
    <ds:schemaRef ds:uri="http://schemas.microsoft.com/office/infopath/2007/PartnerControls"/>
    <ds:schemaRef ds:uri="http://www.w3.org/XML/1998/namespace"/>
    <ds:schemaRef ds:uri="http://purl.org/dc/dcmitype/"/>
    <ds:schemaRef ds:uri="http://schemas.microsoft.com/office/2006/documentManagement/types"/>
    <ds:schemaRef ds:uri="9c1caba1-c074-4085-93a0-8d7edfe69ea8"/>
    <ds:schemaRef ds:uri="http://schemas.microsoft.com/office/2006/metadata/properties"/>
    <ds:schemaRef ds:uri="http://purl.org/dc/terms/"/>
    <ds:schemaRef ds:uri="4a10f5d1-9e0e-4dc0-8c64-1cb98c90fcaf"/>
    <ds:schemaRef ds:uri="http://purl.org/dc/elements/1.1/"/>
  </ds:schemaRefs>
</ds:datastoreItem>
</file>

<file path=customXml/itemProps3.xml><?xml version="1.0" encoding="utf-8"?>
<ds:datastoreItem xmlns:ds="http://schemas.openxmlformats.org/officeDocument/2006/customXml" ds:itemID="{EDA5A724-2206-478A-A2FE-724AF12CB100}"/>
</file>

<file path=docProps/app.xml><?xml version="1.0" encoding="utf-8"?>
<Properties xmlns="http://schemas.openxmlformats.org/officeDocument/2006/extended-properties" xmlns:vt="http://schemas.openxmlformats.org/officeDocument/2006/docPropsVTypes">
  <Template>uvex_PPT_Vorlage2022_16x9_de</Template>
  <TotalTime>0</TotalTime>
  <Words>6204</Words>
  <Application>Microsoft Macintosh PowerPoint</Application>
  <PresentationFormat>Breitbild</PresentationFormat>
  <Paragraphs>1154</Paragraphs>
  <Slides>114</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14</vt:i4>
      </vt:variant>
    </vt:vector>
  </HeadingPairs>
  <TitlesOfParts>
    <vt:vector size="119" baseType="lpstr">
      <vt:lpstr>Arial</vt:lpstr>
      <vt:lpstr>Calibri</vt:lpstr>
      <vt:lpstr>NeueHaasGroteskText Pro</vt:lpstr>
      <vt:lpstr>Wingdings</vt:lpstr>
      <vt:lpstr>uvex - PPT Template</vt:lpstr>
      <vt:lpstr>Hier steht der Titel der Präsentation.</vt:lpstr>
      <vt:lpstr>Standard  Folienlayout</vt:lpstr>
      <vt:lpstr>Standard  Folienlayout</vt:lpstr>
      <vt:lpstr>Hier steht eine Headline. Hier steht eine Headline.</vt:lpstr>
      <vt:lpstr>Hier steht eine Headline. Hier steht eine Headline.</vt:lpstr>
      <vt:lpstr>Hier steht eine Headline. Hier steht eine Headline.</vt:lpstr>
      <vt:lpstr>Hier steht eine Headline. Hier steht eine Headline.</vt:lpstr>
      <vt:lpstr>Agenda.</vt:lpstr>
      <vt:lpstr>Agenda.</vt:lpstr>
      <vt:lpstr>Hier steht der Kapitelname.</vt:lpstr>
      <vt:lpstr>Hier steht der Kapitelname.</vt:lpstr>
      <vt:lpstr>Hier steht der Kapitelname.</vt:lpstr>
      <vt:lpstr>Hier steht der Kapitelname.</vt:lpstr>
      <vt:lpstr>PowerPoint-Präsentation</vt:lpstr>
      <vt:lpstr>PowerPoint-Präsentation</vt:lpstr>
      <vt:lpstr>Hier steht eine Headline  oder Beschreibung.</vt:lpstr>
      <vt:lpstr>Hier steht eine Headline  oder Beschreibung.</vt:lpstr>
      <vt:lpstr>Hier steht eine Headline  oder Beschreibung.</vt:lpstr>
      <vt:lpstr>Hier steht eine Headline  oder Beschreibung.</vt:lpstr>
      <vt:lpstr>Hier steht eine Headline.</vt:lpstr>
      <vt:lpstr>Hier steht eine Headline.</vt:lpstr>
      <vt:lpstr>Hier steht eine Headline.</vt:lpstr>
      <vt:lpstr>PowerPoint-Präsentation</vt:lpstr>
      <vt:lpstr>PowerPoint-Präsentation</vt:lpstr>
      <vt:lpstr>Hier steht eine Headline.</vt:lpstr>
      <vt:lpstr>Hier steht eine Headline.</vt:lpstr>
      <vt:lpstr>Hier steht eine Headline.</vt:lpstr>
      <vt:lpstr>Hier steht eine Headline.</vt:lpstr>
      <vt:lpstr>Hier steht eine Headline.</vt:lpstr>
      <vt:lpstr>Hier steht eine Headline.</vt:lpstr>
      <vt:lpstr>Hier steht eine Headline.</vt:lpstr>
      <vt:lpstr>Hier steht eine Headline.</vt:lpstr>
      <vt:lpstr>PowerPoint-Präsentation</vt:lpstr>
      <vt:lpstr>PowerPoint-Präsentation</vt:lpstr>
      <vt:lpstr>Lorem ipsum  dolor sit amet.</vt:lpstr>
      <vt:lpstr>Lorem ipsum  dolor sit amet.</vt:lpstr>
      <vt:lpstr>Lorem ipsum dolor sit amet, consectetuer adipiscing elit. </vt:lpstr>
      <vt:lpstr>Lorem ipsum dolor sit amet, consectetuer adipiscing elit. </vt:lpstr>
      <vt:lpstr>PowerPoint-Präsentation</vt:lpstr>
      <vt:lpstr>PowerPoint-Präsentation</vt:lpstr>
      <vt:lpstr>Lorem ipsum dolor sit amet, consectetuer adipiscing elit.</vt:lpstr>
      <vt:lpstr>Lorem ipsum dolor sit amet, consectetuer adipiscing elit.</vt:lpstr>
      <vt:lpstr>Hier steht eine Headline  oder Beschreibung.</vt:lpstr>
      <vt:lpstr>Hier steht eine Headline  oder Beschreibung.</vt:lpstr>
      <vt:lpstr>Hier steht eine Headline  oder Beschreibung.</vt:lpstr>
      <vt:lpstr>Hier steht eine Headline  oder Beschreibung.</vt:lpstr>
      <vt:lpstr>Hier steht eine Headline  oder Beschreibung.</vt:lpstr>
      <vt:lpstr>Hier steht eine Headline  oder Beschreibung.</vt:lpstr>
      <vt:lpstr>PowerPoint-Präsentation</vt:lpstr>
      <vt:lpstr>PowerPoint-Präsentation</vt:lpstr>
      <vt:lpstr>Vielen Dank!</vt:lpstr>
      <vt:lpstr>Vielen Dank!</vt:lpstr>
      <vt:lpstr>Vielen  Dank!</vt:lpstr>
      <vt:lpstr>Vielen  Dank!</vt:lpstr>
      <vt:lpstr>Folienbibliothek</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abelle / Roadmap</vt:lpstr>
      <vt:lpstr>Tabelle / Roadmap</vt:lpstr>
      <vt:lpstr>Tabelle / Roadmap</vt:lpstr>
      <vt:lpstr>Tabelle</vt:lpstr>
      <vt:lpstr>Tabelle</vt:lpstr>
      <vt:lpstr>Timeline</vt:lpstr>
      <vt:lpstr>Timeline</vt:lpstr>
      <vt:lpstr>Pyramide</vt:lpstr>
      <vt:lpstr>Diagramme</vt:lpstr>
      <vt:lpstr>Diagramme</vt:lpstr>
      <vt:lpstr>Diagramme</vt:lpstr>
      <vt:lpstr>Diagramme</vt:lpstr>
      <vt:lpstr>Diagramme</vt:lpstr>
      <vt:lpstr>Diagramme</vt:lpstr>
      <vt:lpstr>Diagramme</vt:lpstr>
      <vt:lpstr>Diagramme</vt:lpstr>
      <vt:lpstr>Diagramme</vt:lpstr>
      <vt:lpstr>Diagramme</vt:lpstr>
      <vt:lpstr>PowerPoint-Präsentation</vt:lpstr>
      <vt:lpstr>Prozess</vt:lpstr>
      <vt:lpstr>Prozess</vt:lpstr>
      <vt:lpstr>Prozess</vt:lpstr>
      <vt:lpstr>Prozess</vt:lpstr>
      <vt:lpstr>Prozess</vt:lpstr>
      <vt:lpstr>Prozess</vt:lpstr>
      <vt:lpstr>Prozess</vt:lpstr>
      <vt:lpstr>Infografik</vt:lpstr>
      <vt:lpstr>Farbpalette Unsere Primärfarben mit Abstufung</vt:lpstr>
      <vt:lpstr>Farbpalette Unsere Dachmarken-Kampagnenfarben</vt:lpstr>
      <vt:lpstr>PowerPoint-Präsentation</vt:lpstr>
      <vt:lpstr>Agenda</vt:lpstr>
      <vt:lpstr>Hier steht der Kapitelname.</vt:lpstr>
      <vt:lpstr>Farbpalette Protecting Planet</vt:lpstr>
      <vt:lpstr>Formen &amp; Farben</vt:lpstr>
      <vt:lpstr>Infografik</vt:lpstr>
      <vt:lpstr>3 Säulen Icons</vt:lpstr>
      <vt:lpstr>4 Fokusbereiche Icons</vt:lpstr>
      <vt:lpstr>4 Fokusbereiche Bilder und Icons</vt:lpstr>
      <vt:lpstr>4 Fokusbereiche Bilder und Icons</vt:lpstr>
      <vt:lpstr>Layoutvorlage protecting planet</vt:lpstr>
      <vt:lpstr>Layoutvorlage protecting planet</vt:lpstr>
      <vt:lpstr>Layoutvorlage protecting planet</vt:lpstr>
      <vt:lpstr>PowerPoint-Präsentation</vt:lpstr>
      <vt:lpstr>Layoutvorlage protecting planet</vt:lpstr>
      <vt:lpstr>Layoutvorlage protecting planet</vt:lpstr>
      <vt:lpstr>PowerPoint-Präsentation</vt:lpstr>
      <vt:lpstr>PowerPoint-Präsentation</vt:lpstr>
      <vt:lpstr>Layoutvorlage protecting planet</vt:lpstr>
      <vt:lpstr>PowerPoint-Präsentation</vt:lpstr>
      <vt:lpstr>Diagramm</vt:lpstr>
      <vt:lpstr>Diagramm</vt:lpstr>
      <vt:lpstr>Viel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WENDUNGSBEISPIELE  PRÄSENTATIONSGESTALTUNG  UVEX SPORTS ​</dc:title>
  <dc:creator>Eva Lohner</dc:creator>
  <cp:lastModifiedBy>Dominik Biselli</cp:lastModifiedBy>
  <cp:revision>352</cp:revision>
  <cp:lastPrinted>2014-03-14T09:31:27Z</cp:lastPrinted>
  <dcterms:created xsi:type="dcterms:W3CDTF">2023-01-17T11:48:32Z</dcterms:created>
  <dcterms:modified xsi:type="dcterms:W3CDTF">2024-08-14T10:3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B35FE79913E4DAB2296E7E452B6FD</vt:lpwstr>
  </property>
  <property fmtid="{D5CDD505-2E9C-101B-9397-08002B2CF9AE}" pid="3" name="MediaServiceImageTags">
    <vt:lpwstr/>
  </property>
</Properties>
</file>